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6.xml" ContentType="application/vnd.openxmlformats-officedocument.presentationml.notesSlide+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44" r:id="rId4"/>
  </p:sldMasterIdLst>
  <p:notesMasterIdLst>
    <p:notesMasterId r:id="rId36"/>
  </p:notesMasterIdLst>
  <p:handoutMasterIdLst>
    <p:handoutMasterId r:id="rId37"/>
  </p:handoutMasterIdLst>
  <p:sldIdLst>
    <p:sldId id="313" r:id="rId5"/>
    <p:sldId id="309" r:id="rId6"/>
    <p:sldId id="317" r:id="rId7"/>
    <p:sldId id="2071591289" r:id="rId8"/>
    <p:sldId id="2071591259" r:id="rId9"/>
    <p:sldId id="2071591260" r:id="rId10"/>
    <p:sldId id="2071591263" r:id="rId11"/>
    <p:sldId id="2071591264" r:id="rId12"/>
    <p:sldId id="2071591265" r:id="rId13"/>
    <p:sldId id="2071591266" r:id="rId14"/>
    <p:sldId id="2071591267" r:id="rId15"/>
    <p:sldId id="2071591268" r:id="rId16"/>
    <p:sldId id="2071591269" r:id="rId17"/>
    <p:sldId id="2071591270" r:id="rId18"/>
    <p:sldId id="2071591271" r:id="rId19"/>
    <p:sldId id="2071591280" r:id="rId20"/>
    <p:sldId id="2071591272" r:id="rId21"/>
    <p:sldId id="2071591290" r:id="rId22"/>
    <p:sldId id="2071591249" r:id="rId23"/>
    <p:sldId id="2071591277" r:id="rId24"/>
    <p:sldId id="2071591282" r:id="rId25"/>
    <p:sldId id="2071591278" r:id="rId26"/>
    <p:sldId id="2071591283" r:id="rId27"/>
    <p:sldId id="2071591285" r:id="rId28"/>
    <p:sldId id="2071591262" r:id="rId29"/>
    <p:sldId id="2071591286" r:id="rId30"/>
    <p:sldId id="2071591287" r:id="rId31"/>
    <p:sldId id="308" r:id="rId32"/>
    <p:sldId id="2071591261" r:id="rId33"/>
    <p:sldId id="2071591288" r:id="rId34"/>
    <p:sldId id="2071591279" r:id="rId35"/>
  </p:sldIdLst>
  <p:sldSz cx="12190413" cy="6858000"/>
  <p:notesSz cx="6888163" cy="100203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65" userDrawn="1">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guide id="27" pos="618">
          <p15:clr>
            <a:srgbClr val="A4A3A4"/>
          </p15:clr>
        </p15:guide>
        <p15:guide id="28" pos="413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ping Jia" initials="DJ" lastIdx="1" clrIdx="0">
    <p:extLst>
      <p:ext uri="{19B8F6BF-5375-455C-9EA6-DF929625EA0E}">
        <p15:presenceInfo xmlns:p15="http://schemas.microsoft.com/office/powerpoint/2012/main" userId="S::danping.jia@bayer.com::3b53ab3b-ff0d-4d9b-9402-ab2a0e8bce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8B233"/>
    <a:srgbClr val="097B50"/>
    <a:srgbClr val="095492"/>
    <a:srgbClr val="F29913"/>
    <a:srgbClr val="005598"/>
    <a:srgbClr val="FF8200"/>
    <a:srgbClr val="008259"/>
    <a:srgbClr val="74C713"/>
    <a:srgbClr val="00A5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1D8D7F-0C23-4195-A0E7-A131BF4291EB}" v="517" dt="2022-03-25T03:12:52.989"/>
    <p1510:client id="{7274A4F0-0940-4669-BF25-5E4AF3928E4A}" v="401" dt="2022-03-25T10:01:37.9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834" y="66"/>
      </p:cViewPr>
      <p:guideLst>
        <p:guide orient="horz" pos="1093"/>
        <p:guide pos="619"/>
        <p:guide orient="horz" pos="2478"/>
        <p:guide orient="horz" pos="2704"/>
        <p:guide orient="horz" pos="4086"/>
        <p:guide orient="horz" pos="2592"/>
        <p:guide pos="7422"/>
        <p:guide pos="2149"/>
        <p:guide pos="3908"/>
        <p:guide pos="2365"/>
        <p:guide pos="5666"/>
        <p:guide pos="5894"/>
        <p:guide pos="4134"/>
        <p:guide pos="4020"/>
        <p:guide pos="618"/>
        <p:guide pos="4133"/>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 orient="horz" pos="2857"/>
        <p:guide pos="19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file:///\\Users\joyxu\Desktop\Data%20Aspiri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bb846a1512d28708.xlsx]Sheet3!$B$1</c:f>
              <c:strCache>
                <c:ptCount val="1"/>
                <c:pt idx="0">
                  <c:v>有利
评分数</c:v>
                </c:pt>
              </c:strCache>
            </c:strRef>
          </c:tx>
          <c:spPr>
            <a:solidFill>
              <a:srgbClr val="00B050"/>
            </a:solidFill>
            <a:ln>
              <a:noFill/>
            </a:ln>
            <a:effectLst/>
          </c:spPr>
          <c:invertIfNegative val="0"/>
          <c:cat>
            <c:strRef>
              <c:f>[1]Sheet3!$A$2:$A$37</c:f>
              <c:strCache>
                <c:ptCount val="36"/>
                <c:pt idx="0">
                  <c:v>17-1</c:v>
                </c:pt>
                <c:pt idx="1">
                  <c:v>17-2</c:v>
                </c:pt>
                <c:pt idx="2">
                  <c:v>17-3</c:v>
                </c:pt>
                <c:pt idx="3">
                  <c:v>17-4</c:v>
                </c:pt>
                <c:pt idx="4">
                  <c:v>17-5</c:v>
                </c:pt>
                <c:pt idx="5">
                  <c:v>17-6</c:v>
                </c:pt>
                <c:pt idx="6">
                  <c:v>17-7</c:v>
                </c:pt>
                <c:pt idx="7">
                  <c:v>17-8</c:v>
                </c:pt>
                <c:pt idx="8">
                  <c:v>17-9</c:v>
                </c:pt>
                <c:pt idx="9">
                  <c:v>17-10</c:v>
                </c:pt>
                <c:pt idx="10">
                  <c:v>17-11</c:v>
                </c:pt>
                <c:pt idx="11">
                  <c:v>17-12</c:v>
                </c:pt>
                <c:pt idx="12">
                  <c:v>18-1</c:v>
                </c:pt>
                <c:pt idx="13">
                  <c:v>18-2</c:v>
                </c:pt>
                <c:pt idx="14">
                  <c:v>18-3</c:v>
                </c:pt>
                <c:pt idx="15">
                  <c:v>18-4</c:v>
                </c:pt>
                <c:pt idx="16">
                  <c:v>18-5</c:v>
                </c:pt>
                <c:pt idx="17">
                  <c:v>18-6</c:v>
                </c:pt>
                <c:pt idx="18">
                  <c:v>18-7</c:v>
                </c:pt>
                <c:pt idx="19">
                  <c:v>18-8</c:v>
                </c:pt>
                <c:pt idx="20">
                  <c:v>18-9</c:v>
                </c:pt>
                <c:pt idx="21">
                  <c:v>18-10</c:v>
                </c:pt>
                <c:pt idx="22">
                  <c:v>18-11</c:v>
                </c:pt>
                <c:pt idx="23">
                  <c:v>18-12</c:v>
                </c:pt>
                <c:pt idx="24">
                  <c:v>19-1</c:v>
                </c:pt>
                <c:pt idx="25">
                  <c:v>19-2</c:v>
                </c:pt>
                <c:pt idx="26">
                  <c:v>19-3</c:v>
                </c:pt>
                <c:pt idx="27">
                  <c:v>19-4</c:v>
                </c:pt>
                <c:pt idx="28">
                  <c:v>19-5</c:v>
                </c:pt>
                <c:pt idx="29">
                  <c:v>19-6</c:v>
                </c:pt>
                <c:pt idx="30">
                  <c:v>19-7</c:v>
                </c:pt>
                <c:pt idx="31">
                  <c:v>19-8</c:v>
                </c:pt>
                <c:pt idx="32">
                  <c:v>19-9</c:v>
                </c:pt>
                <c:pt idx="33">
                  <c:v>19-10</c:v>
                </c:pt>
                <c:pt idx="34">
                  <c:v>19-11</c:v>
                </c:pt>
                <c:pt idx="35">
                  <c:v>19-12</c:v>
                </c:pt>
              </c:strCache>
            </c:strRef>
          </c:cat>
          <c:val>
            <c:numRef>
              <c:f>[1]Sheet3!$B$2:$B$37</c:f>
              <c:numCache>
                <c:formatCode>0_);[Red]\(0\)</c:formatCode>
                <c:ptCount val="36"/>
                <c:pt idx="0">
                  <c:v>808</c:v>
                </c:pt>
                <c:pt idx="1">
                  <c:v>4295</c:v>
                </c:pt>
                <c:pt idx="2">
                  <c:v>4207</c:v>
                </c:pt>
                <c:pt idx="3">
                  <c:v>24476</c:v>
                </c:pt>
                <c:pt idx="4">
                  <c:v>7005</c:v>
                </c:pt>
                <c:pt idx="5">
                  <c:v>28216</c:v>
                </c:pt>
                <c:pt idx="6">
                  <c:v>3179</c:v>
                </c:pt>
                <c:pt idx="7">
                  <c:v>4805</c:v>
                </c:pt>
                <c:pt idx="8">
                  <c:v>13602</c:v>
                </c:pt>
                <c:pt idx="9">
                  <c:v>19046</c:v>
                </c:pt>
                <c:pt idx="10">
                  <c:v>23019</c:v>
                </c:pt>
                <c:pt idx="11">
                  <c:v>8195</c:v>
                </c:pt>
                <c:pt idx="12">
                  <c:v>10319</c:v>
                </c:pt>
                <c:pt idx="13">
                  <c:v>7154</c:v>
                </c:pt>
                <c:pt idx="14">
                  <c:v>9135</c:v>
                </c:pt>
                <c:pt idx="15">
                  <c:v>774</c:v>
                </c:pt>
                <c:pt idx="16">
                  <c:v>11453</c:v>
                </c:pt>
                <c:pt idx="17">
                  <c:v>4566</c:v>
                </c:pt>
                <c:pt idx="18">
                  <c:v>24386</c:v>
                </c:pt>
                <c:pt idx="19">
                  <c:v>28353</c:v>
                </c:pt>
                <c:pt idx="20">
                  <c:v>73456</c:v>
                </c:pt>
                <c:pt idx="21">
                  <c:v>22103</c:v>
                </c:pt>
                <c:pt idx="22">
                  <c:v>97123</c:v>
                </c:pt>
                <c:pt idx="23">
                  <c:v>76201</c:v>
                </c:pt>
                <c:pt idx="24">
                  <c:v>20197</c:v>
                </c:pt>
                <c:pt idx="25">
                  <c:v>31740</c:v>
                </c:pt>
                <c:pt idx="26">
                  <c:v>50161</c:v>
                </c:pt>
                <c:pt idx="27">
                  <c:v>12320</c:v>
                </c:pt>
                <c:pt idx="28">
                  <c:v>63937</c:v>
                </c:pt>
                <c:pt idx="29">
                  <c:v>2054</c:v>
                </c:pt>
                <c:pt idx="30">
                  <c:v>5748</c:v>
                </c:pt>
                <c:pt idx="31">
                  <c:v>9499</c:v>
                </c:pt>
                <c:pt idx="32">
                  <c:v>22077</c:v>
                </c:pt>
                <c:pt idx="33">
                  <c:v>47401</c:v>
                </c:pt>
                <c:pt idx="34">
                  <c:v>996</c:v>
                </c:pt>
                <c:pt idx="35">
                  <c:v>24624</c:v>
                </c:pt>
              </c:numCache>
            </c:numRef>
          </c:val>
          <c:extLst>
            <c:ext xmlns:c16="http://schemas.microsoft.com/office/drawing/2014/chart" uri="{C3380CC4-5D6E-409C-BE32-E72D297353CC}">
              <c16:uniqueId val="{00000000-8E84-4B79-8EC0-048E59947E5C}"/>
            </c:ext>
          </c:extLst>
        </c:ser>
        <c:ser>
          <c:idx val="1"/>
          <c:order val="1"/>
          <c:tx>
            <c:strRef>
              <c:f>[bb846a1512d28708.xlsx]Sheet3!$C$1</c:f>
              <c:strCache>
                <c:ptCount val="1"/>
                <c:pt idx="0">
                  <c:v>中立
评分数</c:v>
                </c:pt>
              </c:strCache>
            </c:strRef>
          </c:tx>
          <c:spPr>
            <a:solidFill>
              <a:schemeClr val="accent3"/>
            </a:solidFill>
            <a:ln>
              <a:noFill/>
            </a:ln>
            <a:effectLst/>
          </c:spPr>
          <c:invertIfNegative val="0"/>
          <c:dPt>
            <c:idx val="30"/>
            <c:invertIfNegative val="0"/>
            <c:bubble3D val="0"/>
            <c:spPr>
              <a:solidFill>
                <a:schemeClr val="accent3"/>
              </a:solidFill>
              <a:ln>
                <a:solidFill>
                  <a:schemeClr val="bg1">
                    <a:lumMod val="65000"/>
                  </a:schemeClr>
                </a:solidFill>
              </a:ln>
              <a:effectLst/>
            </c:spPr>
            <c:extLst>
              <c:ext xmlns:c16="http://schemas.microsoft.com/office/drawing/2014/chart" uri="{C3380CC4-5D6E-409C-BE32-E72D297353CC}">
                <c16:uniqueId val="{00000002-8E84-4B79-8EC0-048E59947E5C}"/>
              </c:ext>
            </c:extLst>
          </c:dPt>
          <c:cat>
            <c:strRef>
              <c:f>[1]Sheet3!$A$2:$A$37</c:f>
              <c:strCache>
                <c:ptCount val="36"/>
                <c:pt idx="0">
                  <c:v>17-1</c:v>
                </c:pt>
                <c:pt idx="1">
                  <c:v>17-2</c:v>
                </c:pt>
                <c:pt idx="2">
                  <c:v>17-3</c:v>
                </c:pt>
                <c:pt idx="3">
                  <c:v>17-4</c:v>
                </c:pt>
                <c:pt idx="4">
                  <c:v>17-5</c:v>
                </c:pt>
                <c:pt idx="5">
                  <c:v>17-6</c:v>
                </c:pt>
                <c:pt idx="6">
                  <c:v>17-7</c:v>
                </c:pt>
                <c:pt idx="7">
                  <c:v>17-8</c:v>
                </c:pt>
                <c:pt idx="8">
                  <c:v>17-9</c:v>
                </c:pt>
                <c:pt idx="9">
                  <c:v>17-10</c:v>
                </c:pt>
                <c:pt idx="10">
                  <c:v>17-11</c:v>
                </c:pt>
                <c:pt idx="11">
                  <c:v>17-12</c:v>
                </c:pt>
                <c:pt idx="12">
                  <c:v>18-1</c:v>
                </c:pt>
                <c:pt idx="13">
                  <c:v>18-2</c:v>
                </c:pt>
                <c:pt idx="14">
                  <c:v>18-3</c:v>
                </c:pt>
                <c:pt idx="15">
                  <c:v>18-4</c:v>
                </c:pt>
                <c:pt idx="16">
                  <c:v>18-5</c:v>
                </c:pt>
                <c:pt idx="17">
                  <c:v>18-6</c:v>
                </c:pt>
                <c:pt idx="18">
                  <c:v>18-7</c:v>
                </c:pt>
                <c:pt idx="19">
                  <c:v>18-8</c:v>
                </c:pt>
                <c:pt idx="20">
                  <c:v>18-9</c:v>
                </c:pt>
                <c:pt idx="21">
                  <c:v>18-10</c:v>
                </c:pt>
                <c:pt idx="22">
                  <c:v>18-11</c:v>
                </c:pt>
                <c:pt idx="23">
                  <c:v>18-12</c:v>
                </c:pt>
                <c:pt idx="24">
                  <c:v>19-1</c:v>
                </c:pt>
                <c:pt idx="25">
                  <c:v>19-2</c:v>
                </c:pt>
                <c:pt idx="26">
                  <c:v>19-3</c:v>
                </c:pt>
                <c:pt idx="27">
                  <c:v>19-4</c:v>
                </c:pt>
                <c:pt idx="28">
                  <c:v>19-5</c:v>
                </c:pt>
                <c:pt idx="29">
                  <c:v>19-6</c:v>
                </c:pt>
                <c:pt idx="30">
                  <c:v>19-7</c:v>
                </c:pt>
                <c:pt idx="31">
                  <c:v>19-8</c:v>
                </c:pt>
                <c:pt idx="32">
                  <c:v>19-9</c:v>
                </c:pt>
                <c:pt idx="33">
                  <c:v>19-10</c:v>
                </c:pt>
                <c:pt idx="34">
                  <c:v>19-11</c:v>
                </c:pt>
                <c:pt idx="35">
                  <c:v>19-12</c:v>
                </c:pt>
              </c:strCache>
            </c:strRef>
          </c:cat>
          <c:val>
            <c:numRef>
              <c:f>[1]Sheet3!$C$2:$C$37</c:f>
              <c:numCache>
                <c:formatCode>0_ ;[Red]\-0\ </c:formatCode>
                <c:ptCount val="36"/>
                <c:pt idx="0">
                  <c:v>121026</c:v>
                </c:pt>
                <c:pt idx="1">
                  <c:v>207675</c:v>
                </c:pt>
                <c:pt idx="2">
                  <c:v>149632</c:v>
                </c:pt>
                <c:pt idx="3">
                  <c:v>24004</c:v>
                </c:pt>
                <c:pt idx="4">
                  <c:v>130294</c:v>
                </c:pt>
                <c:pt idx="5">
                  <c:v>138077</c:v>
                </c:pt>
                <c:pt idx="6">
                  <c:v>74110</c:v>
                </c:pt>
                <c:pt idx="7">
                  <c:v>223514</c:v>
                </c:pt>
                <c:pt idx="8">
                  <c:v>39863</c:v>
                </c:pt>
                <c:pt idx="9">
                  <c:v>146649</c:v>
                </c:pt>
                <c:pt idx="10">
                  <c:v>322755</c:v>
                </c:pt>
                <c:pt idx="11">
                  <c:v>117541</c:v>
                </c:pt>
                <c:pt idx="12">
                  <c:v>71091</c:v>
                </c:pt>
                <c:pt idx="13">
                  <c:v>37806</c:v>
                </c:pt>
                <c:pt idx="14">
                  <c:v>76379</c:v>
                </c:pt>
                <c:pt idx="15">
                  <c:v>60968</c:v>
                </c:pt>
                <c:pt idx="16">
                  <c:v>100659</c:v>
                </c:pt>
                <c:pt idx="17">
                  <c:v>73226</c:v>
                </c:pt>
                <c:pt idx="18">
                  <c:v>270189</c:v>
                </c:pt>
                <c:pt idx="19">
                  <c:v>126619</c:v>
                </c:pt>
                <c:pt idx="20">
                  <c:v>130407</c:v>
                </c:pt>
                <c:pt idx="21">
                  <c:v>102089</c:v>
                </c:pt>
                <c:pt idx="22">
                  <c:v>180973</c:v>
                </c:pt>
                <c:pt idx="23">
                  <c:v>28479</c:v>
                </c:pt>
                <c:pt idx="24">
                  <c:v>66242</c:v>
                </c:pt>
                <c:pt idx="25">
                  <c:v>124029</c:v>
                </c:pt>
                <c:pt idx="26">
                  <c:v>126412</c:v>
                </c:pt>
                <c:pt idx="27">
                  <c:v>48961</c:v>
                </c:pt>
                <c:pt idx="28">
                  <c:v>76095</c:v>
                </c:pt>
                <c:pt idx="29">
                  <c:v>226997</c:v>
                </c:pt>
                <c:pt idx="30">
                  <c:v>453249</c:v>
                </c:pt>
                <c:pt idx="31">
                  <c:v>62705</c:v>
                </c:pt>
                <c:pt idx="32">
                  <c:v>50415</c:v>
                </c:pt>
                <c:pt idx="33">
                  <c:v>108873</c:v>
                </c:pt>
                <c:pt idx="34">
                  <c:v>250756</c:v>
                </c:pt>
                <c:pt idx="35">
                  <c:v>168708</c:v>
                </c:pt>
              </c:numCache>
            </c:numRef>
          </c:val>
          <c:extLst>
            <c:ext xmlns:c16="http://schemas.microsoft.com/office/drawing/2014/chart" uri="{C3380CC4-5D6E-409C-BE32-E72D297353CC}">
              <c16:uniqueId val="{00000003-8E84-4B79-8EC0-048E59947E5C}"/>
            </c:ext>
          </c:extLst>
        </c:ser>
        <c:ser>
          <c:idx val="3"/>
          <c:order val="3"/>
          <c:tx>
            <c:strRef>
              <c:f>[bb846a1512d28708.xlsx]Sheet3!$E$1</c:f>
              <c:strCache>
                <c:ptCount val="1"/>
                <c:pt idx="0">
                  <c:v>不利
评分数</c:v>
                </c:pt>
              </c:strCache>
            </c:strRef>
          </c:tx>
          <c:spPr>
            <a:solidFill>
              <a:srgbClr val="FF0000"/>
            </a:solidFill>
            <a:ln>
              <a:noFill/>
            </a:ln>
            <a:effectLst/>
          </c:spPr>
          <c:invertIfNegative val="0"/>
          <c:cat>
            <c:strRef>
              <c:f>[1]Sheet3!$A$2:$A$37</c:f>
              <c:strCache>
                <c:ptCount val="36"/>
                <c:pt idx="0">
                  <c:v>17-1</c:v>
                </c:pt>
                <c:pt idx="1">
                  <c:v>17-2</c:v>
                </c:pt>
                <c:pt idx="2">
                  <c:v>17-3</c:v>
                </c:pt>
                <c:pt idx="3">
                  <c:v>17-4</c:v>
                </c:pt>
                <c:pt idx="4">
                  <c:v>17-5</c:v>
                </c:pt>
                <c:pt idx="5">
                  <c:v>17-6</c:v>
                </c:pt>
                <c:pt idx="6">
                  <c:v>17-7</c:v>
                </c:pt>
                <c:pt idx="7">
                  <c:v>17-8</c:v>
                </c:pt>
                <c:pt idx="8">
                  <c:v>17-9</c:v>
                </c:pt>
                <c:pt idx="9">
                  <c:v>17-10</c:v>
                </c:pt>
                <c:pt idx="10">
                  <c:v>17-11</c:v>
                </c:pt>
                <c:pt idx="11">
                  <c:v>17-12</c:v>
                </c:pt>
                <c:pt idx="12">
                  <c:v>18-1</c:v>
                </c:pt>
                <c:pt idx="13">
                  <c:v>18-2</c:v>
                </c:pt>
                <c:pt idx="14">
                  <c:v>18-3</c:v>
                </c:pt>
                <c:pt idx="15">
                  <c:v>18-4</c:v>
                </c:pt>
                <c:pt idx="16">
                  <c:v>18-5</c:v>
                </c:pt>
                <c:pt idx="17">
                  <c:v>18-6</c:v>
                </c:pt>
                <c:pt idx="18">
                  <c:v>18-7</c:v>
                </c:pt>
                <c:pt idx="19">
                  <c:v>18-8</c:v>
                </c:pt>
                <c:pt idx="20">
                  <c:v>18-9</c:v>
                </c:pt>
                <c:pt idx="21">
                  <c:v>18-10</c:v>
                </c:pt>
                <c:pt idx="22">
                  <c:v>18-11</c:v>
                </c:pt>
                <c:pt idx="23">
                  <c:v>18-12</c:v>
                </c:pt>
                <c:pt idx="24">
                  <c:v>19-1</c:v>
                </c:pt>
                <c:pt idx="25">
                  <c:v>19-2</c:v>
                </c:pt>
                <c:pt idx="26">
                  <c:v>19-3</c:v>
                </c:pt>
                <c:pt idx="27">
                  <c:v>19-4</c:v>
                </c:pt>
                <c:pt idx="28">
                  <c:v>19-5</c:v>
                </c:pt>
                <c:pt idx="29">
                  <c:v>19-6</c:v>
                </c:pt>
                <c:pt idx="30">
                  <c:v>19-7</c:v>
                </c:pt>
                <c:pt idx="31">
                  <c:v>19-8</c:v>
                </c:pt>
                <c:pt idx="32">
                  <c:v>19-9</c:v>
                </c:pt>
                <c:pt idx="33">
                  <c:v>19-10</c:v>
                </c:pt>
                <c:pt idx="34">
                  <c:v>19-11</c:v>
                </c:pt>
                <c:pt idx="35">
                  <c:v>19-12</c:v>
                </c:pt>
              </c:strCache>
            </c:strRef>
          </c:cat>
          <c:val>
            <c:numRef>
              <c:f>[1]Sheet3!$E$2:$E$37</c:f>
              <c:numCache>
                <c:formatCode>0_ ;[Red]\-0\ </c:formatCode>
                <c:ptCount val="36"/>
                <c:pt idx="0">
                  <c:v>6564</c:v>
                </c:pt>
                <c:pt idx="1">
                  <c:v>406</c:v>
                </c:pt>
                <c:pt idx="2">
                  <c:v>13266</c:v>
                </c:pt>
                <c:pt idx="3">
                  <c:v>891</c:v>
                </c:pt>
                <c:pt idx="4">
                  <c:v>0</c:v>
                </c:pt>
                <c:pt idx="5">
                  <c:v>11286</c:v>
                </c:pt>
                <c:pt idx="6">
                  <c:v>0</c:v>
                </c:pt>
                <c:pt idx="7">
                  <c:v>0</c:v>
                </c:pt>
                <c:pt idx="8">
                  <c:v>2820</c:v>
                </c:pt>
                <c:pt idx="9">
                  <c:v>2283</c:v>
                </c:pt>
                <c:pt idx="10">
                  <c:v>0</c:v>
                </c:pt>
                <c:pt idx="11">
                  <c:v>2476</c:v>
                </c:pt>
                <c:pt idx="12">
                  <c:v>0</c:v>
                </c:pt>
                <c:pt idx="13">
                  <c:v>3238</c:v>
                </c:pt>
                <c:pt idx="14">
                  <c:v>0</c:v>
                </c:pt>
                <c:pt idx="15">
                  <c:v>5858</c:v>
                </c:pt>
                <c:pt idx="16">
                  <c:v>7371</c:v>
                </c:pt>
                <c:pt idx="17">
                  <c:v>12536</c:v>
                </c:pt>
                <c:pt idx="18">
                  <c:v>4839</c:v>
                </c:pt>
                <c:pt idx="19">
                  <c:v>115547</c:v>
                </c:pt>
                <c:pt idx="20">
                  <c:v>75329</c:v>
                </c:pt>
                <c:pt idx="21">
                  <c:v>5819</c:v>
                </c:pt>
                <c:pt idx="22">
                  <c:v>21793</c:v>
                </c:pt>
                <c:pt idx="23">
                  <c:v>28469</c:v>
                </c:pt>
                <c:pt idx="24">
                  <c:v>7341</c:v>
                </c:pt>
                <c:pt idx="25">
                  <c:v>9459</c:v>
                </c:pt>
                <c:pt idx="26">
                  <c:v>64890</c:v>
                </c:pt>
                <c:pt idx="27">
                  <c:v>766</c:v>
                </c:pt>
                <c:pt idx="28">
                  <c:v>3927</c:v>
                </c:pt>
                <c:pt idx="29">
                  <c:v>6237</c:v>
                </c:pt>
                <c:pt idx="30">
                  <c:v>0</c:v>
                </c:pt>
                <c:pt idx="31">
                  <c:v>0</c:v>
                </c:pt>
                <c:pt idx="32">
                  <c:v>3560</c:v>
                </c:pt>
                <c:pt idx="33">
                  <c:v>4211</c:v>
                </c:pt>
                <c:pt idx="34">
                  <c:v>11753</c:v>
                </c:pt>
                <c:pt idx="35">
                  <c:v>8821</c:v>
                </c:pt>
              </c:numCache>
            </c:numRef>
          </c:val>
          <c:extLst>
            <c:ext xmlns:c16="http://schemas.microsoft.com/office/drawing/2014/chart" uri="{C3380CC4-5D6E-409C-BE32-E72D297353CC}">
              <c16:uniqueId val="{00000004-8E84-4B79-8EC0-048E59947E5C}"/>
            </c:ext>
          </c:extLst>
        </c:ser>
        <c:dLbls>
          <c:showLegendKey val="0"/>
          <c:showVal val="0"/>
          <c:showCatName val="0"/>
          <c:showSerName val="0"/>
          <c:showPercent val="0"/>
          <c:showBubbleSize val="0"/>
        </c:dLbls>
        <c:gapWidth val="75"/>
        <c:overlap val="100"/>
        <c:axId val="212017584"/>
        <c:axId val="212018144"/>
      </c:barChart>
      <c:lineChart>
        <c:grouping val="standard"/>
        <c:varyColors val="0"/>
        <c:ser>
          <c:idx val="2"/>
          <c:order val="2"/>
          <c:tx>
            <c:strRef>
              <c:f>[bb846a1512d28708.xlsx]Sheet3!$D$1</c:f>
              <c:strCache>
                <c:ptCount val="1"/>
                <c:pt idx="0">
                  <c:v>不利占比</c:v>
                </c:pt>
              </c:strCache>
            </c:strRef>
          </c:tx>
          <c:spPr>
            <a:ln w="28575" cap="rnd">
              <a:solidFill>
                <a:srgbClr val="FF0000"/>
              </a:solidFill>
              <a:round/>
            </a:ln>
            <a:effectLst/>
          </c:spPr>
          <c:marker>
            <c:symbol val="none"/>
          </c:marker>
          <c:cat>
            <c:strRef>
              <c:f>[1]Sheet3!$A$2:$A$37</c:f>
              <c:strCache>
                <c:ptCount val="36"/>
                <c:pt idx="0">
                  <c:v>17-1</c:v>
                </c:pt>
                <c:pt idx="1">
                  <c:v>17-2</c:v>
                </c:pt>
                <c:pt idx="2">
                  <c:v>17-3</c:v>
                </c:pt>
                <c:pt idx="3">
                  <c:v>17-4</c:v>
                </c:pt>
                <c:pt idx="4">
                  <c:v>17-5</c:v>
                </c:pt>
                <c:pt idx="5">
                  <c:v>17-6</c:v>
                </c:pt>
                <c:pt idx="6">
                  <c:v>17-7</c:v>
                </c:pt>
                <c:pt idx="7">
                  <c:v>17-8</c:v>
                </c:pt>
                <c:pt idx="8">
                  <c:v>17-9</c:v>
                </c:pt>
                <c:pt idx="9">
                  <c:v>17-10</c:v>
                </c:pt>
                <c:pt idx="10">
                  <c:v>17-11</c:v>
                </c:pt>
                <c:pt idx="11">
                  <c:v>17-12</c:v>
                </c:pt>
                <c:pt idx="12">
                  <c:v>18-1</c:v>
                </c:pt>
                <c:pt idx="13">
                  <c:v>18-2</c:v>
                </c:pt>
                <c:pt idx="14">
                  <c:v>18-3</c:v>
                </c:pt>
                <c:pt idx="15">
                  <c:v>18-4</c:v>
                </c:pt>
                <c:pt idx="16">
                  <c:v>18-5</c:v>
                </c:pt>
                <c:pt idx="17">
                  <c:v>18-6</c:v>
                </c:pt>
                <c:pt idx="18">
                  <c:v>18-7</c:v>
                </c:pt>
                <c:pt idx="19">
                  <c:v>18-8</c:v>
                </c:pt>
                <c:pt idx="20">
                  <c:v>18-9</c:v>
                </c:pt>
                <c:pt idx="21">
                  <c:v>18-10</c:v>
                </c:pt>
                <c:pt idx="22">
                  <c:v>18-11</c:v>
                </c:pt>
                <c:pt idx="23">
                  <c:v>18-12</c:v>
                </c:pt>
                <c:pt idx="24">
                  <c:v>19-1</c:v>
                </c:pt>
                <c:pt idx="25">
                  <c:v>19-2</c:v>
                </c:pt>
                <c:pt idx="26">
                  <c:v>19-3</c:v>
                </c:pt>
                <c:pt idx="27">
                  <c:v>19-4</c:v>
                </c:pt>
                <c:pt idx="28">
                  <c:v>19-5</c:v>
                </c:pt>
                <c:pt idx="29">
                  <c:v>19-6</c:v>
                </c:pt>
                <c:pt idx="30">
                  <c:v>19-7</c:v>
                </c:pt>
                <c:pt idx="31">
                  <c:v>19-8</c:v>
                </c:pt>
                <c:pt idx="32">
                  <c:v>19-9</c:v>
                </c:pt>
                <c:pt idx="33">
                  <c:v>19-10</c:v>
                </c:pt>
                <c:pt idx="34">
                  <c:v>19-11</c:v>
                </c:pt>
                <c:pt idx="35">
                  <c:v>19-12</c:v>
                </c:pt>
              </c:strCache>
            </c:strRef>
          </c:cat>
          <c:val>
            <c:numRef>
              <c:f>[1]Sheet3!$D$2:$D$37</c:f>
              <c:numCache>
                <c:formatCode>0.00_ ;[Red]\-0.00\ </c:formatCode>
                <c:ptCount val="36"/>
                <c:pt idx="0">
                  <c:v>5.1122291624480134</c:v>
                </c:pt>
                <c:pt idx="1">
                  <c:v>0.19117037706708856</c:v>
                </c:pt>
                <c:pt idx="2">
                  <c:v>7.9387211633404151</c:v>
                </c:pt>
                <c:pt idx="3">
                  <c:v>1.8047031658260924</c:v>
                </c:pt>
                <c:pt idx="4">
                  <c:v>0</c:v>
                </c:pt>
                <c:pt idx="5">
                  <c:v>6.3554812224418429</c:v>
                </c:pt>
                <c:pt idx="6">
                  <c:v>0</c:v>
                </c:pt>
                <c:pt idx="7">
                  <c:v>0</c:v>
                </c:pt>
                <c:pt idx="8">
                  <c:v>5.0102158656835742</c:v>
                </c:pt>
                <c:pt idx="9">
                  <c:v>1.3591065496672183</c:v>
                </c:pt>
                <c:pt idx="10">
                  <c:v>0</c:v>
                </c:pt>
                <c:pt idx="11">
                  <c:v>1.931176488940193</c:v>
                </c:pt>
                <c:pt idx="12">
                  <c:v>0</c:v>
                </c:pt>
                <c:pt idx="13">
                  <c:v>6.7181210838624006</c:v>
                </c:pt>
                <c:pt idx="14">
                  <c:v>0</c:v>
                </c:pt>
                <c:pt idx="15">
                  <c:v>8.665680473372781</c:v>
                </c:pt>
                <c:pt idx="16">
                  <c:v>6.1690784463061688</c:v>
                </c:pt>
                <c:pt idx="17">
                  <c:v>13.878310158533344</c:v>
                </c:pt>
                <c:pt idx="18">
                  <c:v>1.6161568931312498</c:v>
                </c:pt>
                <c:pt idx="19">
                  <c:v>42.713081151416347</c:v>
                </c:pt>
                <c:pt idx="20">
                  <c:v>26.981073956273821</c:v>
                </c:pt>
                <c:pt idx="21">
                  <c:v>4.4757751267200465</c:v>
                </c:pt>
                <c:pt idx="22">
                  <c:v>7.2670221315219967</c:v>
                </c:pt>
                <c:pt idx="23">
                  <c:v>21.381309660605787</c:v>
                </c:pt>
                <c:pt idx="24">
                  <c:v>7.8278950735764559</c:v>
                </c:pt>
                <c:pt idx="25">
                  <c:v>5.7248166170382744</c:v>
                </c:pt>
                <c:pt idx="26">
                  <c:v>26.873682510363906</c:v>
                </c:pt>
                <c:pt idx="27">
                  <c:v>1.2345480039325027</c:v>
                </c:pt>
                <c:pt idx="28">
                  <c:v>2.7278600156989143</c:v>
                </c:pt>
                <c:pt idx="29">
                  <c:v>2.6507939206419366</c:v>
                </c:pt>
                <c:pt idx="30">
                  <c:v>0</c:v>
                </c:pt>
                <c:pt idx="31">
                  <c:v>0</c:v>
                </c:pt>
                <c:pt idx="32">
                  <c:v>4.6810077315520964</c:v>
                </c:pt>
                <c:pt idx="33">
                  <c:v>2.6239212387450541</c:v>
                </c:pt>
                <c:pt idx="34">
                  <c:v>4.460256921121041</c:v>
                </c:pt>
                <c:pt idx="35">
                  <c:v>4.3635266357659788</c:v>
                </c:pt>
              </c:numCache>
            </c:numRef>
          </c:val>
          <c:smooth val="0"/>
          <c:extLst>
            <c:ext xmlns:c16="http://schemas.microsoft.com/office/drawing/2014/chart" uri="{C3380CC4-5D6E-409C-BE32-E72D297353CC}">
              <c16:uniqueId val="{00000005-8E84-4B79-8EC0-048E59947E5C}"/>
            </c:ext>
          </c:extLst>
        </c:ser>
        <c:dLbls>
          <c:showLegendKey val="0"/>
          <c:showVal val="0"/>
          <c:showCatName val="0"/>
          <c:showSerName val="0"/>
          <c:showPercent val="0"/>
          <c:showBubbleSize val="0"/>
        </c:dLbls>
        <c:marker val="1"/>
        <c:smooth val="0"/>
        <c:axId val="212019264"/>
        <c:axId val="212018704"/>
      </c:lineChart>
      <c:catAx>
        <c:axId val="212017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r>
                  <a:rPr lang="zh-CN" altLang="en-US"/>
                  <a:t>时间</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endParaRPr lang="en-US"/>
          </a:p>
        </c:txPr>
        <c:crossAx val="212018144"/>
        <c:crosses val="autoZero"/>
        <c:auto val="1"/>
        <c:lblAlgn val="ctr"/>
        <c:lblOffset val="100"/>
        <c:noMultiLvlLbl val="0"/>
      </c:catAx>
      <c:valAx>
        <c:axId val="21201814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r>
                  <a:rPr lang="en-US" err="1"/>
                  <a:t>媒体</a:t>
                </a:r>
                <a:r>
                  <a:rPr lang="zh-CN" altLang="en-US"/>
                  <a:t>点击量</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endParaRPr lang="en-US"/>
            </a:p>
          </c:txPr>
        </c:title>
        <c:numFmt formatCode="0_);[Red]\(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endParaRPr lang="en-US"/>
          </a:p>
        </c:txPr>
        <c:crossAx val="212017584"/>
        <c:crosses val="autoZero"/>
        <c:crossBetween val="between"/>
      </c:valAx>
      <c:valAx>
        <c:axId val="212018704"/>
        <c:scaling>
          <c:orientation val="minMax"/>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endParaRPr lang="en-US"/>
          </a:p>
        </c:txPr>
        <c:crossAx val="212019264"/>
        <c:crosses val="max"/>
        <c:crossBetween val="between"/>
        <c:dispUnits>
          <c:builtInUnit val="hundreds"/>
        </c:dispUnits>
      </c:valAx>
      <c:catAx>
        <c:axId val="212019264"/>
        <c:scaling>
          <c:orientation val="minMax"/>
        </c:scaling>
        <c:delete val="1"/>
        <c:axPos val="b"/>
        <c:numFmt formatCode="General" sourceLinked="1"/>
        <c:majorTickMark val="out"/>
        <c:minorTickMark val="none"/>
        <c:tickLblPos val="nextTo"/>
        <c:crossAx val="212018704"/>
        <c:crossesAt val="9.9999999999999985E+97"/>
        <c:auto val="1"/>
        <c:lblAlgn val="ctr"/>
        <c:lblOffset val="100"/>
        <c:noMultiLvlLbl val="0"/>
      </c:catAx>
      <c:spPr>
        <a:noFill/>
        <a:ln>
          <a:noFill/>
        </a:ln>
        <a:effectLst/>
      </c:spPr>
    </c:plotArea>
    <c:legend>
      <c:legendPos val="r"/>
      <c:layout>
        <c:manualLayout>
          <c:xMode val="edge"/>
          <c:yMode val="edge"/>
          <c:x val="0.10118672492160066"/>
          <c:y val="5.7194343991903422E-2"/>
          <c:w val="0.19797051914154606"/>
          <c:h val="0.3524792738718742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icrosoft YaHei" panose="020B0503020204020204" pitchFamily="34" charset="-122"/>
          <a:ea typeface="Microsoft YaHei" panose="020B0503020204020204" pitchFamily="34" charset="-122"/>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2683</cdr:x>
      <cdr:y>0.44304</cdr:y>
    </cdr:from>
    <cdr:to>
      <cdr:x>0.299</cdr:x>
      <cdr:y>0.56391</cdr:y>
    </cdr:to>
    <cdr:sp macro="" textlink="">
      <cdr:nvSpPr>
        <cdr:cNvPr id="2" name="TextBox 1">
          <a:extLst xmlns:a="http://schemas.openxmlformats.org/drawingml/2006/main">
            <a:ext uri="{FF2B5EF4-FFF2-40B4-BE49-F238E27FC236}">
              <a16:creationId xmlns:a16="http://schemas.microsoft.com/office/drawing/2014/main" id="{8145C453-DA6A-F440-AD3A-955890DFD59E}"/>
            </a:ext>
          </a:extLst>
        </cdr:cNvPr>
        <cdr:cNvSpPr txBox="1"/>
      </cdr:nvSpPr>
      <cdr:spPr>
        <a:xfrm xmlns:a="http://schemas.openxmlformats.org/drawingml/2006/main">
          <a:off x="2873872" y="3351882"/>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216864" y="10247862"/>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5/03/2022</a:t>
            </a:fld>
            <a:endParaRPr lang="en-US"/>
          </a:p>
        </p:txBody>
      </p:sp>
      <p:sp>
        <p:nvSpPr>
          <p:cNvPr id="13" name="Footer Placeholder 3"/>
          <p:cNvSpPr>
            <a:spLocks noGrp="1"/>
          </p:cNvSpPr>
          <p:nvPr>
            <p:ph type="ftr" sz="quarter" idx="2"/>
          </p:nvPr>
        </p:nvSpPr>
        <p:spPr bwMode="gray">
          <a:xfrm>
            <a:off x="494926" y="10247862"/>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5703" y="10247862"/>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344694" y="198300"/>
            <a:ext cx="364430" cy="396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4"/>
    </inkml:context>
    <inkml:brush xml:id="br0">
      <inkml:brushProperty name="width" value="0.07938" units="cm"/>
      <inkml:brushProperty name="height" value="0.07938" units="cm"/>
      <inkml:brushProperty name="color" value="#E71224"/>
    </inkml:brush>
  </inkml:definitions>
  <inkml:trace contextRef="#ctx0" brushRef="#br0">1 1 4601,'0'0'1086,"0"0"-706,0 0-264,0 0-38,0 0-26,0 0 0,0 0 172,0 0 195,0 0 93,3 13 957,8 10-929,1 0 0,7 7-540,18 35 516,-1 26-55,-4 2 0,-5 2 0,5 43-461,21 78-670,-49-191-2244,-4-21 59</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9"/>
    </inkml:context>
    <inkml:brush xml:id="br0">
      <inkml:brushProperty name="width" value="0.07938" units="cm"/>
      <inkml:brushProperty name="height" value="0.07938" units="cm"/>
      <inkml:brushProperty name="color" value="#E71224"/>
    </inkml:brush>
  </inkml:definitions>
  <inkml:trace contextRef="#ctx0" brushRef="#br0">103 250 8586,'0'0'1421,"0"0"-886,0 0-401,0 0-104,7-25-16,18-81-14,-22 94-21,-1 0 1,-1 0-1,0 0 1,0 0-1,-2-8 21,0-3-25,1 22 51,0 1 1,0-1 0,0 1 0,1-1 0,-1 0 0,-1 1-1,1-1 1,0 0 0,0 1 0,0-1 0,0 0 0,0 1 0,-1-1-1,1 1 1,0-1 0,0 1 0,-1-1 0,1 0 0,-1 1-1,1-1 1,-1 1 0,1-1 0,-1 1 0,1 0 0,-1-1-1,1 1-26,-15 4 1097,-12 23-141,11 5-863,1-1 0,1 2 0,3 0 0,0 0 0,3 0 0,1 1 0,2 0 0,1 1 0,2-1 0,3 20-93,-1-52 1,-1 1-1,1-1 0,0 0 0,0 1 1,1-1-1,-1 0 0,0 1 0,1-1 1,0 0-1,0 0 0,-1 0 0,1 1 0,1-1 1,-1 0-1,0 0 0,1 0 0,-1-1 1,1 1-1,-1 0 0,1 0 0,0-1 1,0 1-1,0-1 0,0 1 0,0-1 1,0 0-1,0 0 0,1 1 0,1-1 0,5 1-328,0 0 0,0-1-1,0 0 1,0-1 0,0 0-1,0 0 1,7-1 328,-10 1-237,0-1-71,-1 0 0,0 0 0,0-1 0,0 1 1,0-1-1,0 0 0,0-1 0,0 1 0,-1-1 0,1 1 0,-1-1 1,0 0-1,0-1 0,0 1 0,-1 0 0,1-1 0,2-4 308,-2 4-671,15-18-4848</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64"/>
    </inkml:context>
    <inkml:brush xml:id="br0">
      <inkml:brushProperty name="width" value="0.05292" units="cm"/>
      <inkml:brushProperty name="height" value="0.05292" units="cm"/>
      <inkml:brushProperty name="color" value="#E71224"/>
    </inkml:brush>
  </inkml:definitions>
  <inkml:trace contextRef="#ctx0" brushRef="#br0">0 33 11162,'0'0'1257,"0"0"-1257,0 0 0,0 0 32,0 0 440,185 5-304,-127-5-64,0 0-16,-3-9-88,-10-1-168,-8 1-496,-13 1-417,-11 6-639,-13 2-336,0 0-617,-5 0-1368</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65"/>
    </inkml:context>
    <inkml:brush xml:id="br0">
      <inkml:brushProperty name="width" value="0.05292" units="cm"/>
      <inkml:brushProperty name="height" value="0.05292" units="cm"/>
      <inkml:brushProperty name="color" value="#E71224"/>
    </inkml:brush>
  </inkml:definitions>
  <inkml:trace contextRef="#ctx0" brushRef="#br0">0 0 264,'0'0'8775,"0"0"-6212,0 0-2361,0 0-237,15 12-64,-5-5 89,11 8 37,-1 1-1,-1 1 1,25 28 0,-19-10 575,-29-37-549,0 1 0,1-1 0,-1 1 0,0 0 0,1 0 0,-1 0 0,0 0-1,0 0 1,0 1 0,-7 0 0,-46 3-536,55-3 488,0 1 0,0-1 0,0 1 1,0 0-1,-1-1 0,2 1 0,-1 0 0,0 0 0,0 1 0,0-1 1,0 0-1,1 1 0,-1-1 0,0 1 0,1-1 0,0 1 0,-1 0 1,1-1-1,0 1 0,0 0 0,0 0 0,0 0 0,-1 2 0,0 2-19,0 1 0,1-1 0,0 0 0,0 1-1,0-1 1,1 10 0,0-15 6,0-1-1,1 1 1,-1 0 0,0-1-1,0 1 1,1 0 0,-1-1-1,1 1 1,-1 0 0,0-1-1,1 1 1,-1-1 0,1 1-1,-1-1 1,1 1 0,0-1-1,-1 1 1,1-1-1,-1 1 1,1-1 0,0 0-1,-1 1 1,1-1 0,0 0-1,0 0 1,-1 0 0,1 1-1,0-1 1,-1 0 0,1 0-1,1 0 1,30 0-206,-24 0-17,-5 0 114,-1 0 0,1-1 0,-1 1 0,1-1 0,-1 0 0,1 0-1,-1 0 1,1 0 0,-1 0 0,0 0 0,1-1 0,-1 1 0,0-1 0,0 0 0,0 1 0,0-1 0,2-3 0,2-3-735,0 0-1,0-1 1,5-9 0,1-8-3724</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66"/>
    </inkml:context>
    <inkml:brush xml:id="br0">
      <inkml:brushProperty name="width" value="0.05292" units="cm"/>
      <inkml:brushProperty name="height" value="0.05292" units="cm"/>
      <inkml:brushProperty name="color" value="#E71224"/>
    </inkml:brush>
  </inkml:definitions>
  <inkml:trace contextRef="#ctx0" brushRef="#br0">1 0 10778,'0'0'1673,"0"0"-1265,0 0-248,0 0-8,0 0-144,2 138-8,1-110-160,0-1-144,-1-6-136,1-7-353,2-4-263,-5-8-88,0-2-936,0 0-2898</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67"/>
    </inkml:context>
    <inkml:brush xml:id="br0">
      <inkml:brushProperty name="width" value="0.05292" units="cm"/>
      <inkml:brushProperty name="height" value="0.05292" units="cm"/>
      <inkml:brushProperty name="color" value="#E71224"/>
    </inkml:brush>
  </inkml:definitions>
  <inkml:trace contextRef="#ctx0" brushRef="#br0">1 1 8482,'0'0'1928,"0"0"-1488,0 0-440,0 0-104,0 0-784,0 0-1080,0 0-561,0 0-311</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68"/>
    </inkml:context>
    <inkml:brush xml:id="br0">
      <inkml:brushProperty name="width" value="0.05292" units="cm"/>
      <inkml:brushProperty name="height" value="0.05292" units="cm"/>
      <inkml:brushProperty name="color" value="#E71224"/>
    </inkml:brush>
  </inkml:definitions>
  <inkml:trace contextRef="#ctx0" brushRef="#br0">8 0 1424,'0'0'8186,"0"0"-5767,0 0-2095,-1 23-332,-1 9-38,-3 96-73,5 177 319,0-304-297,2 20-809,4-9-2884,-3-12-564</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69"/>
    </inkml:context>
    <inkml:brush xml:id="br0">
      <inkml:brushProperty name="width" value="0.05292" units="cm"/>
      <inkml:brushProperty name="height" value="0.05292" units="cm"/>
      <inkml:brushProperty name="color" value="#E71224"/>
    </inkml:brush>
  </inkml:definitions>
  <inkml:trace contextRef="#ctx0" brushRef="#br0">166 1 7562,'0'0'3759,"0"0"-2463,0 0-905,0 0-439,0 0-461,-10 0-273,-32 1 191,40-1 603,1 0 0,-1 1 0,0-1-1,0 1 1,0-1 0,0 1 0,0 0-1,1 0 1,-1 0 0,0 0 0,0 0-1,1 0 1,-1 0 0,1 1 0,-1-1-1,1 0 1,0 1 0,0-1 0,-1 1-1,1 0 1,0-1 0,0 1 0,0 0-1,1 0 1,-1 0 0,-1 3-1,2-3-26,-1 1-1,1-1 1,-1 1-1,1-1 1,0 1-1,0-1 1,0 1-1,0-1 1,0 1-1,1-1 1,-1 1-1,1-1 0,0 1 1,-1-1-1,1 1 1,0-1-1,2 3 1,28 26 185,-28-29-104,0 1-1,0-1 0,0 1 0,0-1 0,0 1 0,0 0 1,-1 0-1,1 1 0,-1-1 0,0 0 0,0 1 0,0-1 0,-1 1 1,1 0-1,-1 0 0,0-1 0,0 1 0,0 0 0,-1 0 1,1 4-1,-1-3 137,0-1 1,0 0 0,0 1-1,-1-1 1,0 1-1,0-1 1,0 0 0,0 1-1,-1-1 1,1 0-1,-4 5 1,3-6-172,0-1 0,0 1 1,-1-1-1,1 0 0,-1 0 0,1 1 0,-1-2 1,0 1-1,0 0 0,0-1 0,0 1 1,0-1-1,0 0 0,0 0 0,0 0 0,-4 1 1,-6 0-1454,-1-1 0,1 0 1,-17 0-1,23-1 225,-6 0-2687</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0"/>
    </inkml:context>
    <inkml:brush xml:id="br0">
      <inkml:brushProperty name="width" value="0.05292" units="cm"/>
      <inkml:brushProperty name="height" value="0.05292" units="cm"/>
      <inkml:brushProperty name="color" value="#E71224"/>
    </inkml:brush>
  </inkml:definitions>
  <inkml:trace contextRef="#ctx0" brushRef="#br0">0 0 8162,'0'0'3284,"0"0"-2562,0 0-711,0 0-22,9 23-6,-6-14 24,67 154 119,-65-154-28,-1-1 240,0 0-1,0 0 0,-1 0 0,0 1 1,0-1-1,-1 1 0,2 14 1,-4-23-214,0 0-71,0 0 54,0-29 107,-6-29-361,4 46 58,1 0 0,0 0-1,0 0 1,1 0 0,0 0-1,4-18 1,-3 28-38,0 0-1,-1 0 1,1 0-1,0 0 1,0 0-1,1 0 1,-1 0-1,0 0 1,1 1-1,-1-1 1,1 0-1,-1 1 1,1-1 0,0 1-1,0 0 1,-1 0-1,1 0 1,0 0-1,0 0 1,0 0-1,0 0 1,1 0-1,2 0 1,5-1-1016,0 1 0,0 0 0,18 0 0,-22 1 655,10 0-2191</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1"/>
    </inkml:context>
    <inkml:brush xml:id="br0">
      <inkml:brushProperty name="width" value="0.05292" units="cm"/>
      <inkml:brushProperty name="height" value="0.05292" units="cm"/>
      <inkml:brushProperty name="color" value="#E71224"/>
    </inkml:brush>
  </inkml:definitions>
  <inkml:trace contextRef="#ctx0" brushRef="#br0">19 75 8770,'0'0'1502,"0"0"-1170,0 0-270,0 0 185,0 0 12,13-2-126,37-7-28,-48 8-64,0 1-1,-1-1 0,1 0 0,-1 0 0,1 1 0,0-1 0,-1 0 0,1 0 0,-1 0 0,0-1 0,1 1 0,-1 0 1,0 0-1,0-1 0,0 1 0,0-1 0,0 1 0,0-1 0,0 1 0,0-1 0,-1 0 0,1 1 0,-1-1 0,1 0 1,-1 1-1,1-1 0,-1 0 0,0 0 0,0 0 0,0 1 0,0-1 0,0 0 0,-1-3 0,1-1 46,-1 6-101,1-1-1,-1 1 1,1-1 0,0 1 0,-1-1-1,1 1 1,-1-1 0,1 1 0,-1-1-1,1 1 1,-1 0 0,0-1 0,1 1-1,-1 0 1,1 0 0,-1-1 0,0 1 0,1 0-1,-1 0 1,0 0 0,1 0 0,-1 0-1,0 0 1,1 0 0,-1 0 0,0 0-1,0 0 1,-27 0 259,20 1 28,5-1-241,1 1 0,0-1 0,-1 1 0,1 0 0,0 0 0,0 0 0,0 0 0,0 0 1,0 0-1,0 1 0,0-1 0,0 1 0,0 0 0,0-1 0,1 1 0,-1 0 0,1 0 0,-1 0 0,1 0 0,0 0 0,0 0 0,0 0 0,0 1 0,0-1 0,-1 5 0,-1 2 49,1 0-1,0 0 0,0 1 0,0-1 1,1 14-1,1-11 68,-1-7-114,1 0 1,0 0 0,1 0-1,-1-1 1,1 1 0,2 7-1,-3-10-38,2 0 1,-1 0-1,0 0 0,0-1 0,1 1 0,-1 0 0,1 0 1,-1-1-1,1 1 0,0-1 0,-1 1 0,1-1 0,0 0 1,0 0-1,0 0 0,4 2 0,1-1-241,-1 1 0,1-1-1,-1 0 1,14 1 0,26-1-4356,-32-2 1529</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2"/>
    </inkml:context>
    <inkml:brush xml:id="br0">
      <inkml:brushProperty name="width" value="0.05292" units="cm"/>
      <inkml:brushProperty name="height" value="0.05292" units="cm"/>
      <inkml:brushProperty name="color" value="#E71224"/>
    </inkml:brush>
  </inkml:definitions>
  <inkml:trace contextRef="#ctx0" brushRef="#br0">165 91 1360,'0'0'6402,"0"0"-4315,0 0-1618,0 0 2,0 0 13,-7-14-295,-24-42-226,30 54 35,0 0-1,0 1 1,0 0-1,0-1 0,-1 1 1,1 0-1,-1-1 1,1 1-1,-1 0 1,1 0-1,-1 0 1,0 0-1,1 1 1,-1-1-1,0 0 1,0 1-1,1-1 1,-1 1-1,0 0 1,0-1-1,0 1 1,0 0-1,0 0 0,-2 1 1,1-1 5,-1 1 1,1-1-1,0 1 1,-1 0 0,1 0-1,0 1 1,0-1-1,0 1 1,-3 1-1,2 1-6,0 0 0,0-1-1,0 1 1,0 1 0,1-1 0,-1 0-1,1 1 1,0 0 0,1-1 0,-1 1-1,1 1 1,0-1 0,0 0 0,1 0-1,0 1 1,-1-1 0,2 0 0,-1 1-1,1-1 1,0 1 0,0-1 0,1 9-1,0-13-3,-1 1 0,1-1 1,-1 0-1,1 0 0,0 0 0,0 1 0,-1-1 0,1 0 0,0 0 0,0 0 0,0 0 0,0 0 0,0 0 0,1-1 0,-1 1 0,0 0 0,0 0 0,0-1 0,1 1 0,-1-1 0,0 1 0,1-1 0,-1 0 0,0 1 0,1-1 0,-1 0 0,1 0 1,-1 0-1,0 0 0,1 0 0,-1 0 0,3-1 0,0 1-17,0 0 1,0-1-1,0 0 0,1 1 1,-1-1-1,0-1 1,0 1-1,0-1 1,6-3-1,-9 5 23,0-1 0,-1 0-1,1 1 1,0-1 0,0 0 0,0 1 0,0-1 0,0 1-1,0 0 1,0-1 0,0 1 0,0 0 0,0-1-1,0 1 1,0 0 0,0 0 0,0 0 0,1 0-1,-1 0 8,-1 1 0,1-1 0,-1 0-1,1 1 1,-1-1 0,1 0 0,-1 1-1,1-1 1,-1 1 0,1-1 0,-1 1-1,0-1 1,1 1 0,-1-1 0,0 1-1,1-1 1,-1 1 0,0 0-1,0-1 1,0 1 0,1-1 0,-1 2-1,1 6 106,-1-1 0,0 1 0,0 0 0,-1 8-1,0 1 185,1 13-21,-1 0 1,-1 0 0,-2 0-1,-1-1 1,-12 38 0,11-45-279,4-13-120,-1-1 1,0 1-1,0-1 1,-9 16-1,12-24-59,-1 1 0,1-1 0,0 1 1,-1-1-1,1 1 0,-1-1 0,1 1 0,0-1 0,-1 0 0,1 1 0,-1-1 0,1 0 0,-1 1 0,1-1 0,-1 0 0,0 0 0,1 1 0,-1-1 0,1 0 0,-1 0 0,0 0 0,1 0 0,-1 0 0,0 0 0,-4 0-598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3"/>
    </inkml:context>
    <inkml:brush xml:id="br0">
      <inkml:brushProperty name="width" value="0.05292" units="cm"/>
      <inkml:brushProperty name="height" value="0.05292" units="cm"/>
      <inkml:brushProperty name="color" value="#E71224"/>
    </inkml:brush>
  </inkml:definitions>
  <inkml:trace contextRef="#ctx0" brushRef="#br0">1 0 9154,'0'0'2488,"0"0"-1485,0 0-784,0 0-135,0 20-63,0 152 408,-1-171-435,1 0 0,0-1 0,0 1 1,0 0-1,0 0 0,0 0 1,0 0-1,0 0 0,1 0 0,-1 0 1,0 0-1,0 0 0,1 0 1,-1-1-1,1 1 0,-1 0 0,1 0 1,-1 0-1,1-1 0,-1 1 1,1 0-1,-1-1 0,1 1 0,0 0 1,0-1-1,-1 1 0,1-1 1,0 1-1,0-1 0,0 1 1,-1-1-1,1 0 0,0 1 0,0-1 1,0 0-1,0 0 0,2 0 1,-2 0-4,1 0 0,0 0 0,-1 0 1,1-1-1,-1 1 0,1-1 1,-1 1-1,1-1 0,-1 0 0,1 0 1,-1 1-1,0-1 0,1 0 0,-1 0 1,0 0-1,0-1 0,0 1 1,0 0-1,0 0 0,2-3 0,47-77 113,-50 81-92,0-1-1,0 1 0,0 0 1,0 0-1,0 0 0,0-1 1,0 1-1,0 0 0,0 0 0,0 0 1,1-1-1,-1 1 0,0 0 1,0 0-1,0 0 0,0 0 1,0 0-1,1-1 0,-1 1 0,0 0 1,0 0-1,0 0 0,0 0 1,1 0-1,-1 0 0,0 0 1,0 0-1,0 0 0,1 0 0,-1 0 1,0 0-1,0 0 0,0 0 1,1 0-1,-1 0 0,0 0 1,0 0-1,0 0 0,1 0 0,-1 0 1,0 0-1,3 10 171,-1 27-118,-2-24 112,0-9-237,5 33 366,-4-36-394,-1 0 0,0 0 0,0 0 0,1 0 0,-1 0 0,1 0 0,-1 0 0,1 0 0,-1-1 0,1 1 0,0 0 1,-1 0-1,1 0 0,0 0 0,-1-1 0,1 1 0,0 0 0,0-1 0,0 1 0,0-1 0,0 1 0,0-1 0,0 1 0,0-1 0,0 0 0,0 1 0,0-1 0,2 0 0,8 0-2827,-1 0-1413</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0"/>
    </inkml:context>
    <inkml:brush xml:id="br0">
      <inkml:brushProperty name="width" value="0.07938" units="cm"/>
      <inkml:brushProperty name="height" value="0.07938" units="cm"/>
      <inkml:brushProperty name="color" value="#E71224"/>
    </inkml:brush>
  </inkml:definitions>
  <inkml:trace contextRef="#ctx0" brushRef="#br0">1 0 8730,'0'0'2692,"0"0"-1727,0 0-748,6 23-132,0 4-59,3 11-5,2 0 0,2-1 1,3 4-22,-15-37-28,1 0 0,0 0 0,0 0 0,1 0 0,-1 0-1,1 0 1,2 1 28,-5-4-15,1-1 0,-1 0 0,1 0 0,-1 1-1,0-1 1,1 0 0,-1 0 0,1 1 0,-1-1-1,0 0 1,1 0 0,-1 0 0,1 0 0,-1 0 0,1 0-1,-1 1 1,1-1 0,-1 0 0,1 0 0,-1 0-1,1-1 1,-1 1 0,1 0 0,-1 0 0,1 0-1,-1 0 1,0 0 0,1 0 15,14-17-241,-10 9 237,2-5-2,0 1 0,1 0-1,1 1 1,9-10 6,-16 19 1,0-1 0,1 1-1,0 0 1,-1 0 0,1 0-1,0 0 1,0 0 0,0 0-1,0 1 1,0-1 0,1 1-1,-1 0 1,0 0 0,1 0-1,-1 0 1,1 1 0,-1-1-1,1 1 1,-1 0 0,1 0-1,0 0 1,-1 0 0,4 1-1,-5 0 50,0-1 0,0 1 0,0 0 0,0 1 0,0-1 0,-1 0 0,1 0 0,0 1 1,-1-1-1,1 1 0,-1 0 0,1-1 0,-1 1 0,0 0 0,0-1 0,0 1 0,0 0 0,0 0 1,0 0-1,-1 0 0,1 0 0,0 1-50,10 52 716,-9-44-575,3 30-685,-1-1 1,-3 24 543,-1-63-2662,0-1-2354</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4"/>
    </inkml:context>
    <inkml:brush xml:id="br0">
      <inkml:brushProperty name="width" value="0.05292" units="cm"/>
      <inkml:brushProperty name="height" value="0.05292" units="cm"/>
      <inkml:brushProperty name="color" value="#E71224"/>
    </inkml:brush>
  </inkml:definitions>
  <inkml:trace contextRef="#ctx0" brushRef="#br0">0 0 7786,'0'0'2432,"0"0"-1760,0 0 24,0 0-87,0 0-433,0 145-176,6-123-8,-4-6-112,1-4-425,-1-7-711,-2-5-632,0-3-553,0-13-2016</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5"/>
    </inkml:context>
    <inkml:brush xml:id="br0">
      <inkml:brushProperty name="width" value="0.05292" units="cm"/>
      <inkml:brushProperty name="height" value="0.05292" units="cm"/>
      <inkml:brushProperty name="color" value="#E71224"/>
    </inkml:brush>
  </inkml:definitions>
  <inkml:trace contextRef="#ctx0" brushRef="#br0">0 0 8970,'0'0'2168,"0"0"-1824,0 0-344,0 0-808,0 0-1288,0 0-3265</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6"/>
    </inkml:context>
    <inkml:brush xml:id="br0">
      <inkml:brushProperty name="width" value="0.05292" units="cm"/>
      <inkml:brushProperty name="height" value="0.05292" units="cm"/>
      <inkml:brushProperty name="color" value="#E71224"/>
    </inkml:brush>
  </inkml:definitions>
  <inkml:trace contextRef="#ctx0" brushRef="#br0">1 43 7522,'0'0'2220,"0"0"-1380,0 0-306,0 0-53,4 23-193,14 69-188,-17-87-90,0 0-1,0 0 1,1 0-1,0 0 1,-1-1-1,5 7 1,-3 2 133,-3-12 169,0-12 451,-1-40-718,-1 27-205,2-1-1,4-42 0,-3 65 103,-1 1 0,1-1 0,-1 0 0,1 0 0,0 1 0,0-1 0,0 1 0,0-1 0,0 1 0,1-1 0,-1 1 0,0-1 0,0 1 0,1 0 0,-1 0 0,1 0 0,0 0 0,-1 0 0,1 0-1,0 0 1,-1 0 0,1 1 0,0-1 0,0 1 0,0-1 0,-1 1 0,1 0 0,2-1 0,0 1-186,-1 0 0,0 0 0,0 0 0,0 0 0,0 0-1,1 0 1,-1 1 0,0 0 0,0 0 0,0-1 0,0 2 0,0-1 0,0 0-1,0 1 1,-1-1 0,4 3 0,5 8-2379</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7"/>
    </inkml:context>
    <inkml:brush xml:id="br0">
      <inkml:brushProperty name="width" value="0.05292" units="cm"/>
      <inkml:brushProperty name="height" value="0.05292" units="cm"/>
      <inkml:brushProperty name="color" value="#E71224"/>
    </inkml:brush>
  </inkml:definitions>
  <inkml:trace contextRef="#ctx0" brushRef="#br0">8 423 224,'0'0'4564,"0"0"-3040,0 0-596,0 0-133,0 0-103,0 0 56,13-10-173,39-31-237,-51 39-308,1 1 1,-1-1 0,1 0 0,-1 0 0,1 0 0,-1 0 0,0 0 0,0 0-1,0 0 1,0 0 0,0 0 0,-1 0 0,1-1 0,-1 1 0,1 0-1,-1-1 1,0 1 0,0 0 0,0-1 0,0 1 0,0 0 0,0 0 0,-1-3-1,-1-7 212,2 11-231,0 0 0,0-1-1,0 1 1,0 0-1,0-1 1,-1 1 0,1 0-1,-1-1 1,1 1-1,-1 0 1,1 0 0,-1 0-1,0-1 1,0 1-1,1 0 1,-1 0 0,0 0-1,0 0 1,0 0-1,0 0 1,0 1 0,0-1-1,0 0 1,-1 0-1,1 1 1,0-1 0,0 1-1,-1-1 1,1 1-1,0 0 1,-1-1 0,1 1-1,0 0 1,-1 0-1,1 0 1,0 0 0,-1 0-1,1 0 1,0 0-1,-1 0 1,1 1 0,0-1-1,0 0 1,-1 1-1,1-1 1,0 1 0,0 0-1,-1-1 1,1 1-1,0 0 1,0 0 0,0-1-1,0 1 1,0 0-1,0 0 1,0 0 0,1 0-1,-3 3 1,0 1-14,-1 1 1,1 0-1,1 0 1,-1 0-1,1 0 1,0 0-1,0 1 1,0-1-1,0 10 1,0 8-75,0 29 0,2-46 32,1-2 42,-1 0 1,1 0-1,-1-1 1,1 1-1,1-1 1,-1 1 0,1-1-1,0 1 1,-1-1-1,2 0 1,-1 0-1,1 0 1,-1 0-1,1 0 1,0 0-1,0-1 1,1 0-1,-1 1 1,1-1-1,0 0 1,-1-1-1,1 1 1,0-1-1,1 0 1,-1 0 0,0 0-1,7 2 1,1 0 12,0-1 0,0 0 0,0-1 0,1 0 0,-1-1 0,1 0 0,-1-1 1,1 0-1,18-4 0,-26 3 2,0-1 0,1 0 0,-1 0 0,0 0 0,0-1 0,0 0 0,0 0 0,0 0-1,-1 0 1,1-1 0,-1 0 0,0 0 0,0 0 0,-1 0 0,1-1 0,3-6 0,-2 5-16,-1-1 0,-1 0 0,1-1 0,-1 1 0,0-1 1,-1 1-1,1-1 0,-2 0 0,1 0 0,0-15 0,-1 22-12,-1 0 1,0 1-1,0-1 0,0 0 1,0 0-1,0 0 0,0 0 0,-1 0 1,1 1-1,0-1 0,0 0 1,0 0-1,-1 0 0,1 0 1,-1 1-1,1-1 0,0 0 1,-1 0-1,1 1 0,-1-1 1,0 0-1,1 1 0,-1-1 1,0 0-1,-2 0-59,1 1 1,0-1-1,0 1 1,0 0-1,0 0 1,-1 0-1,1 0 1,-4 0-1,0 1-100,1 0 96,1 0 0,-1 0 0,1 0 0,0 1 0,0 0 0,-1 0 0,1 0 0,0 0 1,0 1-1,1 0 0,-1 0 0,1 0 0,-1 0 0,1 0 0,0 1 0,0-1 0,0 1 0,1 0 0,-4 5 0,2-2 176,0 0 0,0 1-1,0-1 1,1 1 0,1 0 0,-1 0 0,1 0 0,0 0 0,-1 17-1,3-24-82,0 0-1,0-1 1,0 1-1,0 0 0,0 0 1,0 0-1,0 0 0,0 0 1,1 0-1,-1 0 0,0 0 1,0 0-1,1 0 0,-1-1 1,1 1-1,-1 0 0,1 0 1,-1 0-1,1-1 0,-1 1 1,2 1-1,-1-2-18,0 0 0,1 1 0,-1-1 0,0 0-1,1 0 1,-1 0 0,0 0 0,0 0 0,1 0 0,-1 0 0,0 0 0,1-1 0,-1 1 0,0 0-1,0-1 1,2 0 0,1-1 14,0 0-1,-1 1 0,1-2 1,-1 1-1,1 0 1,-1-1-1,0 1 0,0-1 1,0 0-1,5-6 1,23-38 141,-26 37-134,18-32 21,-1 0 1,-3-1 0,16-54-1,27-139 947,-62 234 308,0 6-88,0 75 683,2 110 129,0-149-1940,2 0 0,17 67-1,-19-100-439,11 31 643,-1-23-2179,-11-14 1469,0-1 0,0 1 0,0 0-1,0-1 1,1 1 0,-1-1 0,0 0 0,0 1-1,0-1 1,0 0 0,1 0 0,-1 1 0,2-1 0,2 0-6688</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8"/>
    </inkml:context>
    <inkml:brush xml:id="br0">
      <inkml:brushProperty name="width" value="0.05292" units="cm"/>
      <inkml:brushProperty name="height" value="0.05292" units="cm"/>
      <inkml:brushProperty name="color" value="#E71224"/>
    </inkml:brush>
  </inkml:definitions>
  <inkml:trace contextRef="#ctx0" brushRef="#br0">180 344 10818,'0'0'1483,"0"0"-1060,0 0-99,-10 0-86,-3-2-231,8 1-37,0 1 0,0-1-1,0 1 1,1 0 0,-1 0-1,0 0 1,-8 2 0,10 0 40,0-1 1,1 1 0,-1 0 0,1 0-1,-1 0 1,1 0 0,-1 0-1,1 0 1,0 1 0,0-1-1,0 1 1,1 0 0,-3 4-1,0-2 27,-6 10 84,1 0-1,1 0 0,0 0 0,1 1 0,1 0 0,0 1 0,1 0 0,1-1 1,1 1-1,0 1 0,1-1 0,1 0 0,2 27 0,-1-43-130,0 0 0,1 0 0,-1 0 0,0 0 0,1 0 0,0 0 0,-1 0 0,1 0 0,0 0 0,-1 0 0,1 0 0,0 0 0,0 0 0,0 0 0,0 0 0,0-1 0,0 1 0,0 0 0,0-1 0,0 1 0,0-1 0,0 1 0,0-1 0,0 0 0,1 1 0,-1-1 0,0 0 0,0 0-1,0 0 1,1 0 0,-1 0 0,0 0 0,0 0 0,2-1 0,1 1 19,0 0 0,0-1 0,0 1-1,0-1 1,0 0 0,0-1 0,0 1-1,0 0 1,-1-1 0,5-2-1,1-4 39,0-1-1,0 0 1,-1 0-1,0 0 0,0-1 1,-1-1-1,-1 1 1,0-1-1,8-17 0,1-10 49,17-62-1,-17 42-89,-2 0 1,-3-1 0,-3-1 0,1-70 0,-9 128-6,1 1 0,0-1 0,0 1 0,0-1 0,0 1 0,0-1 0,0 1 0,0-1 1,1 0-1,-1 1 0,0-1 0,1 1 0,-1 0 0,1-1 0,1-2 0,-1 5 35,-1 0-1,1 0 0,-1 0 1,1 0-1,-1 1 0,0-1 1,1 0-1,-1 0 0,0 0 1,0 0-1,0 0 0,0 1 1,0-1-1,0 2 0,0 1 59,25 347 1726,-24-331-1861,-1 6-98,1 0 0,1-1 0,1 1 0,8 30 0,-11-55-11,0 0 0,1 0 0,-1 0 1,0 0-1,1 0 0,-1 0 1,1 0-1,-1 0 0,1 0 0,0 0 1,-1 0-1,1 0 0,0-1 1,0 1-1,-1 0 0,1 0 0,0-1 1,0 1-1,1 0 0,13 1-5447,-10-2 1172</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79"/>
    </inkml:context>
    <inkml:brush xml:id="br0">
      <inkml:brushProperty name="width" value="0.05292" units="cm"/>
      <inkml:brushProperty name="height" value="0.05292" units="cm"/>
      <inkml:brushProperty name="color" value="#E71224"/>
    </inkml:brush>
  </inkml:definitions>
  <inkml:trace contextRef="#ctx0" brushRef="#br0">79 162 9298,'0'0'1810,"0"0"-1182,0 0-543,0 0-49,0 0 30,0 0-5,9-13-41,28-40-8,-34 49-7,-1 1 1,0-1-1,0 0 1,0 0-1,0 0 1,-1 0-1,1-1 1,-1 1-1,0 0 1,-1-1-1,1 1 0,-1-1 1,0 1-1,0-8 1,-1-1 60,1 12-32,0 0 1,0 1-1,-1-1 0,1 0 0,0 1 1,0-1-1,-1 1 0,1-1 1,-1 0-1,1 1 0,0-1 1,-1 1-1,1-1 0,-1 1 0,1-1 1,-1 1-1,0 0 0,1-1 1,-1 1-1,1 0 0,-1-1 1,0 1-1,1 0 0,-1 0 0,0 0 1,1-1-1,-1 1 0,0 0 1,1 0-1,-1 0 0,0 0 1,1 0-1,-1 0 0,0 0 0,1 1 1,-1-1-1,0 0 0,-1 1 1,-1-1 58,0 0 0,0 1 1,1 0-1,-1 0 0,0 0 1,0 0-1,0 0 0,-3 2 1,0 3-68,-1 1 1,1-1-1,0 1 1,1 0-1,-1 1 1,1-1-1,1 1 1,-1 0-1,2 0 1,-1 1-1,1-1 1,-3 14 0,-1 7 210,1-1 0,-2 47 0,6-58-251,0-5 67,1 0-1,1 0 0,0 0 1,2 16-1,-2-26-107,1 0 0,-1 0 0,1 0 0,-1 0 0,1 0 0,0 0 0,-1 0 0,1 0-1,0 0 1,0 0 0,1 0 0,-1-1 0,0 1 0,1 0 0,-1-1 0,1 1 0,-1-1 0,1 1 0,0-1 0,-1 0-1,1 0 1,0 0 0,0 0 0,0 0 0,0 0 0,0 0 0,0-1 0,0 1 0,4 0 0,-2-1-231,0 1 0,0-1 0,0 0-1,0 0 1,0-1 0,0 1 0,0-1 0,0 0 0,0 0 0,0 0 0,0 0 0,0-1 0,5-2 0,-4 0-29,1 0 1,-1-1-1,1 1 1,-1-1-1,0-1 1,6-7-1,18-27-2135</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0"/>
    </inkml:context>
    <inkml:brush xml:id="br0">
      <inkml:brushProperty name="width" value="0.05292" units="cm"/>
      <inkml:brushProperty name="height" value="0.05292" units="cm"/>
      <inkml:brushProperty name="color" value="#E71224"/>
    </inkml:brush>
  </inkml:definitions>
  <inkml:trace contextRef="#ctx0" brushRef="#br0">0 0 11210,'0'0'1682,"0"0"-839,0 0-383,0 0-87,1 20-70,3 132 136,-4 204-60,2-338-1021,-1-9-1211,-1 0-4263,0-9 1559</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1"/>
    </inkml:context>
    <inkml:brush xml:id="br0">
      <inkml:brushProperty name="width" value="0.05292" units="cm"/>
      <inkml:brushProperty name="height" value="0.05292" units="cm"/>
      <inkml:brushProperty name="color" value="#E71224"/>
    </inkml:brush>
  </inkml:definitions>
  <inkml:trace contextRef="#ctx0" brushRef="#br0">0 120 11482,'0'0'1817,"0"0"-1785,0 0-32,0 0-48,0 0 48,0 0 320,180-57-184,-129 38-80,-2 3-56,-5 2-128,-11 5-312,-7 4-344,-6 5-449,-4 0-575,2 2-424,-6 15-825,-4-1-1056</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2"/>
    </inkml:context>
    <inkml:brush xml:id="br0">
      <inkml:brushProperty name="width" value="0.05292" units="cm"/>
      <inkml:brushProperty name="height" value="0.05292" units="cm"/>
      <inkml:brushProperty name="color" value="#E71224"/>
    </inkml:brush>
  </inkml:definitions>
  <inkml:trace contextRef="#ctx0" brushRef="#br0">1 0 7394,'0'0'1667,"0"0"-1078,0 0-497,0 0 8,0 0 103,0 0 0,18 2-14,60 5 48,-69-5-83,-1-1 1,1 1-1,0 1 0,-1-1 0,1 1 0,-1 1 0,0 0 0,0 0 1,0 0-1,-1 1 0,0 0 0,0 1 0,0 0 0,0 0 0,-1 0 1,0 1-1,0 0 0,-1 0 0,0 0 0,0 1 0,-1 0 0,0 0 1,4 8-1,-8-15-141,0-1 1,0 0-1,0 0 0,0 1 1,0-1-1,0 0 1,0 1-1,0-1 1,0 0-1,0 0 0,0 1 1,0-1-1,0 0 1,0 1-1,0-1 1,-1 0-1,1 0 0,0 1 1,0-1-1,0 0 1,0 0-1,0 1 1,-1-1-1,1 0 0,0 0 1,0 0-1,0 1 1,-1-1-1,1 0 1,0 0-1,0 0 1,-1 0-1,1 1 0,0-1 1,0 0-1,-1 0 1,1 0-1,0 0 1,-1 0-1,1 0 0,0 0 1,0 0-1,-1 0 1,1 0-1,0 0 1,-1 0-1,1 0 0,0 0 1,0 0-1,-1 0 1,1 0-1,0 0 1,-1-1-1,1 1 0,-27-4-154,13 1 172,7 3-56,-1-1 0,1 1 1,0 1-1,-1-1 0,-7 3 0,11-2 13,1 0 0,-1 0 0,0 1 0,0 0-1,1 0 1,-1 0 0,1 0 0,0 0 0,0 1-1,-5 4 1,3-3 42,1 1 1,0-1-1,0 1 0,1 0 1,0 0-1,-1 1 0,2-1 0,-1 0 1,-3 12-1,3-6 10,1-1 0,0 1 1,1 0-1,0 18 0,2-28-57,-1 0 0,0 0 0,0 0 0,0 0-1,1 0 1,-1 0 0,1 0 0,-1-1 0,0 1 0,1 0-1,0 0 1,-1 0 0,1 0 0,-1-1 0,1 1 0,0 0-1,0-1 1,-1 1 0,1 0 0,0-1 0,0 1 0,0-1-1,0 1 1,0-1 0,-1 0 0,1 1 0,0-1 0,0 0-1,0 0 1,0 0 0,0 1 0,2-1 0,36 0-1533,-34 0 1198,-2 0 178,0-1 0,0 1 0,0-1 0,0 0 0,0 0 0,0 0 0,-1 0 1,1 0-1,0 0 0,-1-1 0,1 0 0,-1 1 0,5-5 0,23-29-1492,-23 26 1219,23-29-2119</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3"/>
    </inkml:context>
    <inkml:brush xml:id="br0">
      <inkml:brushProperty name="width" value="0.05292" units="cm"/>
      <inkml:brushProperty name="height" value="0.05292" units="cm"/>
      <inkml:brushProperty name="color" value="#E71224"/>
    </inkml:brush>
  </inkml:definitions>
  <inkml:trace contextRef="#ctx0" brushRef="#br0">1 0 7882,'0'0'1920,"0"0"-1248,0 0 304,0 0-151,0 122-409,2-94-336,3-5-80,0-2-264,1-5-184,-4-4-225,3-12-511,-2 0-536,-1 0-1417</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1"/>
    </inkml:context>
    <inkml:brush xml:id="br0">
      <inkml:brushProperty name="width" value="0.07938" units="cm"/>
      <inkml:brushProperty name="height" value="0.07938" units="cm"/>
      <inkml:brushProperty name="color" value="#E71224"/>
    </inkml:brush>
  </inkml:definitions>
  <inkml:trace contextRef="#ctx0" brushRef="#br0">1 0 8162,'0'0'5369,"0"0"-4737,0 154 136,7-72 136,6 5-191,8 4-497,6-9-216,0-8-200,-3-11-505,-3-17-551,-4-13-776,-14-19-257,-3-6 161,0-8-233</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4"/>
    </inkml:context>
    <inkml:brush xml:id="br0">
      <inkml:brushProperty name="width" value="0.05292" units="cm"/>
      <inkml:brushProperty name="height" value="0.05292" units="cm"/>
      <inkml:brushProperty name="color" value="#E71224"/>
    </inkml:brush>
  </inkml:definitions>
  <inkml:trace contextRef="#ctx0" brushRef="#br0">0 0 10082,'0'0'2641,"0"0"-2257,0 0-384,0 0-840,0 0-1657,0 0-3736</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5"/>
    </inkml:context>
    <inkml:brush xml:id="br0">
      <inkml:brushProperty name="width" value="0.05292" units="cm"/>
      <inkml:brushProperty name="height" value="0.05292" units="cm"/>
      <inkml:brushProperty name="color" value="#E71224"/>
    </inkml:brush>
  </inkml:definitions>
  <inkml:trace contextRef="#ctx0" brushRef="#br0">2 0 2537,'0'0'7901,"0"0"-5611,0 0-1966,0 25-81,0 150 94,0-121-357,-1 21 157,3 0 1,15 96-1,-12-159-1532,-5-11 1256,0-1-1,0 0 1,0 0 0,0 0-1,0 1 1,0-1-1,1 0 1,-1 0 0,0 0-1,0 1 1,0-1 0,1 0-1,-1 0 1,0 0 0,0 0-1,0 0 1,1 1 0,-1-1-1,0 0 1,0 0 0,1 0-1,-1 0 1,0 0 0,0 0-1,1 0 1,-1 0 0,0 0-1,0 0 1,1 0 0,-1 0-1,0 0 1,0 0 0,0 0-1,1 0 1,-1 0 0,0 0-1,0-1 1,1 1 0,-1 0-1,0 0 1,0 0 0,0 0-1,1 0 1,-1-1-1,0 1 1,0 0 0,0 0-1,0 0 1,1 0 0,-1-1-1,0 1 1,0 0 0,0 0-1,0-1 1,5-10-4722</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6"/>
    </inkml:context>
    <inkml:brush xml:id="br0">
      <inkml:brushProperty name="width" value="0.05292" units="cm"/>
      <inkml:brushProperty name="height" value="0.05292" units="cm"/>
      <inkml:brushProperty name="color" value="#E71224"/>
    </inkml:brush>
  </inkml:definitions>
  <inkml:trace contextRef="#ctx0" brushRef="#br0">185 0 11242,'0'0'1899,"0"0"-898,0 0-415,0 0-172,0 0-325,-8 6-426,6-5 284,-7 6-57,0-1-1,1 1 0,-15 16 1,21-21 88,0 0-1,0 1 1,0-1 0,1 0 0,-1 1 0,1-1 0,-1 1 0,1-1 0,0 1-1,0 0 1,0 0 0,1-1 0,-1 1 0,0 0 0,1 0 0,0 0 0,0 0-1,0 0 1,0-1 0,0 1 0,0 0 0,1 0 0,0 0 0,1 3 0,1-1-20,1-1 0,-1 0-1,1 0 1,0-1 0,0 1 0,1-1 0,-1 0 0,1 0 0,0 0 0,7 2 0,9 7 31,-12-6 19,0 1-1,-1-1 1,0 1-1,0 1 0,7 8 1,-12-12 74,0 0 1,-1 0-1,1 0 1,-1 0-1,0 1 1,0-1-1,0 0 0,0 1 1,-1 0-1,0-1 1,0 1-1,0 0 1,0 6-1,-1-7 67,0 0 0,0-1-1,0 1 1,-1 0 0,1-1 0,-1 1 0,0 0-1,0-1 1,-2 5 0,2-6-82,-1 1 0,0-1-1,0 0 1,0 0 0,1 0 0,-2 0 0,1-1-1,0 1 1,0-1 0,-1 1 0,1-1 0,0 0-1,-4 2 1,-11 3-18,0-1 0,0-1 0,-1-1 0,1 0 0,-1-1 0,0-1 0,-34-2 0,28 1-361,20 0 149,-15-2-682,19 2 677,-1 0 1,1-1 0,0 1-1,-1 0 1,1-1 0,-1 1-1,1 0 1,0-1-1,-1 1 1,1-1 0,0 1-1,-1 0 1,1-1-1,0 1 1,-1-1 0,1 1-1,0-1 1,0 1-1,0-1 1,-1 0 0,1-6-4174</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7"/>
    </inkml:context>
    <inkml:brush xml:id="br0">
      <inkml:brushProperty name="width" value="0.05292" units="cm"/>
      <inkml:brushProperty name="height" value="0.05292" units="cm"/>
      <inkml:brushProperty name="color" value="#E71224"/>
    </inkml:brush>
  </inkml:definitions>
  <inkml:trace contextRef="#ctx0" brushRef="#br0">0 0 11138,'0'0'1882,"0"0"-1355,0 0-515,1 22-64,4 73-89,-4-81 134,1-1 0,0 1 1,8 23-1,-8-29 73,0 0 1,0 0-1,0 0 1,0 10-1,-2 23 1778,5-55-1969,-2 3 105,0-1-1,1 1 1,0 0-1,1 0 1,0 0-1,1 0 1,0 1 0,0 0-1,1 0 1,1 1-1,-1 0 1,1 0-1,1 1 1,0 0 0,11-8-1,-17 14 12,0 0 0,0 0 1,0 1-1,0-1 0,0 1 0,0 0 0,0 0 0,0 0 0,1 0 1,-1 1-1,0-1 0,1 1 0,3 0 0,-6 0 19,0 1 0,0-1 0,0 1-1,0-1 1,-1 1 0,1-1 0,0 1 0,0 0-1,-1-1 1,1 1 0,0 0 0,-1-1 0,1 1-1,-1 0 1,1 0 0,-1-1 0,1 1 0,-1 0-1,0 0 1,1 0 0,-1 0 0,0 0 0,1 1-1,6 25 408,-7-23-331,1 1-157,10 37 549,-10-40-885,0 1 0,0 0 1,1-1-1,-1 1 0,1-1 0,-1 0 0,1 1 0,0-1 0,0 0 0,0 0 0,0 0 0,3 2 0,5 0-4258</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8"/>
    </inkml:context>
    <inkml:brush xml:id="br0">
      <inkml:brushProperty name="width" value="0.05292" units="cm"/>
      <inkml:brushProperty name="height" value="0.05292" units="cm"/>
      <inkml:brushProperty name="color" value="#E71224"/>
    </inkml:brush>
  </inkml:definitions>
  <inkml:trace contextRef="#ctx0" brushRef="#br0">224 60 5577,'0'0'4836,"0"0"-3851,0 0-881,-23-11 18,-73-31-550,94 41 381,-1 0 1,0 0 0,1 0-1,-1 0 1,0 1-1,1-1 1,-1 1 0,0-1-1,0 1 1,1 0-1,-1 0 1,-5 1 0,6 0 25,1-1 0,0 1 0,0 0 0,0-1 0,0 1 0,0 0-1,0 0 1,0 0 0,0 0 0,0-1 0,0 1 0,1 1 0,-1-1 0,-1 2 0,-2 3-30,-1 0 115,0 0 0,1 0 0,0 1-1,1 0 1,-1 0 0,1 0 0,0 0 0,1 0 0,-3 11-1,2 0 322,1 0-1,1 33 0,0-50-381,1 0-1,0 1 1,0-1-1,0 1 0,0-1 1,1 0-1,-1 1 1,0-1-1,1 1 1,-1-1-1,1 0 1,-1 1-1,1-1 0,-1 0 1,1 0-1,0 1 1,0-1-1,0 0 1,-1 0-1,1 0 1,0 0-1,1 0 0,-1 0 1,0 0-1,0-1 1,0 1-1,0 0 1,1 0-1,1 0 0,1 0-68,1 0-1,0-1 1,0 1-1,0-1 1,0 0-1,0 0 1,6-2-1,-7 2 18,0-1-1,-1 0 0,1-1 1,0 1-1,-1-1 0,0 0 1,1 0-1,-1 0 0,0 0 0,0 0 1,0-1-1,0 1 0,0-1 1,-1 0-1,1 0 0,2-4 1,5-8-281,0 0 0,8-18 0,-11 21-85,16-35-1774,-4 3-1738</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89"/>
    </inkml:context>
    <inkml:brush xml:id="br0">
      <inkml:brushProperty name="width" value="0.05292" units="cm"/>
      <inkml:brushProperty name="height" value="0.05292" units="cm"/>
      <inkml:brushProperty name="color" value="#E71224"/>
    </inkml:brush>
  </inkml:definitions>
  <inkml:trace contextRef="#ctx0" brushRef="#br0">6 0 6001,'0'0'5457,"0"0"-4752,0 0-297,0 0 504,2 146-232,1-98-416,2-2-112,-3-4-104,4-3 24,-4-6-64,-2-8-8,0-7-56,0-4-432,0-4-584,0-6-617,0 1-247,-13-1-849,0-4-3288</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0"/>
    </inkml:context>
    <inkml:brush xml:id="br0">
      <inkml:brushProperty name="width" value="0.05292" units="cm"/>
      <inkml:brushProperty name="height" value="0.05292" units="cm"/>
      <inkml:brushProperty name="color" value="#E71224"/>
    </inkml:brush>
  </inkml:definitions>
  <inkml:trace contextRef="#ctx0" brushRef="#br0">0 12 776,'0'0'10090,"0"0"-8345,0 0-1513,0 0-160,0 0 248,0 0 368,134-5-312,-83 5-208,0 0-88,-2 0-24,-5-2-40,-6 0-16,-7-1-456,-5 3-864,-13 0-913,-8 0-543,-5 0-2545</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1"/>
    </inkml:context>
    <inkml:brush xml:id="br0">
      <inkml:brushProperty name="width" value="0.05292" units="cm"/>
      <inkml:brushProperty name="height" value="0.05292" units="cm"/>
      <inkml:brushProperty name="color" value="#E71224"/>
    </inkml:brush>
  </inkml:definitions>
  <inkml:trace contextRef="#ctx0" brushRef="#br0">0 68 10354,'0'0'1076,"0"0"-558,0 0-151,0 0-95,12 20-159,6 10-88,3 3 124,27 59 1,-45-86 240,-1 1 0,1-1 0,-2 1 0,1-1 1,-1 1-1,0-1 0,0 13 0,-1-18-1,0-1-83,0-2-22,-1-5-285,-1 1-1,1 0 1,-1-1 0,-1 1 0,1 0 0,-1 0 0,0 0 0,-5-6-1,-5-12-42,7 11-37,1 1 0,0-1 1,1-1-1,0 1 0,1-1 0,0 0 1,1 1-1,0-24 0,3 35-35,-1 1 0,0 0 0,1-1 0,-1 1-1,1 0 1,-1-1 0,1 1 0,0 0 0,0-1 0,0 1 0,-1 0-1,1 0 1,0 0 0,1 0 0,-1 0 0,0 0 0,0 0-1,0 0 1,2 0 0,31-17-2442,-30 16 2119,53-23-4288,-34 18 873</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2"/>
    </inkml:context>
    <inkml:brush xml:id="br0">
      <inkml:brushProperty name="width" value="0.05292" units="cm"/>
      <inkml:brushProperty name="height" value="0.05292" units="cm"/>
      <inkml:brushProperty name="color" value="#E71224"/>
    </inkml:brush>
  </inkml:definitions>
  <inkml:trace contextRef="#ctx0" brushRef="#br0">0 92 8362,'0'0'1552,"0"0"-1153,0 0-294,0 0 75,0 0 275,0 0-62,15 0-131,45-1-87,-59 1-143,1 0 0,-1 0 1,1 0-1,-1 0 1,1-1-1,-1 1 1,0 0-1,1-1 1,-1 1-1,1-1 1,-1 0-1,0 1 1,0-1-1,1 0 1,-1 0-1,0 1 1,0-1-1,0 0 0,0 0 1,0 0-1,0-1 1,0 1-1,0 0 1,0 0-1,-1 0 1,1-1-1,1-1 1,-2-1 110,1 1 1,-1-1-1,1 0 0,-1 0 1,0 1-1,0-1 1,-2-6-1,1-2 77,1 11-203,0 0 0,0 0 0,0 0 0,0 0 0,0 0 0,0 0 0,-1 0 0,1 0 1,0 0-1,-1 1 0,1-1 0,0 0 0,-1 0 0,1 0 0,-1 1 0,0-1 0,1 0 0,-1 0 0,1 1 0,-1-1 0,-1 0 0,1 0-5,1 1-1,-1 0 1,0 0 0,1 0-1,-1 0 1,1-1-1,-1 1 1,0 0 0,1 0-1,-1 0 1,0 1 0,1-1-1,-1 0 1,0 0-1,1 0 1,-1 0 0,1 1-1,-1-1 1,0 0-1,1 0 1,-1 1 0,1-1-1,-1 0 1,1 1-1,-1-1 1,1 1 0,-1-1-1,1 1 1,0-1-1,-1 1 1,1-1 0,-1 1-1,1-1 1,0 2 0,-4 4 57,0 0 1,1 0-1,0 1 1,1-1-1,-1 1 1,1 0-1,0 0 0,1 0 1,-1 8-1,0 9 153,2 33-1,0-31-276,0-24 39,0 0 0,0 0 0,0 1 0,1-1 0,-1 0 1,1 1-1,-1-1 0,1 0 0,0 0 0,0 0 0,0 0 0,0 0 0,0 0 0,0 0 0,1 0 0,-1 0 0,1 0 0,2 2 0,-1-2-213,0 0 1,0 0-1,0 0 1,1-1-1,-1 1 1,1-1-1,-1 1 1,1-1-1,-1 0 1,7 0-1,-2 0-409,0 0-1,0-1 1,-1 0-1,1 0 1,0-1-1,-1 0 1,1-1-1,0 0 1,-1 0-1,11-5 1,11-6-2432</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3"/>
    </inkml:context>
    <inkml:brush xml:id="br0">
      <inkml:brushProperty name="width" value="0.05292" units="cm"/>
      <inkml:brushProperty name="height" value="0.05292" units="cm"/>
      <inkml:brushProperty name="color" value="#E71224"/>
    </inkml:brush>
  </inkml:definitions>
  <inkml:trace contextRef="#ctx0" brushRef="#br0">196 99 3201,'0'0'1707,"0"0"-319,0 0-246,0 0-134,0 0-235,0 0-243,-10-16-90,-36-51 24,45 66-443,0 0 0,1 0 1,-1 0-1,0 0 0,0 0 0,0 0 1,0 0-1,-1 0 0,1 0 0,0 0 1,0 1-1,0-1 0,-1 0 0,1 1 1,0-1-1,-1 1 0,1-1 0,-1 1 1,1 0-1,-3 0 0,2 0-1,1 0 1,0 1-1,-1-1 0,1 1 1,0-1-1,-1 1 0,1 0 0,0 0 1,-1-1-1,1 1 0,0 0 1,-1 1-1,-2 1 23,-4 4-15,0 0 0,0 1 0,1 0-1,0 0 1,1 0 0,-1 1 0,2 0-1,-9 15 1,11-16 59,0-1-1,0 0 0,0 1 1,1 0-1,0-1 1,0 1-1,1 0 1,0 0-1,1 0 1,-1 0-1,2 0 1,0 10-1,0-17-82,-1 0 0,1 0 0,-1 0 0,1 0 0,-1 0 0,1 0 0,0 0 0,0 0 0,-1-1 1,1 1-1,0 0 0,0 0 0,0-1 0,0 1 0,0 0 0,0-1 0,0 1 0,0-1 0,0 1 0,0-1 0,0 0 0,0 1 0,0-1 0,1 0 0,-1 0 0,1 0 0,37 2-51,-31-2 26,-4 0 11,0 0-1,0-1 0,0 1 0,0-1 1,0 0-1,0 0 0,0-1 0,0 1 0,-1-1 1,1 1-1,0-1 0,-1 0 0,1-1 1,5-4-1,0-2 10,-1 0 0,1-1 0,9-14 0,-9 11-11,-3 10 177,-3 11 88,-3 18 260,0-20-408,-3 50 444,-2 0 0,-19 81 0,13-79-553,9-41 250,1-13-2038,1-3-4654,0-17 1203</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2"/>
    </inkml:context>
    <inkml:brush xml:id="br0">
      <inkml:brushProperty name="width" value="0.07938" units="cm"/>
      <inkml:brushProperty name="height" value="0.07938" units="cm"/>
      <inkml:brushProperty name="color" value="#E71224"/>
    </inkml:brush>
  </inkml:definitions>
  <inkml:trace contextRef="#ctx0" brushRef="#br0">1 159 10042,'0'0'3169,"0"0"-2185,0 0-232,0 0 104,0 0-143,242-71-409,-156 46-160,-1 3-144,-6 3-192,-14 5-489,-4 6-639,1 8-864,-18 0-825,-10 0-1744</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4"/>
    </inkml:context>
    <inkml:brush xml:id="br0">
      <inkml:brushProperty name="width" value="0.05292" units="cm"/>
      <inkml:brushProperty name="height" value="0.05292" units="cm"/>
      <inkml:brushProperty name="color" value="#E71224"/>
    </inkml:brush>
  </inkml:definitions>
  <inkml:trace contextRef="#ctx0" brushRef="#br0">1 0 10114,'0'0'1399,"0"0"-856,0 0-275,0 0 8,0 0-60,0 0-116,4 22-16,14 64 51,-17-83-101,-1 0 1,1 0 0,0-1-1,0 1 1,0 0-1,0-1 1,0 1 0,1-1-1,-1 1 1,1-1-1,-1 0 1,4 4-1,-4-5-26,0-1 0,-1 1 0,1-1 0,0 0 0,-1 1-1,1-1 1,0 0 0,0 0 0,-1 0 0,1 1 0,0-1 0,0 0-1,-1 0 1,1 0 0,0 0 0,0 0 0,0 0 0,-1-1-1,1 1 1,0 0 0,0 0 0,-1 0 0,1-1 0,0 1-1,-1 0 1,1-1 0,1 0 0,2-2 4,-1 0 1,1-1-1,0 0 0,-1 0 1,0 0-1,0 0 1,4-7-1,48-82 87,-55 93-91,0 0-1,0 0 1,0 0 0,0 0 0,0-1 0,0 1 0,0 0 0,0 0-1,1 0 1,-1 0 0,0 0 0,0 0 0,0-1 0,0 1 0,0 0 0,0 0-1,0 0 1,0 0 0,1 0 0,-1 0 0,0 0 0,0 0 0,0 0 0,0 0-1,0-1 1,0 1 0,1 0 0,-1 0 0,0 0 0,0 0 0,0 0 0,0 0-1,0 0 1,1 0 0,-1 0 0,0 0 0,0 0 0,0 0 0,0 0-1,0 0 1,1 0 0,-1 1 0,0-1 0,0 0 0,0 0 0,0 0 0,0 0-1,1 0 1,-1 0 0,0 0 0,0 0 0,0 0 0,0 0 0,0 1 0,0-1-1,0 0 1,0 0 0,1 0 0,2 16 450,-2 33 227,-1-31-564,1-5-173,2 30 299,-3-40-406,1 0 0,-1 0 0,1 0 0,0 0 0,0 0 0,0-1-1,0 1 1,1 0 0,-1-1 0,4 6 0,-4-7-139,1 0-1,-1-1 1,1 1-1,-1 0 1,0-1-1,1 1 1,-1-1-1,1 1 1,-1-1 0,1 0-1,-1 0 1,1 1-1,0-1 1,-1 0-1,1-1 1,-1 1 0,1 0-1,-1 0 1,1-1-1,-1 1 1,1 0-1,1-2 1,12-9-3772</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5"/>
    </inkml:context>
    <inkml:brush xml:id="br0">
      <inkml:brushProperty name="width" value="0.05292" units="cm"/>
      <inkml:brushProperty name="height" value="0.05292" units="cm"/>
      <inkml:brushProperty name="color" value="#E71224"/>
    </inkml:brush>
  </inkml:definitions>
  <inkml:trace contextRef="#ctx0" brushRef="#br0">0 0 680,'0'0'9042,"0"0"-7362,0 0-1159,0 0-169,0 0-16,0 0-272,0 0-64,0 129-136,0-117-112,0-7-248,3-5-737,-1 0-911,-2 0-1985</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6"/>
    </inkml:context>
    <inkml:brush xml:id="br0">
      <inkml:brushProperty name="width" value="0.05292" units="cm"/>
      <inkml:brushProperty name="height" value="0.05292" units="cm"/>
      <inkml:brushProperty name="color" value="#E71224"/>
    </inkml:brush>
  </inkml:definitions>
  <inkml:trace contextRef="#ctx0" brushRef="#br0">0 0 10306,'0'0'1881,"0"0"-1473,0 0-408,0 0-232,0 0-1289,0 0-1375,0 0-1921</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7"/>
    </inkml:context>
    <inkml:brush xml:id="br0">
      <inkml:brushProperty name="width" value="0.05292" units="cm"/>
      <inkml:brushProperty name="height" value="0.05292" units="cm"/>
      <inkml:brushProperty name="color" value="#E71224"/>
    </inkml:brush>
  </inkml:definitions>
  <inkml:trace contextRef="#ctx0" brushRef="#br0">0 0 10178,'98'149'1194,"-73"-107"-796,-20-24-199,-1-4-48,42 148 2511,-44-220-1750,-2-101-2143,0 157 1173,0 0-1,0 0 1,0 0 0,0 0 0,1 0-1,-1 0 1,1 0 0,-1 1-1,1-1 1,0 0 0,-1 0 0,1 1-1,0-1 1,0 0 0,0 1-1,0-1 1,1 1 0,-1 0-1,0-1 1,1 1 0,-1 0 0,1-1-1,-1 1 1,1 0 0,-1 0-1,1 1 1,0-1 0,2-1 0,3 0-1092,0 1 1,0-1 0,0 1-1,0 0 1,0 1 0,8 0 0,-7 0-3251</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8"/>
    </inkml:context>
    <inkml:brush xml:id="br0">
      <inkml:brushProperty name="width" value="0.05292" units="cm"/>
      <inkml:brushProperty name="height" value="0.05292" units="cm"/>
      <inkml:brushProperty name="color" value="#E71224"/>
    </inkml:brush>
  </inkml:definitions>
  <inkml:trace contextRef="#ctx0" brushRef="#br0">21 377 7922,'0'0'1079,"0"0"-333,0 0 96,0 0-155,0 0-311,0 0-156,13-10-47,36-32-43,-47 40-104,-1 1 0,1-1 0,-1 0 1,0 0-1,1 0 0,-1 0 1,0 0-1,0 0 0,-1 0 0,1 0 1,0-1-1,-1 1 0,1 0 1,-1 0-1,0-1 0,0 1 0,0 0 1,0-1-1,0 1 0,0 0 1,-1-4-1,0-5 202,1 10-207,-1 1 0,1-1 0,0 0 0,0 0 0,-1 0 0,1 0 0,0 0 0,-1 1 0,1-1 0,-1 0 0,1 0 0,-1 1 0,1-1 0,-1 0 0,0 1 0,1-1 0,-1 1 0,0-1 0,0 0 0,1 1 0,-1 0 0,0-1 0,0 1 0,0-1 0,1 1 0,-1 0 0,0 0 0,0 0 0,0-1 0,0 1 0,-1 0 0,0 0-3,0 0-1,0 0 1,0 0 0,0 0-1,0 0 1,0 0-1,-1 0 1,1 1 0,0-1-1,1 1 1,-1-1 0,0 1-1,0 0 1,-3 1 0,2 2-21,0-1 0,-1 1 1,1-1-1,0 1 1,1 0-1,-1 0 0,1 0 1,0 0-1,0 1 1,0-1-1,1 1 0,-1-1 1,1 1-1,-1 7 1,-1 7-44,1-1 0,1 26 1,1-40 39,-1 0 0,1 0 0,1 0 0,-1 0 0,1 1 1,0-1-1,-1 0 0,2 0 0,-1 0 0,0-1 0,1 1 1,0 0-1,0 0 0,0-1 0,0 1 0,1-1 0,-1 0 0,1 0 1,0 0-1,0 0 0,0 0 0,0 0 0,0-1 0,1 0 1,-1 1-1,1-1 0,0-1 0,6 4 0,4-1 16,-1 0-1,1-1 0,0-1 1,0 0-1,0 0 0,0-2 1,20 0-1,-19 0 11,-10 0-11,-1-1-1,0 1 1,1-1 0,-1 0 0,0 0-1,0 0 1,0 0 0,0-1 0,0 0 0,0 0-1,0 0 1,0 0 0,-1-1 0,1 1-1,-1-1 1,0 0 0,1 0 0,-1 0-1,-1 0 1,1 0 0,0-1 0,-1 0-1,0 1 1,3-6 0,-1-1 12,0 1-1,0-2 1,-1 1 0,0 0 0,-1-1-1,0 1 1,-1-1 0,1-19-1,-2 30-25,0 0 0,0 0-1,0-1 1,0 1-1,0 0 1,0-1 0,0 1-1,0 0 1,0-1 0,0 1-1,0 0 1,0-1-1,-1 1 1,1 0 0,0 0-1,0-1 1,0 1 0,0 0-1,-1 0 1,1-1-1,0 1 1,0 0 0,0 0-1,-1-1 1,1 1-1,0 0 1,0 0 0,-1 0-1,1 0 1,0-1 0,0 1-1,-1 0 1,-11 3-210,-10 12-154,16-7 307,-1 0 0,2 0 1,-1 0-1,-6 15 0,10-19 145,0 0 0,0 0 1,1 0-1,-1 0 0,1 1 0,0-1 0,0 0 0,1 1 0,-1-1 1,1 1-1,0-1 0,1 8 0,0-12-79,-1 1 0,1-1 0,0 1 0,-1-1 1,1 0-1,0 1 0,0-1 0,0 0 0,-1 1 0,1-1 0,0 0 0,0 0 0,0 0 1,-1 0-1,1 0 0,0 0 0,0 0 0,0 0 0,0 0 0,-1 0 0,1-1 0,0 1 1,1-1-1,-1 1 0,3-1-6,1-1 0,-1 0 1,0 0-1,0 0 0,0 0 0,0 0 1,0-1-1,-1 0 0,1 0 1,-1 0-1,0 0 0,0-1 0,0 1 1,4-7-1,7-10 38,15-32 1,-25 44-35,27-58 154,-4-1 0,-2-1-1,15-74 1,-37 133-72,-3 54 3545,1-16-3189,-2 40 382,5 143 714,-1-169-1451,2 0 0,20 80 1,-24-117-421,14 35 344,-15-40-220,1 0 0,-1 1-1,1-1 1,-1 0 0,1 0 0,-1 0 0,1 0-1,0 0 1,0 0 0,0-1 0,-1 1 0,1 0-1,0 0 1,0 0 0,0-1 0,0 1 0,0-1 0,0 1-1,1-1 1,-1 1 0,0-1 0,0 1 0,0-1-1,0 0 1,1 0 0,-1 0 0,0 1 0,0-1-1,2-1 1,0 0-5566</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99"/>
    </inkml:context>
    <inkml:brush xml:id="br0">
      <inkml:brushProperty name="width" value="0.05292" units="cm"/>
      <inkml:brushProperty name="height" value="0.05292" units="cm"/>
      <inkml:brushProperty name="color" value="#E71224"/>
    </inkml:brush>
  </inkml:definitions>
  <inkml:trace contextRef="#ctx0" brushRef="#br0">0 155 13139,'0'0'768,"0"0"-747,0 0-107,10 17 27,2 3 51,-3-4 8,1 0-1,1 0 0,0-1 1,18 17-1,-1-1 294,-2 1 1,-1 1-1,-2 1 0,-2 1 0,-1 1 1,16 43-1,-9-8 241,-11-27-329,2-1-1,30 52 1,-41-87-202,-6-7-2,0 0-1,0 0 1,0 0-1,0 0 0,-1 1 1,1-1-1,0 0 1,-1 0-1,1 1 1,0 1-1,-1-3 21,0-2 90,-1-9-37,-1 0 0,0 0 0,0 0 1,-2 0-1,1 1 0,-2-1 0,1 1 0,-8-12 0,-5-12 22,-134-291-267,139 300 140,1-1 0,2 0 0,0-1 0,3 0 0,0 0 0,2 0 0,1 0 0,2-35 0,1 58 21,0 0 0,1 0-1,0-1 1,0 1-1,1 0 1,-1 0 0,1 0-1,0 0 1,0 0-1,0 1 1,1-1 0,-1 1-1,1-1 1,0 1-1,1 0 1,-1 0 0,0 0-1,5-3 1,-3 3-13,0 0 0,1 0-1,-1 0 1,1 1 0,0-1 0,0 1 0,0 0 0,0 1 0,0 0-1,1-1 1,-1 2 0,0-1 0,8 1 0,-7-1 20,0 2-1,1-1 1,-1 1 0,0 0-1,0 0 1,0 1 0,0 0 0,0 0-1,-1 0 1,1 1 0,-1 0-1,1 0 1,-1 1 0,0-1-1,0 1 1,-1 0 0,0 0-1,1 1 1,-1 0 0,5 6 0,-5-6 36,0 1 0,-1 0 0,1 0 0,-2 0 0,1 0 0,-1 1 0,0-1 0,0 1 1,-1 0-1,0 0 0,0-1 0,-1 1 0,0 0 0,0 0 0,-1 0 0,0 8 0,-1-13-7,1-1 0,0 1 0,0-1-1,0 0 1,-1 1 0,1-1-1,-1 1 1,1-1 0,-1 0 0,0 0-1,0 1 1,0-1 0,1 0-1,-1 0 1,0 0 0,-1 0 0,1 0-1,-2 2 1,0-1 2,-1 0-1,1 0 1,-1 0-1,0 0 1,0 0 0,-7 1-1,-4 1-46,0-1-1,-30 3 0,-97-3-1432,97-4-1085,44 1 526,2 1-1916,3-1 2232,-1-1 273,10 1-2787</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00"/>
    </inkml:context>
    <inkml:brush xml:id="br0">
      <inkml:brushProperty name="width" value="0.05292" units="cm"/>
      <inkml:brushProperty name="height" value="0.05292" units="cm"/>
      <inkml:brushProperty name="color" value="#E71224"/>
    </inkml:brush>
  </inkml:definitions>
  <inkml:trace contextRef="#ctx0" brushRef="#br0">0 5 3881,'0'0'5352,"0"0"-3859,0 0-1502,0 0-171,0 0 89,16-1 73,123-3 370,-133 5-274,0-1 0,-1 1 0,1 0 1,0 0-1,0 1 0,-1-1 0,1 1 0,-1 0 1,1 1-1,-1-1 0,0 1 0,0 0 0,-1 0 1,1 0-1,0 0 0,-1 1 0,0 0 1,0 0-1,0 0 0,-1 0 0,5 7 0,0 2 105,1 0 0,-2 1 1,0 1-1,-1-1 0,-1 1 0,4 16 0,-9-31-158,0 0 1,0 1 0,0-1-1,0 0 1,0 1 0,0-1-1,0 0 1,0 0 0,0 1 0,0-1-1,0 0 1,0 1 0,0-1-1,0 0 1,0 1 0,0-1-1,-1 0 1,1 0 0,0 1-1,0-1 1,0 0 0,-1 0 0,1 0-1,0 1 1,0-1 0,-1 0-1,1 0 1,0 0 0,-1 1-1,1-1 1,-1 0 0,-15 3 50,-20-5-496,35 2 422,-49-7-330,28 3 332,-1 2 1,-24-1-1,31 2-16,12 1-3,0 0 0,0 0 0,-1 0 0,1 0-1,0 1 1,-5 0 0,7 0 5,1-1 1,0 1-1,0-1 0,0 1 1,0-1-1,0 1 0,0 0 0,0 0 1,0-1-1,0 1 0,0 0 1,0 0-1,0 0 0,1 0 1,-1 0-1,0 0 0,1 0 1,-1 0-1,1 0 0,-1 0 1,1 0-1,0 0 0,-1 0 1,1 2-1,-2 6 12,0-1 0,1 1 1,0 0-1,1 0 0,0-1 0,0 1 1,3 12-1,-2-19 6,0 1-1,0 0 1,0-1 0,0 1-1,1 0 1,-1-1 0,1 0 0,0 1-1,0-1 1,0 0 0,0 0 0,0 0-1,0 0 1,1 0 0,-1 0 0,1 0-1,-1-1 1,1 1 0,0-1-1,0 0 1,0 0 0,-1 0 0,2 0-1,-1 0 1,0 0 0,5 0 0,-2 0-10,-1 0 0,1 0 0,-1 0 0,1-1 0,0 0 0,-1 0 0,1 0 0,0-1 0,-1 0 0,1 0 0,-1 0 0,1 0 0,-1-1 0,0 0 0,0 1 0,1-2 0,-1 1 0,-1-1 0,1 1 0,0-1 0,-1 0 0,0-1 0,5-3 0,-2-1-90,0 0 1,-1-1-1,0 1 0,-1-1 1,0 0-1,0 0 1,-1-1-1,3-13 1,-5 15-1550,0 0 1,-1-1-1,0-10 1,-1 18-3196</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01"/>
    </inkml:context>
    <inkml:brush xml:id="br0">
      <inkml:brushProperty name="width" value="0.05292" units="cm"/>
      <inkml:brushProperty name="height" value="0.05292" units="cm"/>
      <inkml:brushProperty name="color" value="#E71224"/>
    </inkml:brush>
  </inkml:definitions>
  <inkml:trace contextRef="#ctx0" brushRef="#br0">0 0 6465,'0'0'1703,"0"0"-1128,0 0-293,0 0 446,0 0 87,19 22-238,60 69-116,-66-76-132,-1 1 0,-1 1 0,0 0 0,8 19 0,5 9 1026,-24-45-1319,0 0 1,0 0-1,0 0 0,1-1 1,-1 1-1,0 0 1,0 0-1,0 0 1,0 0-1,0 0 0,0 0 1,0 0-1,0 0 1,0 0-1,0 0 1,0 0-1,0 0 0,0 0 1,0 0-1,0 0 1,0 0-1,0 0 0,1 0 1,-1 0-1,0 0 1,0 0-1,0 0 1,0 0-1,0 0 0,0 0 1,0 0-1,0 0 1,0 0-1,0 0 0,0 0 1,0 0-1,0 0 1,0 0-1,1 0 1,-4-11 304,-6-18-404,6 22 42,-34-80-131,32 74 115,2 0 0,0-1-1,0 1 1,0-26 0,3 38 12,0 0-1,-1 0 1,1-1-1,1 1 1,-1 0-1,0 0 1,0 0-1,0 0 1,1 0-1,-1 0 1,0 0-1,1 0 1,-1 0-1,1 0 1,-1 0 0,1 0-1,0 0 1,0 0-1,-1 0 1,1 0-1,0 0 1,2-1-1,-1 1-137,1 0 0,0 1 0,0-1-1,-1 1 1,1-1 0,0 1 0,0 0 0,0 0-1,4 0 1,-3 0-74,3-1-267,0 1-1,-1 0 1,1 0-1,0 1 0,-1 0 1,1 0-1,-1 0 1,1 1-1,-1 0 0,0 0 1,8 3-1,8 7-2010,-4 1-642</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02"/>
    </inkml:context>
    <inkml:brush xml:id="br0">
      <inkml:brushProperty name="width" value="0.05292" units="cm"/>
      <inkml:brushProperty name="height" value="0.05292" units="cm"/>
      <inkml:brushProperty name="color" value="#E71224"/>
    </inkml:brush>
  </inkml:definitions>
  <inkml:trace contextRef="#ctx0" brushRef="#br0">0 0 2817,'0'0'4231,"0"0"-2845,0 0-958,0 0 197,0 0-155,0 0-199,11 2-18,-4 0-124,1-1-1,0 1 1,-1 0 0,1 1-1,-1 0 1,0 0 0,0 0-1,0 1 1,11 7 0,-2 3 441,-2 1 1,1 0-1,14 21 1,-6-7-394,-20-27-157,-3-1 47,0-1 43,0 0 32,0 0 12,0 0-13,-2-1-136,1 0 0,-1 1 1,0-1-1,0 1 1,0-1-1,0 1 1,0 0-1,0 0 1,-2 0-1,-3-1-30,-45-3-131,49 3 154,0 1 0,0 0 1,0 0-1,0 1 0,0-1 0,0 1 0,0-1 0,0 1 0,1 0 0,-1 0 0,0 0 0,0 0 1,1 0-1,-6 4 0,6-3 6,-1 1-1,0 0 1,0-1 0,1 1 0,0 0 0,0 1 0,0-1-1,0 0 1,0 0 0,-1 5 0,2-1 2,-1 1-1,2-1 1,-1 0 0,1 9-1,1-16-6,-1 1-1,1 0 0,0 0 0,0 0 0,-1-1 0,1 1 0,0 0 1,0-1-1,0 1 0,0 0 0,0-1 0,0 1 0,0-1 0,0 0 0,0 1 1,1-1-1,-1 0 0,0 1 0,0-1 0,0 0 0,0 0 0,1 0 0,-1 0 1,0 0-1,2 0 0,1 0-4,1 0 1,-1 0-1,0 0 0,0 0 1,0-1-1,0 0 1,5-1-1,-6 1-184,0-1 0,0 0 0,0 0 0,-1 0 0,1 0 0,-1 0 0,1-1 0,-1 1 0,0-1 0,0 1 0,-1-1 0,1 0 0,0 1 0,1-6 0,-1 2-531,0 0-1,0 0 1,0 0 0,-1 0 0,0 0-1,0-8 1,-1 13-4831</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03"/>
    </inkml:context>
    <inkml:brush xml:id="br0">
      <inkml:brushProperty name="width" value="0.05292" units="cm"/>
      <inkml:brushProperty name="height" value="0.05292" units="cm"/>
      <inkml:brushProperty name="color" value="#E71224"/>
    </inkml:brush>
  </inkml:definitions>
  <inkml:trace contextRef="#ctx0" brushRef="#br0">58 289 3633,'0'0'4746,"0"0"-3374,0 0-986,0 0 179,6 23 151,20 70-287,-25-86-400,1-1 1,0 1-1,0-1 1,1 0-1,0 0 1,0 0-1,5 6 1,-1-1 132,-6-10 76,-1-1 268,0-3 375,-2-16-674,-1 0-1,-1 0 1,-1 0 0,-1 1 0,-13-28 0,-2-9-172,12 31-51,-3-8-28,2 0 0,1-1 1,2 1-1,-5-59 0,12 82-11,1-6 2,-1 15 51,0 0-1,0-1 1,1 1-1,-1-1 1,0 1-1,1 0 1,-1-1-1,0 1 1,1 0-1,-1-1 0,0 1 1,1 0-1,-1 0 1,1-1-1,-1 1 1,1 0-1,-1 0 1,1 0-1,-1-1 1,1 1-1,-1 0 1,1 0-1,-1 0 1,1 0-1,-1 0 0,1 0 1,-1 0-1,1 0 1,4 0-5,0-1 1,-1 1-1,1 0 1,0 1-1,-1-1 1,1 1-1,-1 0 1,1 0-1,-1 0 1,1 0-1,-1 1 1,0-1-1,0 1 1,0 0 0,0 0-1,0 0 1,0 1-1,-1-1 1,1 1-1,-1 0 1,5 4-1,-3-2 35,0 0-1,-1 1 1,0-1-1,0 1 1,0 0-1,-1 0 1,0 0-1,0 0 1,-1 0-1,1 0 1,-2 1 0,1-1-1,-1 1 1,0-1-1,0 1 1,-1 10-1,0-16-15,-1 0 1,1 0-1,0 1 0,0-1 0,0 0 1,-1 0-1,1 0 0,-1 0 0,1 0 0,-1 0 1,1 0-1,-1 0 0,0 0 0,1 0 1,-1 0-1,0 0 0,0 0 0,0 0 0,-2 1 1,1-1-20,-1 1 0,0-1 0,0 0 0,0 1 0,0-1 0,0 0 0,-6 1 0,-3 0-398,-1-1 1,0 0 0,-14-1 0,24 0 201,-9 1-602,8-1 191,1 1-1,0-1 1,-1 0 0,1 0-1,0-1 1,0 1 0,-7-2-1,6-2-2504</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3"/>
    </inkml:context>
    <inkml:brush xml:id="br0">
      <inkml:brushProperty name="width" value="0.07938" units="cm"/>
      <inkml:brushProperty name="height" value="0.07938" units="cm"/>
      <inkml:brushProperty name="color" value="#E71224"/>
    </inkml:brush>
  </inkml:definitions>
  <inkml:trace contextRef="#ctx0" brushRef="#br0">148 0 7330,'0'0'4541,"0"0"-2844,0 0-847,0 0-439,0 0-291,-18 1-199,-54 2-48,69-2 117,1-1-1,-1 1 0,1 0 1,0 0-1,0 0 1,-1 0-1,1 0 1,0 1-1,0-1 1,0 1-1,0-1 0,0 1 1,1-1-1,-1 1 1,0 0-1,1 0 1,0 0-1,-1 0 1,1 0-1,0 0 1,0 0-1,0 0 0,0 0 1,1 0-1,-1 0 1,1 1-1,-1-1 1,1 0-1,0 0 1,0 1-1,0-1 0,0 0 1,0 0-1,1 1 1,0 1 10,0-2-8,0-1 0,0 0 1,0 1-1,0-1 0,0 0 1,1 1-1,-1-1 0,1 0 1,-1 0-1,1 0 0,-1 0 1,1 0-1,-1 0 0,1-1 1,0 1-1,1 0 8,38 14-3,-22-9 6,-5 0 23,-1-1 0,0 2 0,0-1-1,-1 2 1,0 0 0,0 0 0,-1 0 0,5 6-26,-11-8 81,0-1 0,0 1-1,-1 0 1,1 0 0,-2 1 0,1-1 0,-1 1 0,0-1-1,0 1 1,-1 0 0,0 0 0,-1 0 0,1 0 0,-2 1 0,1-1-1,-1 3-80,0-2 180,0 0-1,0 0 0,-1 1 1,-1-1-1,1 0 0,-1 0 0,-1 0 1,0 0-1,-3 5-179,2-7 82,0 0 0,0-1-1,-1 1 1,0-1 0,0 0 0,0 0 0,-1-1-1,0 1 1,0-1 0,0 0 0,-1-1 0,-1 2-82,-4 1 19,0-1 0,0 0 0,-1 0 0,1-1 0,-1-1 0,-6 2-19,5-3-2068,1 0 1,-1-1 0,-13 0 2067,14-1-6970</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04"/>
    </inkml:context>
    <inkml:brush xml:id="br0">
      <inkml:brushProperty name="width" value="0.05292" units="cm"/>
      <inkml:brushProperty name="height" value="0.05292" units="cm"/>
      <inkml:brushProperty name="color" value="#E71224"/>
    </inkml:brush>
  </inkml:definitions>
  <inkml:trace contextRef="#ctx0" brushRef="#br0">40 335 6953,'0'0'1227,"0"0"-274,0 0 254,0 0-131,0 0-292,22-24-379,67-76-237,-84 93-150,0 1-1,0 0 0,-1-1 0,7-13 1,-10 17 1,-1 0 0,1 0 1,0 0-1,-1 0 0,0-1 0,0 1 1,0-4-1,-1-4 59,2 1-41,-2 0-1,1 0 1,-1 1 0,-1-1-1,0 0 1,-4-11 0,5 18 9,-1 0 0,1 1 1,-1-1-1,1 1 0,-1-1 0,0 1 1,0 0-1,0 0 0,-1 0 1,1 0-1,0 0 0,-1 0 1,0 0-1,1 1 0,-1-1 1,0 1-1,0 0 0,0-1 1,0 1-1,0 1 0,0-1 1,0 0-1,0 1 0,-1-1 0,1 1 1,-4 0-1,5-1-24,-1 1 0,1 0 0,-1-1-1,1 1 1,0 0 0,-1 1 0,1-1 0,-1 0 0,1 0-1,0 1 1,-1 0 0,1-1 0,0 1 0,0 0 0,-1 0-1,1 0 1,0 0 0,0 0 0,0 0 0,0 1 0,0-1-1,1 1 1,-1-1 0,0 1 0,1-1 0,-1 1 0,1 0-1,0 0 1,0 0 0,0-1 0,0 1 0,0 0 0,0 0-1,-1 3 1,-5 14-10,1 1 0,0 0-1,2 0 1,-3 30 0,3 84 248,5-113-191,-1 166 814,-1-185-884,1-1-1,0 0 1,0 1-1,0-1 1,0 0-1,1 0 1,-1 1-1,0-1 1,1 0-1,-1 1 1,1-1-1,-1 0 1,1 0-1,1 2 1,-1-3-9,-1 1 0,1-1-1,0 0 1,-1 0 0,1 0 0,0 0 0,-1 0 0,1 0 0,0 0 0,0 0 0,-1-1 0,1 1 0,0 0-1,-1 0 1,1 0 0,0-1 0,-1 1 0,1 0 0,-1-1 0,1 1 0,0 0 0,-1-1 0,1 1 0,-1-1-1,1 1 1,-1-1 0,0 1 0,1-1 0,-1 1 0,1-1 0,-1 0 0,6-5 2,-1 1 0,1 0-1,0 0 1,0 1 0,0-1 0,1 1 0,-1 0 0,1 1 0,1-1 0,-1 1-1,0 1 1,1-1 0,0 1 0,-1 0 0,1 0 0,0 1 0,0 0-1,0 1 1,0-1 0,10 2 0,-16-1 16,0 0 0,0 1 0,0 0 0,0-1 0,0 1 0,0 0 0,-1 0-1,1 0 1,0 0 0,0 0 0,-1 0 0,1 1 0,-1-1 0,1 1 0,-1-1 0,1 0 0,-1 1 0,0 0 0,0-1 0,0 1-1,0 0 1,0-1 0,0 1 0,0 3 0,3 6 74,-1 0 0,3 21-1,-5-25-42,0 24 745,-1-19-2815,1-6-6036,-6-17 3214</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05"/>
    </inkml:context>
    <inkml:brush xml:id="br0">
      <inkml:brushProperty name="width" value="0.05292" units="cm"/>
      <inkml:brushProperty name="height" value="0.05292" units="cm"/>
      <inkml:brushProperty name="color" value="#E71224"/>
    </inkml:brush>
  </inkml:definitions>
  <inkml:trace contextRef="#ctx0" brushRef="#br0">1 61 6129,'0'0'2194,"0"0"-1076,0 0-391,0 0-77,0 0 152,0 0-114,18 17-1,58 51-95,-67-60-397,-1 0 0,0 1 0,-1-1 0,0 1 0,0 1 0,5 10 0,-1-1 275,-3-8 185,-8-19-85,-2-5-680,-1-1 58,-1 0 0,0 1 0,-1-1 0,-13-24-1,12 27-21,1 0 1,-1-1-1,2 0 0,0 0 0,1 0 0,0 0 0,-1-18 0,4 29 35,0 0 1,0 0-1,0 0 1,0 0-1,0 0 1,0 0-1,0 0 1,0 0-1,0 0 1,1 0-1,-1 0 1,0 1-1,1-1 1,-1 0-1,1 0 1,-1 0-1,1 0 1,0-1-1,1 2-74,-1-1 1,1 1-1,-1 0 1,1-1-1,-1 1 0,1 0 1,0 0-1,-1 0 1,1 0-1,-1 0 0,3 0 1,-2 0 1,13 0-835,-5-1-91,-1 1 0,0 0 0,0 1 0,0 0 0,0 0 0,14 4 0,-4 2-3561</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06"/>
    </inkml:context>
    <inkml:brush xml:id="br0">
      <inkml:brushProperty name="width" value="0.05292" units="cm"/>
      <inkml:brushProperty name="height" value="0.05292" units="cm"/>
      <inkml:brushProperty name="color" value="#E71224"/>
    </inkml:brush>
  </inkml:definitions>
  <inkml:trace contextRef="#ctx0" brushRef="#br0">20 0 1792,'0'0'3931,"0"0"-2410,0 0-465,0 0-147,0 0-40,0 0-190,19 6-164,60 20-43,-74-25-292,-1 0-1,1 1 1,0-1-1,-1 1 1,0 0 0,0 0-1,1 0 1,6 6 0,-8-5 247,-2-3-115,-1 0 46,0 0 17,-11 0-78,-32-3-666,31 2 305,0 0 0,0 0 0,1 1 1,-19 2-1,28-1 71,0-1 0,0 1-1,0-1 1,1 1 0,-1 0 0,0 0 0,0 0 0,1 0 0,-1 0 0,1 0 0,-1 0 0,1 1 0,0-1-1,-1 0 1,1 1 0,0-1 0,0 1 0,0-1 0,0 1 0,0 0 0,1-1 0,-1 1 0,0 0-1,1-1 1,0 1 0,-1 3 0,-1 6 44,1-1 0,0 1 0,2 14-1,-1-11-7,0-12-39,0 0 1,0-1-1,0 1 0,0 0 1,1 0-1,-1 0 1,0 0-1,1 0 0,-1-1 1,1 1-1,0 0 1,0 0-1,0-1 1,0 1-1,0-1 0,0 1 1,0-1-1,2 2 1,0-1-2,-1-1 1,0 0 0,1 0 0,0 0 0,-1 0 0,1 0-1,0-1 1,-1 1 0,1-1 0,0 1 0,0-1 0,-1 0-1,7 0 1,-4-1-186,0 1 0,0-1 0,0 0-1,0 0 1,-1-1 0,1 1 0,0-1-1,0 0 1,-1 0 0,0 0 0,1-1 0,-1 1-1,0-1 1,0 0 0,-1 0 0,1 0-1,-1 0 1,1-1 0,-1 1 0,0-1 0,4-8-1,-2 4-417,0 0 0,0-1 0,-1 1 0,-1-1 0,0 0 0,0 0-1,-1 0 1,0-1 0,0-14 0,-2 10-4057</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07"/>
    </inkml:context>
    <inkml:brush xml:id="br0">
      <inkml:brushProperty name="width" value="0.05292" units="cm"/>
      <inkml:brushProperty name="height" value="0.05292" units="cm"/>
      <inkml:brushProperty name="color" value="#E71224"/>
    </inkml:brush>
  </inkml:definitions>
  <inkml:trace contextRef="#ctx0" brushRef="#br0">110 11 7666,'0'0'3334,"0"0"-2293,0 0-661,0 0 176,0 0-199,-2-2-377,2 1 9,-1 0 0,1 1 0,-1-1 1,1 0-1,-1 1 0,1-1 0,-1 1 1,0-1-1,1 1 0,-1 0 0,0-1 1,0 1-1,1 0 0,-1-1 0,0 1 1,0 0-1,0 0 0,0-1 0,1 1 1,-1 0-1,0 0 0,0 0 0,0 0 1,0 0-1,1 0 0,-3 0 0,2 1 9,-1 0 0,0-1 0,1 1 0,-1 0-1,1 0 1,-1 0 0,1 0 0,0 0 0,-1 0-1,1 0 1,0 0 0,0 0 0,0 1 0,0-1-1,-1 2 1,0-1 10,0 1-1,1-1 0,-1 1 1,1 0-1,0 0 1,0-1-1,0 1 0,0 0 1,1 0-1,-1 0 1,1 0-1,0 0 0,0 0 1,0 0-1,0 0 1,1 0-1,-1 0 1,1 0-1,0-1 0,0 1 1,0 0-1,0 0 1,1-1-1,-1 1 0,1 0 1,0-1-1,-1 1 1,1-1-1,1 0 1,-1 0-1,0 0 0,1 0 1,2 2-1,13 10 216,-7-6 47,0 1 0,-1 0 0,0 0 0,0 0 0,14 20 0,-23-26-144,0 0 0,1 0 0,-2 0 0,1 0 0,0 0 0,-1 0 0,1 0 0,-1 0 0,0 0 0,0 4 0,-1 0 194,1-7-302,0 1-1,-1 0 1,1 0 0,-1 0-1,1 0 1,-1 0 0,1 0-1,-1-1 1,0 1 0,1 0-1,-1 0 1,0-1 0,0 1-1,0 0 1,0-1 0,0 1-1,0-1 1,1 1 0,-1-1-1,-1 1 1,1-1 0,0 0-1,0 0 1,0 1 0,0-1 0,-2 0-1,-35 5-156,32-4 98,-85 1-2601,71-2 630,20 0 1942,0 0 1,0 0-1,0 0 1,0 0-1,0 0 1,-1 0-1,1 0 1,0 0-1,0 0 1,0 0-1,0 0 1,0 0-1,-1 0 1,1 0-1,0 0 0,0 0 1,0 0-1,0 0 1,0 0-1,-1 0 1,1 0-1,0 0 1,0 0-1,0 0 1,0 0-1,0 0 1,0 0-1,-1-1 1,1 1-1,0 0 0,0 0 1,0 0-1,0 0 1,0 0-1,0 0 1,0 0-1,0-1 1,0 1-1,0 0 1,0 0-1,0 0 1,0 0-1,0 0 0,0 0 1,0-1-1,0 1 1,0 0-1,0 0 1,0 0-1,0 0 1,0 0-1,0-1 1,0 0-783,0-6-3618</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08"/>
    </inkml:context>
    <inkml:brush xml:id="br0">
      <inkml:brushProperty name="width" value="0.05292" units="cm"/>
      <inkml:brushProperty name="height" value="0.05292" units="cm"/>
      <inkml:brushProperty name="color" value="#E71224"/>
    </inkml:brush>
  </inkml:definitions>
  <inkml:trace contextRef="#ctx0" brushRef="#br0">0 245 7562,'0'0'2928,"0"0"-1744,0 0 177,0 0-161,0 0-720,0 0-480,0 0-56,25 123-736,-22-123-712,-3 0-929,0-10-608,0-9-2168</inkml:trace>
  <inkml:trace contextRef="#ctx0" brushRef="#br0" timeOffset="1">31 0 10594,'0'0'1857,"0"0"-1449,0 0-248,0 0-160,0 0-1465,0 0-1447,0 0-1233</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10"/>
    </inkml:context>
    <inkml:brush xml:id="br0">
      <inkml:brushProperty name="width" value="0.05292" units="cm"/>
      <inkml:brushProperty name="height" value="0.05292" units="cm"/>
      <inkml:brushProperty name="color" value="#E71224"/>
    </inkml:brush>
  </inkml:definitions>
  <inkml:trace contextRef="#ctx0" brushRef="#br0">0 7 7602,'24'71'4616,"7"-5"-3558,-12-146-766,-15 65-304,-3 8 2,0 1 0,1-1 0,0 1 1,6-11-1,-8 17 14,0-1 1,0 1-1,0 0 1,0 0-1,0-1 1,0 1-1,1 0 1,-1 0-1,0-1 1,0 1-1,0 0 1,0 0-1,0 0 0,1-1 1,-1 1-1,0 0 1,0 0-1,0 0 1,0 0-1,1-1 1,-1 1-1,0 0 1,0 0-1,1 0 1,-1 0-1,0 0 1,0 0-1,1 0 1,-1-1-1,0 1 1,0 0-1,1 0 0,-1 0 1,0 0-1,1 0 1,-1 0-1,0 0 1,0 0-1,1 0 1,-1 0-1,0 1 1,0-1-1,1 0 1,-1 0-1,0 0 1,0 0-1,1 0 1,-1 0-1,0 0 0,0 0 1,1 1-1,-1-1 1,0 0-1,0 0 1,0 0-1,1 1 1,-1-1-1,0 0 1,0 0-1,0 0 1,0 1-1,0-1 1,0 0-1,1 0 1,-1 1-1,7 19 446,-6-15-375,10 25 32,-3-8-488,0 0 0,20 36 0,-27-57 183,0 1 1,1 0-1,-1-1 1,0 1-1,0-1 1,1 0-1,-1 1 0,1-1 1,0 0-1,-1 0 1,1 1-1,0-1 1,0 0-1,0-1 1,0 1-1,3 1 0,0-1-681,1 0 0,-1-1 0,1 1 0,10-1-1,-6 0-430,12 0-2908</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11"/>
    </inkml:context>
    <inkml:brush xml:id="br0">
      <inkml:brushProperty name="width" value="0.05292" units="cm"/>
      <inkml:brushProperty name="height" value="0.05292" units="cm"/>
      <inkml:brushProperty name="color" value="#E71224"/>
    </inkml:brush>
  </inkml:definitions>
  <inkml:trace contextRef="#ctx0" brushRef="#br0">353 128 1776,'0'0'1757,"0"0"-380,0 0-206,0 0-331,0 0-210,-3-21 10,-13-62 328,16 81-879,-1 0-1,1 0 1,-1 0-1,0-1 1,0 1-1,0 0 0,0 0 1,-2-3-1,3 5-66,0 0 0,-1 0 0,1 0-1,0 0 1,0-1 0,-1 1 0,1 0-1,0 0 1,0 0 0,-1 0-1,1 0 1,0 0 0,0 0 0,-1 0-1,1-1 1,0 1 0,-1 0 0,1 0-1,0 0 1,0 0 0,-1 0 0,1 0-1,0 1 1,-1-1 0,1 0 0,0 0-1,0 0 1,-1 0 0,-3 1 184,2-1-163,1 1 0,-1-1 0,0 1 0,0-1 0,0 1 0,1 0 1,-1 0-1,0 0 0,1-1 0,-1 1 0,1 1 0,-1-1 0,1 0 0,0 0 1,-1 0-1,1 1 0,0-1 0,0 1 0,0-1 0,0 0 0,0 1 1,1 0-1,-1-1 0,0 1 0,1-1 0,-1 3 0,-3 7 31,1 0-1,-2 18 1,5-27-28,-3 18 317,-1 35 1,5-48-320,-1 1 1,1-1-1,0 0 0,0 0 0,1 0 0,1 0 1,-1 0-1,5 9 0,-1-6 59,0 0-1,-1 0 1,0 1-1,-1 0 1,0-1 0,-1 2-1,-1-1 1,0 0-1,1 21 1,-3-25 16,1 0-1,-2 1 1,1-1 0,-1 0 0,0 0 0,-1 0-1,0 0 1,0 0 0,-1 0 0,-5 11 0,-7 4 139,0-1 1,-2-1-1,-28 29 1,32-38-221,0 1 0,0-1 1,-2-1-1,1-1 0,-2 1 0,-23 10 0,34-19-35,1 1 0,-1-1 0,0 1 0,0-1 0,0 0 0,0-1 0,0 1 0,0-1 0,0 0 0,0 0 0,-5-1 0,9 1-3,0 0-1,0 0 1,1-1 0,-1 1-1,0 0 1,0-1-1,0 1 1,1 0 0,-1-1-1,0 1 1,0-1-1,1 1 1,-1-1-1,0 1 1,1-1 0,-1 1-1,1-1 1,-1 0-1,1 1 1,-1-1 0,1 0-1,0 1 1,-1-1-1,1 0 1,0 0-1,-1 1 1,1-1 0,0-1-1,-2-27-80,2 22 44,1-2 13,0-1 0,1 1 1,0-1-1,0 1 1,2 0-1,-1-1 0,1 1 1,0 1-1,1-1 1,0 1-1,11-13 1,8-8-57,50-46 1,-53 55 27,6-5-225,-5 5-222,28-32 0,-45 45-117,0 0 0,-1 1 0,1-1 0,-1-1 1,-1 1-1,1 0 0,-2-1 0,1 0 0,2-13 1,-4 0-4249</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612"/>
    </inkml:context>
    <inkml:brush xml:id="br0">
      <inkml:brushProperty name="width" value="0.05292" units="cm"/>
      <inkml:brushProperty name="height" value="0.05292" units="cm"/>
      <inkml:brushProperty name="color" value="#E71224"/>
    </inkml:brush>
  </inkml:definitions>
  <inkml:trace contextRef="#ctx0" brushRef="#br0">0 1 3473,'0'0'3411,"0"0"-2359,0 0-845,0 0-88,0 0 67,0 0 40,13 0 166,97 0 2842,-108 0-3174,1 0-1,0 1 1,0 0 0,0-1-1,-1 1 1,1 0 0,-1 0-1,1 1 1,0-1 0,-1 0-1,0 1 1,1-1 0,-1 1 0,0 0-1,0-1 1,0 1 0,0 0-1,-1 0 1,1 0 0,0 1-1,-1-1 1,0 0 0,2 4-1,4 7 10,-1 1-1,7 25 0,-12-37-43,26 135-1825,-23-113-829,-1-6-1191</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613"/>
    </inkml:context>
    <inkml:brush xml:id="br0">
      <inkml:brushProperty name="width" value="0.1" units="cm"/>
      <inkml:brushProperty name="height" value="0.1" units="cm"/>
      <inkml:brushProperty name="color" value="#E71224"/>
      <inkml:brushProperty name="ignorePressure" value="1"/>
    </inkml:brush>
  </inkml:definitions>
  <inkml:trace contextRef="#ctx0" brushRef="#br0">0 1,'994'0,"-965"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614"/>
    </inkml:context>
    <inkml:brush xml:id="br0">
      <inkml:brushProperty name="width" value="0.1" units="cm"/>
      <inkml:brushProperty name="height" value="0.1" units="cm"/>
      <inkml:brushProperty name="color" value="#E71224"/>
      <inkml:brushProperty name="ignorePressure" value="1"/>
    </inkml:brush>
  </inkml:definitions>
  <inkml:trace contextRef="#ctx0" brushRef="#br0">1 1,'3442'0,"-3342"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48"/>
    </inkml:context>
    <inkml:brush xml:id="br0">
      <inkml:brushProperty name="width" value="0.07938" units="cm"/>
      <inkml:brushProperty name="height" value="0.07938" units="cm"/>
      <inkml:brushProperty name="color" value="#E71224"/>
    </inkml:brush>
  </inkml:definitions>
  <inkml:trace contextRef="#ctx0" brushRef="#br0">296 110 7330,'0'0'2271,"0"0"-1495,0 0-560,0 0-59,0 0-22,0 0-42,-19-13-67,-58-39 22,74 50-19,0 0-1,0 0 1,0 1 0,0-1 0,-1 1 0,1-1-1,-1 1 1,1 0 0,-1 0 0,1 0 0,-1 1-1,1-1 1,-1 1 0,0 0 0,1 0 0,-1 0-1,0 0 1,1 0 0,-1 1 0,0-1 0,1 1-1,-1 0 1,1 0 0,-1 0 0,1 0 0,0 1-1,-1-1 1,1 1 0,0 0 0,0 0 0,0 0-1,0 0 1,-2 3-29,-3 3 0,1 0 0,0 1 0,0 0 0,1 1 0,0-1 0,1 1 1,0 0-1,0 3 0,-2 9 19,1 0 0,1 0 0,1 0 0,2 1 0,0-1 0,1 1 0,3 7-19,-2-19 29,-1-8-21,1 0 1,0 1-1,0-1 0,0 0 0,1 0 0,-1 0 0,1 0 0,0 0 0,0 0 0,0 0 1,1 0-1,-1 0 0,1 0 0,-1-1 0,1 1 0,0 0 0,0-1 0,1 1 1,0 0-9,1-1 18,0 0 0,0 0 1,0 0-1,0-1 0,0 0 1,0 0-1,0 0 0,1 0 1,-1 0-1,0-1 0,0 1 1,1-1-1,-1 0 0,1 0 1,2-1-19,-3 0 12,0 1 0,-1-1 0,1 0 0,-1 1 0,1-1 0,-1-1 0,1 1 0,-1 0 0,0-1 0,0 0 0,0 0 0,0 1 0,0-1 0,0-1 0,0 1-12,3-4 43,1-1 0,-1 1 0,0-1 0,-1 0 0,0 0 0,0-2-43,7-12 110,-1-1 0,-1-1 0,6-21-110,-5-1-831,-1 0-1,1-36 832,-7 48-427,-4 30 184,0 1 58,0 1 0,0 0 1,0 0-1,1-1 0,-1 1 1,0 0-1,0 0 0,1 0 1,-1-1-1,1 1 0,0 0 1,-1 0-1,1 0 0,0-1 185,3 1-2475</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615"/>
    </inkml:context>
    <inkml:brush xml:id="br0">
      <inkml:brushProperty name="width" value="0.1" units="cm"/>
      <inkml:brushProperty name="height" value="0.1" units="cm"/>
      <inkml:brushProperty name="color" value="#E71224"/>
      <inkml:brushProperty name="ignorePressure" value="1"/>
    </inkml:brush>
  </inkml:definitions>
  <inkml:trace contextRef="#ctx0" brushRef="#br0">1 1,'1918'0,"-1862"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49"/>
    </inkml:context>
    <inkml:brush xml:id="br0">
      <inkml:brushProperty name="width" value="0.07938" units="cm"/>
      <inkml:brushProperty name="height" value="0.07938" units="cm"/>
      <inkml:brushProperty name="color" value="#E71224"/>
    </inkml:brush>
  </inkml:definitions>
  <inkml:trace contextRef="#ctx0" brushRef="#br0">159 1006 7194,'0'0'3404,"0"0"-2450,0 0-678,0 0 248,0 0 72,0 0-305,0-29-92,1-3-100,1 5 40,-2 1 1,-1 0 0,-2-1 0,0 1-1,-2 0 1,-2 0-140,-51-143 1019,39 122-880,2-1 0,3-1 0,1 0 0,4-1 0,-1-17-139,8 43 3,1 0 0,2-1 0,0 1 0,2 0 0,2-2-3,-4 18-7,2 1 0,-1 0 0,1 0 0,0 1 0,1-1 0,0 0 0,0 1 0,1 0 0,-1 0 0,1 0 0,1 0 0,-1 1 0,1 0 0,1 0 0,-1 0 0,1 0 0,-1 1 0,5-1 7,-6 2-9,1 0-1,0 0 1,1 1 0,-1 0-1,0 0 1,1 0 0,-1 1 0,1 0-1,0 0 1,-1 0 0,1 1-1,0 0 1,-1 0 0,1 0-1,0 1 1,-1 0 0,1 0-1,5 2 10,-4 0 29,0 0-1,0 0 0,0 1 0,-1-1 1,0 1-1,0 1 0,0 0 0,0-1 1,-1 2-1,0-1 0,0 1 1,-1 0-1,1 0 0,0 2-28,2 3 60,0 1 0,-2-1-1,0 1 1,0 1 0,-1-1-1,-1 0 1,0 1 0,0 7-60,0 5 209,-1 0-1,-1 1 1,-3 21-209,1-40 42,-1-1 0,1 0 0,-2 1 0,1-1 0,-1 0 0,0 0 0,0 0-1,-1 0 1,1-1 0,-2 1 0,1 0 0,-1-1 0,0 0 0,0 0 0,0 0-1,-1 0 1,0-1 0,0 1 0,-1-1-42,-1 1 4,-1 0 0,0-1 0,-1 0 0,1 0 0,-1-1 0,0 1 0,0-2 0,0 1 0,0-1 0,0-1 0,-1 1 1,1-1-1,-10 0-4,16-1-80,-10 0-119,0 1 0,0-2 0,0 1 1,0-2-1,0 1 0,0-2 199,9 2-292,1 0-1,-1 0 1,1 0-1,-1-1 1,1 1 0,0-1-1,-1 0 1,1 0-1,0 0 1,1 0 0,-1 0-1,0-1 1,1 1-1,-1-1 1,1 0 0,0 0-1,0 1 1,0-1-1,0 0 1,1 0 0,0-1-1,-1 1 1,1 0 292,-3-16-5384</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0"/>
    </inkml:context>
    <inkml:brush xml:id="br0">
      <inkml:brushProperty name="width" value="0.07938" units="cm"/>
      <inkml:brushProperty name="height" value="0.07938" units="cm"/>
      <inkml:brushProperty name="color" value="#E71224"/>
    </inkml:brush>
  </inkml:definitions>
  <inkml:trace contextRef="#ctx0" brushRef="#br0">96 353 5753,'0'0'1862,"0"0"-954,0 0 26,0 0-83,0 0-98,0 0-286,21-24-242,63-81-11,-81 101-171,0 0 1,0 0 0,-1 0 0,1 0 0,-1 0 0,0-1-1,-1 1 1,1 0 0,-1-1 0,0 0 0,0 1 0,-1-1-1,1 1 1,-1-1 0,-1 0 0,1 1 0,0-1 0,-2-2-44,0-7 133,1 6-106,-1 0-1,1 0 0,-2 0 1,0 0-1,0 0 1,0 1-1,-1-1 0,0 1 1,-1 0-1,-1-2-26,4 6 91,0 1 0,0-1 0,0 0 0,0 1 0,0 0 0,-1 0 0,1-1 0,-1 1 0,0 0 0,1 1 0,-1-1 0,0 0 0,0 1 1,0-1-1,-1 1 0,1 0 0,0 0 0,-1 0 0,1 1 0,0-1 0,-1 1 0,1-1 0,-1 1 0,1 0 0,-1 0 0,1 0 0,-1 1 0,-1-1-91,3 1 19,0 0-1,-1 0 1,1 1-1,0-1 1,0 0-1,0 1 1,0-1-1,0 1 1,0-1-1,1 1 1,-1 0-1,0 0 1,1 0-1,0 0 1,-1 0-1,1 0 1,0 0-1,0 2-18,-17 45 115,15-37-110,-12 46 53,3 0 0,3 1 0,3 0 0,3 0 0,3 15-58,0-66 4,1 0 0,-1 1 1,2-1-1,-1 0 0,2 0 0,-1 0 1,1 0-1,0 0 0,1 0 0,1 2-4,-2-6-83,-1 0 0,1-1-1,0 1 1,0-1 0,0 1-1,1-1 1,-1 0 0,1 0-1,0-1 1,0 1 0,0-1-1,0 1 1,0-1 0,1 0-1,-1 0 1,1-1 0,-1 1-1,1-1 1,0 0 0,3 0 82,4 1-775,0-1-1,0-1 0,0 0 0,0-1 0,0 0 1,2 0 776,21-11-279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1"/>
    </inkml:context>
    <inkml:brush xml:id="br0">
      <inkml:brushProperty name="width" value="0.07938" units="cm"/>
      <inkml:brushProperty name="height" value="0.07938" units="cm"/>
      <inkml:brushProperty name="color" value="#E71224"/>
    </inkml:brush>
  </inkml:definitions>
  <inkml:trace contextRef="#ctx0" brushRef="#br0">1 48 8970,'0'0'2112,"0"0"-1189,0 0-319,5 27-37,40 184 148,-44-234-595,1 1 1,1-1-1,1 1 0,1 0 1,1 0-1,2 1 0,0 0 1,2-1-121,-7 16-14,1 1 1,-1-1-1,2 0 1,-1 1-1,1 0 1,-1 0-1,2 0 1,-1 1-1,1-1 1,-1 1-1,1 0 1,1 0-1,-1 1 0,0 0 1,1 0-1,0 0 1,0 1-1,0 0 1,0 0-1,0 0 1,1 1-1,-1 0 1,0 0-1,1 1 1,-1 0-1,1 0 1,-1 0-1,7 2 14,-10-2 59,0 1 1,0 0-1,0 0 0,0 0 1,0 0-1,-1 0 1,1 1-1,0 0 0,-1 0 1,1 0-1,-1 0 0,1 0 1,-1 0-1,2 3-59,1 1 119,0 0 1,0 0-1,-1 1 0,0 0 1,0 0-1,3 7-119,2 7 224,-2-1 0,0 2 0,-2-1 0,3 15-224,-5-8 78,-1-1-1,-1 18-77,1 9-1000,0-44-1000,0-9-2827,-3-1-2155</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2"/>
    </inkml:context>
    <inkml:brush xml:id="br0">
      <inkml:brushProperty name="width" value="0.07938" units="cm"/>
      <inkml:brushProperty name="height" value="0.07938" units="cm"/>
      <inkml:brushProperty name="color" value="#E71224"/>
    </inkml:brush>
  </inkml:definitions>
  <inkml:trace contextRef="#ctx0" brushRef="#br0">88 279 6449,'0'0'4380,"0"0"-2992,0 0-964,0 0-13,0 0 131,0 0-237,23-11-164,73-41-2,-93 51-104,0 0-1,-1-1 1,1 0-1,0 0 1,-1 1-1,1-1 1,-1-1 0,1 1-1,-1 0 1,0 0-1,0-1 1,0 1-1,-1-1 1,1 0 0,-1 1-1,1-1 1,-1 0-1,0 0 1,0 0-1,0 0 1,-1 0-1,1 0 1,-1 0 0,0 0-1,0 0 1,0 0-1,0 0 1,-1-2-35,0-9 111,2-4 28,-1 7-91,1 0 0,-2 0 0,1 0 0,-2 0 0,0-3-48,1 12 15,1 0 1,-1 0-1,0 0 1,1 0-1,-1 0 1,0 0-1,0 0 0,0 1 1,0-1-1,-1 0 1,1 0-1,-1 1 0,1-1 1,-1 1-1,1-1 1,-1 1-1,0 0 0,0 0 1,0 0-1,0 0 1,0 0-1,0 0 1,0 0-1,0 0 0,0 0 1,0 1-1,-1-1 1,1 1-1,0 0 0,-1 0-15,-2 0-1,1 0 0,-1 1-1,0-1 1,0 1 0,0 0-1,1 1 1,-1-1 0,0 1-1,1 0 1,0 0 0,-1 0-1,1 0 1,0 1 0,0-1-1,0 1 1,1 0 0,-1 0-1,1 0 1,0 1-1,0-1 1,0 1 0,-1 1 1,-10 14-48,1 0 0,1 1 0,-8 17 48,19-34 11,-7 12 73,2 0 1,0 0-1,0 0 1,2 1 0,0 0-1,1 0 1,1 0-1,1 0 1,0 0-1,1 0 1,1 0 0,2 9-85,-1-21 3,-1 0 1,1-1-1,0 1 1,0-1-1,0 1 1,0-1-1,1 0 1,-1 0-1,1 0 1,0 0-1,0 0 1,0 0-1,1-1 1,-1 1-1,1-1 1,0 0-1,-1 0 1,1 0-1,0 0 1,0-1-1,0 0 1,1 1 0,-1-1-1,0 0 1,0-1-1,1 1-3,8 1-200,1 0 0,0-1 0,-1 0 0,1-1 0,0 0 0,-1-1 0,1 0 0,4-2 200,-6 0-734,1 0 1,-1-1-1,0-1 0,-1 0 0,1 0 0,-1-1 1,0 0-1,0 0 734,28-22-6764</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5"/>
    </inkml:context>
    <inkml:brush xml:id="br0">
      <inkml:brushProperty name="width" value="0.07938" units="cm"/>
      <inkml:brushProperty name="height" value="0.07938" units="cm"/>
      <inkml:brushProperty name="color" value="#E71224"/>
    </inkml:brush>
  </inkml:definitions>
  <inkml:trace contextRef="#ctx0" brushRef="#br0">1 282 7362,'0'0'1673,"0"0"-1183,0 0-365,0 0 315,0 0 310,39-13-34,127-48-131,-96 33-105,-2-4 0,5-6-480,-29 15 174,2 2 1,45-16-175,-81 33-25,1 2 0,0 0 1,0 0-1,6 0 25,-7 1-905,0-1 0,0 1 0,0-2 0,7-1 905,-3-2-2802</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3"/>
    </inkml:context>
    <inkml:brush xml:id="br0">
      <inkml:brushProperty name="width" value="0.07938" units="cm"/>
      <inkml:brushProperty name="height" value="0.07938" units="cm"/>
      <inkml:brushProperty name="color" value="#E71224"/>
    </inkml:brush>
  </inkml:definitions>
  <inkml:trace contextRef="#ctx0" brushRef="#br0">225 748 8858,'0'0'1374,"0"0"-549,0 0-70,0 0-330,0 0-321,-18-11-154,-58-38 34,73 46 55,0 1 0,0 0 1,0 0-1,-1 1 1,1-1-1,-1 1 0,1-1 1,-1 1-1,0 0 1,0 0-1,1 0 0,-1 1 1,0-1-1,0 1 1,0 0-1,0 0 0,-3 0-39,5 1 23,-1-1-1,1 1 1,0 0-1,-1 0 1,1 0-1,0 0 1,0 1-1,0-1 1,0 0-1,0 1 1,0 0-1,0-1 1,1 1-1,-1 0 1,1 0-1,-1-1 1,1 1-1,0 0 1,-1 2-23,-3 7 2,1 0 1,1 1 0,0-1 0,0 1 0,2-1 0,-1 1 0,1 8-3,0-2-35,0-6 23,0 0 1,1 0-1,1 0 0,0 0 0,2 5 12,-3-15-4,0 0-1,1 0 1,0 0-1,-1 0 1,1 0-1,0 0 1,0 0-1,0 0 0,1 0 1,-1 0-1,0 0 1,1 0-1,-1-1 1,1 1-1,0-1 1,0 1-1,0-1 1,0 0-1,0 1 0,0-1 1,0 0-1,0 0 1,0 0-1,1 0 1,-1-1-1,0 1 1,1 0-1,-1-1 1,0 0-1,1 1 0,0-1 5,0 0-1,1 0 1,-1 0-1,1-1 0,-1 1 0,1-1 0,-1 1 0,1-1 0,-1 0 0,1 0 0,-1-1 0,0 1 0,0-1 0,0 1 0,0-1 0,0 0 0,0 0 0,0 0 0,-1 0 0,1-1 0,-1 1 0,1 0 0,-1-1 0,0 0 1,8-10 65,-2-1-1,0 1 1,0-1 0,2-9-65,-1 4 37,22-50-8,-3-1 0,-4-1 1,11-63-30,-15 28-574,-4-1 1,-4-35 573,-11 36 725,-1 105 69,4 24 257,22 175 801,-9 52-1852,1 6 794,-17-248-1001,3 32 509,2-1 0,3 11-302,-5-37-550,0 1-1,1-1 1,5 8 550,-6-14-1115,0 0-1,0 0 1,1-1 0,0 1-1,0-1 1,6 5 1115,-3-4-7402</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42"/>
    </inkml:context>
    <inkml:brush xml:id="br0">
      <inkml:brushProperty name="width" value="0.07938" units="cm"/>
      <inkml:brushProperty name="height" value="0.07938" units="cm"/>
      <inkml:brushProperty name="color" value="#E71224"/>
    </inkml:brush>
  </inkml:definitions>
  <inkml:trace contextRef="#ctx0" brushRef="#br0">0 0 8306,'0'0'4697,"0"0"-3322,0 0-1127,0 27 91,3 90 98,-2-95-378,2 0 1,1-1-1,1 1 1,1-1-1,1 0 1,3 4-60,9 28 126,5 42-576,-5 2 0,-5 0 0,1 85 450,-15-164-2779,0-13-1041,0-4-290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43"/>
    </inkml:context>
    <inkml:brush xml:id="br0">
      <inkml:brushProperty name="width" value="0.07938" units="cm"/>
      <inkml:brushProperty name="height" value="0.07938" units="cm"/>
      <inkml:brushProperty name="color" value="#E71224"/>
    </inkml:brush>
  </inkml:definitions>
  <inkml:trace contextRef="#ctx0" brushRef="#br0">0 483 6649,'0'0'2169,"0"0"-1310,0 0-168,33 0 155,0 0-595,175-8 991,-114 3-588,74-6 246,-138 7-687,-1-1 0,1-1 1,-2 0-1,15-7-213,-33 10 65,-1-1-1,0 1 1,0-2 0,-1 1-1,1-1 1,-1 0 0,0 0-1,-1-1 1,1 0 0,-1 0-1,-1-1 1,1 0 0,-1 0-1,-1 0 1,1-1 0,-1 1-1,-1-1 1,0 0 0,0-1 0,-1 1-1,0 0 1,0-1 0,-1 0-1,0 1 1,-1-1 0,0-6-65,0-3 34,2-6-37,-1 0 0,-2 0 0,-1 1 0,-1-1 1,-6-23 2,7 42-2,-1 1 1,0 0-1,0 0 1,-1 0-1,0 0 1,1 0-1,-1 1 1,-1-1-1,1 1 1,-1 0 0,-1-1 1,4 3-2,1 0 0,-1 0-1,0 1 1,0-1 0,0 0 0,0 1 0,0-1 0,-1 1 0,1-1 0,0 1 0,0-1 0,0 1 0,0 0 0,-1 0 0,1-1 0,0 1 0,0 0 0,-1 0 0,1 0 0,0 0 0,0 0 0,-1 1 0,1-1 0,0 0 0,0 0 0,0 1 0,0-1 0,-1 1 0,1-1 0,0 1 0,0-1 0,0 1 0,0-1 0,0 1 0,0 0 0,0 0 0,0-1 0,1 1 0,-1 0 0,0 0 0,0 0 0,1 0 0,-1 0 0,1 0 0,-1 0 0,1 0 0,-1 0 0,1 0 0,-1 1 2,-15 32-114,2 1 0,1 0 1,2 1-1,1 4 114,-9 51 4,4 7-4,2 54 744,8 129-744,5-208 99,0-72-98,0 0 0,0 0 0,0 0 1,0 0-1,0 0 0,0 0 0,0 0 0,0 0 0,0 0 1,1 0-1,-1 0 0,0 0 0,1 0 0,-1 0 0,1 0 1,-1-1-1,1 1 0,0 0 0,-1 0 0,2 0-1,-2-1-4,1 1 0,0-1 0,-1 0 0,1 0 0,0 0 0,-1 0 0,1-1 0,0 1 0,-1 0 0,1 0 0,0 0 0,-1 0 0,1 0 0,-1-1 0,1 1 0,0 0 0,-1-1 0,1 1 0,-1 0 0,1-1 0,-1 1 0,1-1 0,-1 1 0,1 0 0,-1-1 4,38-42-201,-28 31 255,6-7-64,1 1 0,2 1 0,0 0 0,1 1-1,0 1 1,1 1 0,23-11 10,-38 22-21,0 1-1,0 0 1,0 0 0,1 0-1,-1 1 1,1 0 0,1 0 21,-6 1-3,1-1 0,-1 1 0,1 0 0,-1 0 1,0 0-1,1 0 0,-1 1 0,1-1 1,-1 1-1,1-1 0,-1 1 0,0 0 0,1-1 1,-1 1-1,0 0 0,0 0 0,0 1 0,0-1 1,0 0-1,2 2 3,1 4 63,1 1-1,-1-1 1,-1 1 0,1 0-1,-2 0 1,1 1 0,-1-1-1,-1 1 1,2 5-63,2 16 122,-1 1 0,-2 4-122,-3 7 34,1 6-697,5-21-3818,-6-25 32</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44"/>
    </inkml:context>
    <inkml:brush xml:id="br0">
      <inkml:brushProperty name="width" value="0.07938" units="cm"/>
      <inkml:brushProperty name="height" value="0.07938" units="cm"/>
      <inkml:brushProperty name="color" value="#E71224"/>
    </inkml:brush>
  </inkml:definitions>
  <inkml:trace contextRef="#ctx0" brushRef="#br0">103 280 5281,'0'0'2150,"0"0"-720,0 0 193,0 0-295,0 0-435,0 0-355,21-23-187,62-75-117,-80 95-191,0 0-1,0-1 0,0 1 0,0-1 1,-1 0-1,0 0 0,0 0 0,0 0 0,-1 0 1,1 0-1,-1 0 0,0 0 0,0-1 1,-1 1-1,1 0 0,-1 0 0,0-1 1,-1 1-1,1 0 0,-1-1-42,-1-14 274,3 17-234,-1 0 0,0 0-1,0-1 1,-1 1 0,1 0 0,0 0-1,-1-1 1,1 1 0,-1 0-1,0 0 1,0 0 0,0 0 0,0 0-1,0 0 1,-1 0 0,1 0 0,-1 0-1,1 0 1,-1 1 0,-1-2-40,-1 1 103,1 0 1,-1 1-1,1 0 1,-1-1-1,1 1 1,-1 1-1,0-1 1,1 0 0,-1 1-1,0 0 1,0-1-1,0 1 1,-2 1-104,3-1 8,0 1-1,0-1 1,0 1 0,0 0 0,1 0 0,-1 1 0,0-1 0,0 0 0,1 1 0,-1-1 0,1 1 0,-1 0-1,1 0 1,0 0 0,0 0 0,0 0 0,0 0 0,0 0 0,-1 2-8,-32 51-159,33-52 160,-11 21 23,2 1 1,0 1 0,2 0 0,1 0-1,1 1 1,2 0 0,1 0 0,1 0-1,2 26-24,1-50 5,0 1 1,0-1-1,1 0 0,0 1 0,-1-1 0,1 0 0,1 1 0,-1-1 0,0 0 1,1 0-1,0 0 0,0 0 0,0 0 0,0 0 0,0 0 0,1-1 0,-1 1 1,2 0-6,1 1-45,1 0 0,-1-1 0,1 0 0,0 1 0,0-2 0,1 1 0,-1-1 0,1 1 0,-1-2 0,1 1 45,10 2-483,1-2 0,-1 0 0,0 0 0,1-1 0,-1-1 0,1-1 0,16-2 483,11-9-2671,-6-7-1012</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45"/>
    </inkml:context>
    <inkml:brush xml:id="br0">
      <inkml:brushProperty name="width" value="0.07938" units="cm"/>
      <inkml:brushProperty name="height" value="0.07938" units="cm"/>
      <inkml:brushProperty name="color" value="#E71224"/>
    </inkml:brush>
  </inkml:definitions>
  <inkml:trace contextRef="#ctx0" brushRef="#br0">0 1 7642,'0'0'5945,"0"0"-4849,0 0-872,0 0 216,0 0 128,0 0-416,34 161-104,-23-125-48,-1-1-200,-3-2-424,3-3-816,-3-8-1065,-4-11-1679</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46"/>
    </inkml:context>
    <inkml:brush xml:id="br0">
      <inkml:brushProperty name="width" value="0.07938" units="cm"/>
      <inkml:brushProperty name="height" value="0.07938" units="cm"/>
      <inkml:brushProperty name="color" value="#E71224"/>
    </inkml:brush>
  </inkml:definitions>
  <inkml:trace contextRef="#ctx0" brushRef="#br0">21 6 3273,'0'0'9882,"0"0"-8426,0 0-952,0 0-24,0 0-480,0 0-104,0 0-1088,-21-5-736,35 5-257,0 2-279,-7 4-345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47"/>
    </inkml:context>
    <inkml:brush xml:id="br0">
      <inkml:brushProperty name="width" value="0.07938" units="cm"/>
      <inkml:brushProperty name="height" value="0.07938" units="cm"/>
      <inkml:brushProperty name="color" value="#E71224"/>
    </inkml:brush>
  </inkml:definitions>
  <inkml:trace contextRef="#ctx0" brushRef="#br0">0 47 7042,'0'0'3956,"0"0"-2625,0 0-999,0 0 215,0 0 7,0 0-272,23 25-39,75 81 212,-84-91-129,-1 0 1,-1 1-1,0 0 0,5 11-326,-14-20 206,0 0 0,-1 0-1,1 0 1,-2 0-1,1 0 1,-1 0-1,0 0 1,-1 1-1,0 2-205,-2-54 534,-8-39-534,4 38-59,0-40 59,6 82-4,0 0 0,1 1 0,-1-1-1,0 0 1,1 0 0,0 1 0,0-1 0,0 1 0,0-1 0,0 1 0,1-1 0,-1 1 0,1-1-1,0 1 1,-1 0 0,1 0 0,0 0 0,2-1 4,0 0-14,1 0 0,-1 0 0,1 0-1,0 1 1,0-1 0,0 1 0,0 0 0,1 1 0,-1-1 0,1 1 14,16-3-349,0 1 0,1 1 0,-1 1 0,18 1 349,-39 0-15,29 0-2007,0 1-1,18 4 2023,-5 2-4187</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41"/>
    </inkml:context>
    <inkml:brush xml:id="br0">
      <inkml:brushProperty name="width" value="0.07938" units="cm"/>
      <inkml:brushProperty name="height" value="0.07938" units="cm"/>
      <inkml:brushProperty name="color" value="#E71224"/>
    </inkml:brush>
  </inkml:definitions>
  <inkml:trace contextRef="#ctx0" brushRef="#br0">1 13 7818,'0'0'2291,"0"0"-1842,0 0-521,17 0 199,0 0-54,115-3 1046,-25-3 3858,89 7-4977,-62 1 615,1183 6 1815,-595 8-567,-159-4-1083,-559-12-776,116-5 133,67-11-137,-68 4 181,69 4-181,-164 8 23,41-1 115,0 2 1,-1 4-1,51 8-138,2 9 11,1-4 0,1-5-1,86-2-10,-185-11-574,8 1-1756,-13-3-2083,-12-3-2754</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8"/>
    </inkml:context>
    <inkml:brush xml:id="br0">
      <inkml:brushProperty name="width" value="0.05" units="cm"/>
      <inkml:brushProperty name="height" value="0.05" units="cm"/>
      <inkml:brushProperty name="color" value="#004F8B"/>
    </inkml:brush>
  </inkml:definitions>
  <inkml:trace contextRef="#ctx0" brushRef="#br0">1 0 6265,'0'0'993,"0"0"-547,0 0-40,0 0-89,0 0-173,0 7-1,1 3 114,1 1 0,1-1 0,0 1 0,0-1-1,1 0 1,1 0 0,-1 0 0,4 3-257,19 51 1260,0 37-260,-4 0 0,-5 2 0,-2 29-1000,28 150 176,-38-257-206,-3-17 90,-2-12 312,-3-65-179,0 37-307,2-1 0,1 1 0,1-1 1,5-21 113,-6 50-24,1-1 0,0 0 0,0 1 0,0-1 0,0 1 1,1 0-1,0 0 0,0 0 0,0 0 0,0 0 0,1 0 1,0 1-1,-1 0 0,1 0 0,0 0 0,1 0 0,-1 1 1,0-1-1,1 1 0,-1 0 0,1 0 0,0 1 0,0-1 1,0 1-1,-1 0 0,1 1 0,0-1 0,4 1 24,2-1-3,0 0 0,1 1 0,-1 1 0,0 0-1,0 0 1,0 1 0,0 1 0,0 0 0,0 0-1,-1 1 1,1 0 0,4 4 3,-8-4 34,0 0 0,0 0-1,-1 1 1,0 0 0,0 0-1,0 0 1,-1 1 0,0 0 0,0 0-1,0 0 1,-1 1 0,0 0-1,0 0 1,-1 0 0,1 0 0,-2 0-1,1 1 1,-1-1 0,0 1-1,-1 0 1,1-1 0,-2 1 0,1 0-1,-1 0 1,-1 6-34,0-8 31,0-1-1,0 0 1,-1 0-1,0 0 1,0 0-1,0-1 1,-1 1-1,1-1 1,-1 1-1,0-1 1,-1 0 0,1 0-1,-1 0 1,1 0-1,-1-1 1,0 0-1,-5 3-30,-8 8 65,-2-2-1,1 0 0,-16 6-64,20-11-83,0-1 0,-1-1 0,1-1 0,-1 0 0,0-1 0,-1 0 0,1-1 1,0-1-1,-1 0 0,-7-2 83,20 1-280,0 0 0,0-1 0,0 1 1,0-1-1,0 0 0,0 0 0,0 0 0,0 0 1,1-1-1,-1 1 0,0-1 0,1 1 0,-1-1 1,1 0-1,-1 0 0,1 0 0,0-1 1,0 1-1,0-1 280,-13-13-2967</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9"/>
    </inkml:context>
    <inkml:brush xml:id="br0">
      <inkml:brushProperty name="width" value="0.05" units="cm"/>
      <inkml:brushProperty name="height" value="0.05" units="cm"/>
      <inkml:brushProperty name="color" value="#004F8B"/>
    </inkml:brush>
  </inkml:definitions>
  <inkml:trace contextRef="#ctx0" brushRef="#br0">208 52 8570,'0'0'1463,"0"0"-334,0 0 124,0 0-445,0 0-309,0 0-215,-5-7-115,2 2-145,2 2-5,0 1 0,-1-1 0,1 1 0,-1-1-1,0 1 1,0 0 0,0 0 0,0 0 0,0 0 0,0 0 0,-1 0 0,1 0 0,0 1 0,-1-1 0,0 1 0,1 0 0,-1 0-1,0 0 1,0 0 0,1 0 0,-1 1 0,-2-1-19,-3 0 31,0 1 0,0 1 1,0-1-1,1 1 0,-1 1 0,-7 1-31,11-1-5,1 0 0,-1 0 0,1 0 0,0 0 0,-1 1 0,1-1 0,0 1 0,0 0 0,1 0 0,-1 0 0,1 0 0,-1 0 0,1 1 0,-1 1 5,-2 5-2,-1 0-1,1 0 0,1 1 0,0-1 0,0 1 0,1 0 0,0 0 1,1 0-1,1 1 0,-1-1 0,2 0 0,0 1 0,0-1 0,2 9 3,-2-18 1,1 1 0,0 0-1,-1-1 1,1 1-1,0-1 1,1 1-1,-1-1 1,0 1-1,1-1 1,-1 0-1,1 0 1,0 0-1,-1 0 1,1 0 0,0 0-1,0 0 1,1-1-1,-1 1 1,0-1-1,0 1 1,1-1-1,-1 0 1,1 0-1,-1 0 1,1 0-1,0 0 1,0-1-1,6 3 12,-1-2-1,1 1 1,0-1 0,0 0-1,0-1 1,0 0-1,8-1-11,-15 0 4,0 0-1,0 0 0,0 0 0,0 0 0,0 0 0,0 0 0,0-1 0,0 1 0,-1 0 0,1-1 0,0 0 0,-1 1 0,1-1 0,-1 0 0,0 0 0,0 0 0,0 0 1,0 0-1,0 0 0,0 0 0,0 0 0,0-2-3,13-51-232,-6-30-1861,-8 28-3649,0 52 141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6"/>
    </inkml:context>
    <inkml:brush xml:id="br0">
      <inkml:brushProperty name="width" value="0.07938" units="cm"/>
      <inkml:brushProperty name="height" value="0.07938" units="cm"/>
      <inkml:brushProperty name="color" value="#E71224"/>
    </inkml:brush>
  </inkml:definitions>
  <inkml:trace contextRef="#ctx0" brushRef="#br0">130 401 5657,'0'0'2709,"0"0"-1500,0 0-251,0 0-315,0 0-330,26-28-134,79-91-58,-99 111-107,1 0 0,-1 0 0,-1-1 0,0 0-1,0 1 1,2-9-14,-5 12 14,-1 0 0,0 0-1,-1 0 1,0 0-1,1-1 1,-2 1 0,1-3-14,-1-14 45,1 17-36,-1-1 0,1 0 0,-1 0 0,0 1 0,0-1 0,-1 1 0,0-1 0,0 1 0,-1-1 0,1 1 0,-1 0 0,-1 0 0,1 0-1,-1 0 1,-3-3-9,4 5 79,-1 0 0,0 0 0,1 1-1,-1-1 1,0 1 0,0 0-1,-1 0 1,1 0 0,0 0-1,-1 1 1,1-1 0,-1 1 0,0 0-1,1 0 1,-1 1 0,0-1-1,0 1 1,1 0 0,-1 0 0,0 0-1,-5 1-78,7 0-6,-1 1 1,1-1-1,-1 0 0,1 1 0,0 0 1,-1 0-1,1 0 0,0 0 0,0 0 0,1 0 1,-1 1-1,0-1 0,1 1 0,0 0 0,-1-1 1,0 3 5,-33 51-483,35-52 457,-13 22-35,2 1 1,1 0-1,1 1 0,2 0 1,1 1-1,-1 16 61,2 12 54,2 1 1,5 48-55,0-92 26,1 0-1,1 0 0,1 1 1,0-1-1,1-1 1,0 1-1,1-1 1,1 0-1,1 0 1,0 0-1,0-1 1,8 8-27,-4-12-41,-5-13 39,-1-20 60,-5 17-32,1-5-14,0 0 1,2-1 0,0 1 0,0 1 0,2-1 0,-1 0-1,2 1 1,2-3-12,-9 15-11,1-1 0,0 0 0,-1 1-1,1-1 1,0 1 0,0-1 0,-1 1 0,1 0-1,0-1 1,0 1 0,0 0 0,0-1 0,0 1-1,-1 0 1,1 0 0,0 0 0,0 0 0,0 0-1,0 0 1,0 0 0,0 0 0,0 0 0,0 0-1,0 0 1,-1 0 0,1 0 0,0 1 0,0-1-1,0 0 1,0 1 0,0-1 11,24 15 104,-13-4 44,0 1 0,-1 0 0,-1 1 0,0 0 0,-1 0 0,-1 1 0,0 0 0,0 3-148,10 26-333,-2 0 1,-1 6 332,-5-18-816,-8-23-1130,-1-6-101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0"/>
    </inkml:context>
    <inkml:brush xml:id="br0">
      <inkml:brushProperty name="width" value="0.05" units="cm"/>
      <inkml:brushProperty name="height" value="0.05" units="cm"/>
      <inkml:brushProperty name="color" value="#004F8B"/>
    </inkml:brush>
  </inkml:definitions>
  <inkml:trace contextRef="#ctx0" brushRef="#br0">214 131 6937,'0'0'1582,"0"0"-594,0 0 102,0 0-326,0 0-428,0 0-272,-8-21-41,-27-62 38,34 81-60,0 0-1,0 1 0,0-1 1,0 0-1,0 1 1,-1-1-1,1 1 1,-1-1-1,1 1 1,-1 0-1,1-1 0,-1 1 1,0 0-1,1 0 1,-1 0-1,0 1 1,0-1-1,0 0 0,0 1 1,0-1-1,0 1 1,0-1-1,0 1 1,0 0-1,0 0 0,0 0 1,0 0-1,0 0 1,0 1-1,0-1 1,0 1-1,0-1 1,0 1-1,0 0 0,0-1 1,1 1-1,-1 0 1,0 0-1,0 0 1,0 1-1,-5 3 8,0 0 0,1 1 1,-1 0-1,1-1 1,1 2-1,-1-1 0,1 1 1,0 0-1,1 0 1,-1 0-1,2 1 1,-1 0-1,1-1 0,0 1 1,-2 8-9,0 5 67,0 0 1,2 0 0,0 1-1,1-1 1,2 15-68,0-34 3,0-1 1,1 1 0,-1 0-1,1-1 1,-1 1 0,1-1 0,0 1-1,0-1 1,0 1 0,0-1-1,0 0 1,0 1 0,0-1-1,0 0 1,0 0 0,0 0-1,1 0 1,-1 0 0,1 0 0,-1 0-1,1 0 1,-1 0 0,1-1-1,-1 1 1,1 0 0,-1-1-1,1 0 1,0 1 0,-1-1 0,1 0-1,0 0 1,0 0-4,67 3 102,-55-4-126,-8 1-93,0-1 0,-1 0 1,1 0-1,0-1 0,0 1 1,-1-1-1,1-1 0,-1 1 1,1-1-1,-1 0 0,0 0 1,0-1-1,-1 1 0,1-1 0,-1 0 1,0 0-1,1-2 117,11-7-929,15-12-159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1"/>
    </inkml:context>
    <inkml:brush xml:id="br0">
      <inkml:brushProperty name="width" value="0.05" units="cm"/>
      <inkml:brushProperty name="height" value="0.05" units="cm"/>
      <inkml:brushProperty name="color" value="#004F8B"/>
    </inkml:brush>
  </inkml:definitions>
  <inkml:trace contextRef="#ctx0" brushRef="#br0">0 1 3713,'0'0'5446,"0"0"-3877,0 0-1145,0 0 104,8 38-80,25 127-240,15 69 1946,5 129-2154,-43-292 499,-6-66-233,0-13-145,2-14-18,7-31-115,3 0-1,2 1 1,2 1 0,3 1-1,1 1 1,3 1-1,2 2 1,2 0-1,22-24 13,-42 57-493,0 1-1,1 0 1,0 1 0,0 0-1,2 1 1,-1 0-1,1 1 1,7-3 493,-18 11-2319,-3 3-1051,0 6-1793</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2"/>
    </inkml:context>
    <inkml:brush xml:id="br0">
      <inkml:brushProperty name="width" value="0.05" units="cm"/>
      <inkml:brushProperty name="height" value="0.05" units="cm"/>
      <inkml:brushProperty name="color" value="#004F8B"/>
    </inkml:brush>
  </inkml:definitions>
  <inkml:trace contextRef="#ctx0" brushRef="#br0">0 1 9418,'0'0'1616,"0"0"-1280,0 0 361,0 0 223,0 0-536,0 0-224,0 0 32,153 192-112,-123-164-32,-7-4-48,0-7-8,0-3-600,8-14-985,-5 0-927,-6 0-729</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3"/>
    </inkml:context>
    <inkml:brush xml:id="br0">
      <inkml:brushProperty name="width" value="0.05" units="cm"/>
      <inkml:brushProperty name="height" value="0.05" units="cm"/>
      <inkml:brushProperty name="color" value="#004F8B"/>
    </inkml:brush>
  </inkml:definitions>
  <inkml:trace contextRef="#ctx0" brushRef="#br0">306 10 9618,'0'0'1668,"0"0"-655,0 0 50,0 0-529,0 0-362,-19-2-212,2 1 31,5-2 24,-1 2 0,0 0 0,0 0-1,0 1 1,0 1 0,0 0 0,0 0 0,0 2-1,-6 1-14,12-1 0,0 0-1,1 1 0,-1-1 1,1 1-1,0 0 0,0 1 1,0 0-1,1 0 1,0 0-1,0 0 0,0 1 1,1 0-1,-1 0 0,-1 5 1,4-8-12,0 0 0,1 0 0,0 1 0,-1-1-1,1 1 1,1-1 0,-1 1 0,0-1 0,1 1-1,0-1 1,0 1 0,0-1 0,0 1 0,1-1-1,-1 1 1,1-1 0,0 1 0,0-1 0,0 1 0,0-1-1,1 0 1,-1 1 0,1-1 0,0 0 0,0 0-1,0-1 1,0 1 0,1 0 0,-1 0 0,3 1 12,70 55 42,-56-46-64,-1 1 1,0 0-1,-1 1 0,6 8 22,-19-18 137,1 1-1,-1 0 1,0 0-1,0 0 0,-1 1 1,0-1-1,0 1 1,0 0-1,-1-1 0,0 1 1,0 0-1,-1 1 1,0-1-1,0 0 0,0 7-136,-1-10 52,1-1 1,-1 0-1,0 1 0,0-1 0,-1 0 0,1 0 0,-1 1 0,1-1 0,-1 0 0,0 0 0,0 1 0,0-1 0,-1 0 1,1 0-1,-1-1 0,0 1 0,0 0 0,0 0 0,0-1 0,0 1 0,0-1 0,-1 0 0,1 1 0,-1-1 1,0 0-1,1-1 0,-1 1 0,0 0 0,0-1 0,0 0 0,0 0 0,0 0 0,-1 0 0,1 0 0,0 0 0,-4 0-52,-17 2-1397,-1-1-1,-1 0 0,1-2 1,-17-2 1397,18 1-2627,-19-2-3577</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4"/>
    </inkml:context>
    <inkml:brush xml:id="br0">
      <inkml:brushProperty name="width" value="0.05" units="cm"/>
      <inkml:brushProperty name="height" value="0.05" units="cm"/>
      <inkml:brushProperty name="color" value="#004F8B"/>
    </inkml:brush>
  </inkml:definitions>
  <inkml:trace contextRef="#ctx0" brushRef="#br0">1 1 3793,'0'0'4063,"0"0"-2746,0 0-883,0 0-79,2 4-175,6 17 418,0 1 0,-1 0 0,-1 1-1,-1 0 1,-1 0 0,0 16-598,2 54 1389,-5 6-1389,1-18 220,24 396-1204,-25-457-312,-1-15-3471,0-5 653</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5"/>
    </inkml:context>
    <inkml:brush xml:id="br0">
      <inkml:brushProperty name="width" value="0.05" units="cm"/>
      <inkml:brushProperty name="height" value="0.05" units="cm"/>
      <inkml:brushProperty name="color" value="#004F8B"/>
    </inkml:brush>
  </inkml:definitions>
  <inkml:trace contextRef="#ctx0" brushRef="#br0">40 0 5537,'0'0'864,"0"0"-194,0 0 117,0 0-181,0 0-53,26 32-188,85 99-45,-58-62 127,-35-27 28,-14-31-350,-2-1 154,1-1 0,-2 1 0,1 0 1,-1-1-1,-1 1 0,0 4-279,0-14 288,0 0-92,-9-1-203,0 0 0,0-1-1,0 0 1,0-1 0,0 0 0,1 0-1,-1-1 1,1 0 0,0 0 0,0-1 0,1 0-1,-1-1 1,1 1 0,0-2 7,-2 0 9,0 1-1,0-1 1,0 1 0,-1 1-1,0 0 1,0 0 0,-1 1 0,1 0-1,-7-1-8,15 5-1,1 0 0,0 0 0,0 0 0,-1 1 0,1-1 0,0 0 0,0 1 0,0-1-1,0 1 1,-1-1 0,1 1 0,0-1 0,0 1 0,0 0 0,0 0 0,0-1-1,0 1 1,0 0 0,1 0 0,-1 0 0,0 0 0,0 0 0,1 0 0,-1 0 0,1 0-1,-1 0 1,1 1 0,-1-1 0,1 0 0,-1 0 0,1 0 0,0 1 0,0-1 0,0 0-1,0 0 1,0 1 0,0 0 1,-3 58-32,3-49 40,0 10-16,-1-13 17,1 1 0,0 0-1,1-1 1,0 1 0,0-1-1,2 7-8,-2-12 6,0-1-1,0 0 1,0 0-1,0 0 0,0 0 1,1 0-1,-1 0 1,0 0-1,1 0 1,0 0-1,-1-1 0,1 1 1,0-1-1,0 1 1,0-1-1,0 0 1,0 1-1,0-1 0,1 0 1,-1-1-1,0 1 1,0 0-1,1-1 1,-1 1-1,0-1 0,3 1-5,0 0 2,1-1-1,-1 1 0,1-1 1,0 0-1,-1 0 0,1-1 1,0 1-1,-1-1 0,1-1 1,-1 1-1,1-1 0,-1 0 1,0 0-1,0 0 0,0-1 0,0 0 1,3-2-2,3-5-344,-1 0-1,0 0 1,0-1 0,-1 0-1,-1-1 1,1-2 344,2 0-725,7-10-2061,-5 8-2449</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6"/>
    </inkml:context>
    <inkml:brush xml:id="br0">
      <inkml:brushProperty name="width" value="0.05" units="cm"/>
      <inkml:brushProperty name="height" value="0.05" units="cm"/>
      <inkml:brushProperty name="color" value="#004F8B"/>
    </inkml:brush>
  </inkml:definitions>
  <inkml:trace contextRef="#ctx0" brushRef="#br0">39 816 7466,'0'0'2021,"0"0"-1150,0-31-160,0-208 68,-3 107-808,1 33-938,9-91 967,-7 184 1,1 1 0,-1-1 0,2 1 0,-1-1 0,1 1 0,-1-1 0,1 1 0,1 0 0,-1 0 0,1 0 0,0 0 0,0 1 0,0-1 0,1 1 0,-1 0 0,1-1 0,0 2 0,1-1 0,-1 0-1,4-1 1,-1 1 7,0 1 0,0 0 1,1 0-1,-1 1 0,1-1 1,0 2-1,-1-1 1,1 1-1,0 1 0,0-1 1,0 1-1,0 0 1,-1 1-1,2 0-8,-4 0 5,0 1 0,0-1 1,-1 1-1,1 0 0,-1 0 0,1 1 1,-1-1-1,0 1 0,0 0 0,0 0 0,0 0 1,0 0-1,-1 1 0,0 0 0,0 0 1,0 0-1,0 0 0,0 0 0,-1 0 0,0 1 1,1-1-1,-2 1 0,1 0 0,-1-1 1,1 1-1,-1 0 0,-1 0 0,1 2-5,1 1 83,-1 0-1,0 1 0,0-1 0,-1 0 1,0 1-1,0-1 0,-1 0 1,0 1-1,-1-1 0,0 0 1,0 0-1,0 0 0,-1 0 0,-1 0 1,1-1-1,-5 7-82,1-5 136,-1 0 0,0 0 0,-1-1 0,0 0 0,0 0 0,-1-1 1,0 0-1,0-1 0,-5 3-136,8-6-121,1 0 0,-1 0 0,0-1 0,1 0 1,-1 0-1,0-1 0,-1 0 0,1 0 0,0 0 1,0-1-1,0 0 0,0 0 0,0-1 0,-1 0 1,1-1-1,-5-1 121,9 2-303,-1-1 0,1 0 1,0 0-1,-1 0 0,1 0 0,0-1 1,0 1-1,0-1 0,1 0 1,-1 0-1,1 0 0,-1 0 0,1 0 1,0-1-1,0 1 0,1-1 0,-2-2 303,-9-25-530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7"/>
    </inkml:context>
    <inkml:brush xml:id="br0">
      <inkml:brushProperty name="width" value="0.05" units="cm"/>
      <inkml:brushProperty name="height" value="0.05" units="cm"/>
      <inkml:brushProperty name="color" value="#004F8B"/>
    </inkml:brush>
  </inkml:definitions>
  <inkml:trace contextRef="#ctx0" brushRef="#br0">1 1 11162,'0'0'1385,"0"0"-977,15 175 656,-3-92-368,3 6-376,0-3-240,4-7-80,-7 0-72,-1-14-152,-3-6-536,-4-15-496,-4-9-369,0-18-479,-8-10-273,-15-7-2808</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8"/>
    </inkml:context>
    <inkml:brush xml:id="br0">
      <inkml:brushProperty name="width" value="0.05" units="cm"/>
      <inkml:brushProperty name="height" value="0.05" units="cm"/>
      <inkml:brushProperty name="color" value="#004F8B"/>
    </inkml:brush>
  </inkml:definitions>
  <inkml:trace contextRef="#ctx0" brushRef="#br0">1 73 9818,'0'0'1913,"0"0"-1321,0 0 520,0 0-424,233-48-272,-153 37-264,8 1-152,-4 7-176,-4 3-464,-8 0-640,9 10-753,-17 17-319,-14 4-737</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79"/>
    </inkml:context>
    <inkml:brush xml:id="br0">
      <inkml:brushProperty name="width" value="0.05" units="cm"/>
      <inkml:brushProperty name="height" value="0.05" units="cm"/>
      <inkml:brushProperty name="color" value="#004F8B"/>
    </inkml:brush>
  </inkml:definitions>
  <inkml:trace contextRef="#ctx0" brushRef="#br0">261 145 5345,'0'0'894,"0"0"237,0 0 608,0 0 413,0 0-465,0 0-809,-6-16-469,2 8-361,0-5 22,-2 1 0,0-1 0,0 1-1,-6-7-69,10 15 48,-1 0-1,0 1 1,0-1-1,0 0 1,-1 1-1,1 0 1,-1 0-1,0 0 1,0 0-1,0 1 0,0-1 1,0 1-1,-1 0 1,1 0-1,-1 0 1,1 1-1,-1 0 1,-1-1-48,2 2-3,0 0 0,0 0 1,1 0-1,-1 0 0,0 0 1,1 1-1,-1-1 0,0 1 1,1 0-1,-1 0 0,1 0 1,-1 1-1,1-1 0,0 1 0,-1 0 1,1 0-1,0 0 0,0 0 1,-2 3 2,-1 1-16,1 0 0,0 0 0,1 0 0,0 1 0,0-1 0,0 1 0,0 0 0,1 1 0,-1 4 16,-3 11-34,1-1 0,1 1 0,2 1 1,0-1-1,1 0 0,1 8 34,1-29-8,0 0 0,-1 0 0,1 1 1,0-1-1,0 0 0,1 0 0,-1 0 0,0 0 0,1 1 0,-1-1 0,1 0 0,0 0 0,0 0 0,0 0 1,0 0-1,0 0 0,1 1 8,1-2-14,0 1 0,-1-1 0,1 0 0,0-1 0,0 1 1,0 0-1,0-1 0,0 0 0,0 0 0,0 0 0,0 0 0,0 0 0,0 0 14,5-1-26,-1 0 0,0 0-1,0 0 1,0-1 0,-1 0-1,1-1 1,0 1 0,-1-1-1,1 0 1,-1-1 0,0 0-1,0 0 1,0 0 0,-1 0-1,0-1 1,0 0 0,0 0-1,0-1 1,-1 1 0,1-1-1,-2 0 1,2-2 26,11-19-1053,-1-1 1,-1-1-1,-2-1 0,3-10 1053,-13 33-392,14-36-3513</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67"/>
    </inkml:context>
    <inkml:brush xml:id="br0">
      <inkml:brushProperty name="width" value="0.07938" units="cm"/>
      <inkml:brushProperty name="height" value="0.07938" units="cm"/>
      <inkml:brushProperty name="color" value="#E71224"/>
    </inkml:brush>
  </inkml:definitions>
  <inkml:trace contextRef="#ctx0" brushRef="#br0">27 241 8362,'0'0'1148,"0"0"-819,0 0-122,0 0 376,0 0 97,0 0-180,28-7-224,84-26-126,-109 32-129,1 0 1,-1 0 0,0 0-1,1-1 1,-1 1-1,0-1 1,0 0 0,0 0-1,-1 0 1,1 0 0,0 0-1,-1-1 1,1 1 0,-1-1-1,0 1 1,0-1-1,0 0 1,-1 0 0,1 1-1,-1-1 1,1 0 0,-1-1-1,0 1 1,0 0 0,-1 0-1,1 0 1,-1 0 0,0-1-1,0 1 1,0 0-1,0 0 1,-1-1 0,1 1-22,-1-7 68,2 1-24,-2 0-1,1 0 0,-1 0 0,-1 0 1,0 1-1,-2-7-43,3 13 19,0-1 0,0 1 1,0 0-1,0 0 0,0 0 1,-1 0-1,1 1 0,-1-1 1,1 0-1,-1 0 0,0 1 0,0-1 1,0 1-1,0-1 0,0 1 1,0 0-1,0 0 0,0 0 0,-1 0 1,1 0-1,0 0 0,-1 0 1,1 1-1,-1-1 0,1 1 0,-1-1 1,1 1-1,-1 0 0,-1 0-19,0 0 26,0 0 0,-1 0-1,1 1 1,0-1 0,0 1-1,0 0 1,0 0 0,0 0-1,0 1 1,0-1-1,0 1 1,0 0 0,1-1-1,-2 2-25,-1 2-23,1-1 0,0 1 0,0 0-1,0 0 1,1 0 0,-1 1-1,-1 4 24,-3 3 39,2 0 0,0 0 0,1 0-1,0 1 1,1 0 0,1 0 0,0 0-1,2 1 1,-1-1 0,2 1 0,0-1-1,1 1 1,1-1 0,1 1 0,0 1-39,-1-13 9,-1 0 0,1 0-1,0 0 1,1 0 0,-1 0 0,1-1 0,-1 1 0,1 0 0,0-1 0,0 1-1,0-1 1,0 0 0,0 1 0,1-1 0,-1 0 0,4 1-9,-1 1-40,1-1 0,0 0 0,0-1 0,0 1 0,0-1 0,1 0 1,-1-1-1,5 2 40,12 0-581,0-1 0,1 0 0,-1-2 0,11-1 581,-27 1-278,48-4-2710,-9-11-2418</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0"/>
    </inkml:context>
    <inkml:brush xml:id="br0">
      <inkml:brushProperty name="width" value="0.05" units="cm"/>
      <inkml:brushProperty name="height" value="0.05" units="cm"/>
      <inkml:brushProperty name="color" value="#004F8B"/>
    </inkml:brush>
  </inkml:definitions>
  <inkml:trace contextRef="#ctx0" brushRef="#br0">108 988 5753,'0'0'3608,"0"0"-2552,0 0-595,0 0 449,0 0 127,0 0-474,0-32-361,0-4-182,2-8 34,-3-1-1,-1 0 1,-8-37-54,-30-98 179,24 119-17,2 0 1,3-1 0,3 0-1,1-42-162,6 98-6,1 0-1,0 0 0,1-1 1,-1 1-1,1 0 0,1 0 0,-1 0 1,1 0-1,0 0 0,0 0 1,1 0-1,-1 1 0,2-1 0,-1 1 1,0 0-1,1 0 0,0 0 1,0 0-1,0 1 0,1-1 0,0 1 1,-1 0-1,1 1 0,1-1 1,-1 1-1,1 0 0,-1 0 0,1 1 1,2-1 6,10-3-33,0 0 0,0 2 0,1 0 0,-1 1 0,1 1-1,0 1 1,0 0 0,-1 2 0,5 0 33,-19-1 0,0 0 0,0 1-1,1 0 1,-1-1-1,0 2 1,0-1 0,0 0-1,0 1 1,-1-1 0,1 1-1,0 0 1,-1 1-1,1-1 1,-1 0 0,0 1-1,0 0 1,2 1 0,-1 1 25,0 1 0,0-1 0,0 1 0,-1 0 0,0 0-1,0 0 1,-1 0 0,1 1 0,-1-1 0,0 3-25,2 13 232,-1 0-1,-1 1 0,-1-1 1,-1 0-1,0 0 0,-2 3-231,1-18 61,0 1-1,-1-1 1,0 0-1,0 0 1,0 0-1,-1-1 1,0 1-1,0-1 1,-1 1-1,0-1 1,0 0-1,0 0 1,-1-1-1,1 1 1,-2-1-1,1 0 1,0 0-1,-1-1 1,0 1-1,0-1 1,0-1-1,-1 1 1,1-1-1,-1 0 1,-2 0-61,3-1-139,-1 1-1,0-2 1,1 1 0,-1-1-1,0 0 1,0 0 0,0-1-1,1 0 1,-1 0 0,0-1-1,0 1 1,0-2 0,0 1-1,1-1 1,-1 0 0,1 0-1,-1-1 1,1 1 0,0-2 0,0 1-1,0-1 1,1 1 0,-1-2-1,1 1 1,0-1 0,-4-4 139,-3-5-1774,1-2 1,0 0-1,2 0 1,-5-10 1773,-3-10-492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1"/>
    </inkml:context>
    <inkml:brush xml:id="br0">
      <inkml:brushProperty name="width" value="0.05" units="cm"/>
      <inkml:brushProperty name="height" value="0.05" units="cm"/>
      <inkml:brushProperty name="color" value="#004F8B"/>
    </inkml:brush>
  </inkml:definitions>
  <inkml:trace contextRef="#ctx0" brushRef="#br0">447 0 11266,'0'0'1602,"0"0"-398,0 0-42,0 0-455,0 0-346,-33 15-251,-102 46-133,129-58 21,-1 0 0,1 1 1,0 0-1,0 0 0,1 0 0,-1 1 1,-3 4 1,7-7-1,1 0 1,-1 1-1,1-1 1,-1 1 0,1-1-1,0 1 1,0 0-1,0-1 1,0 1 0,0 1 0,-3 10-2,3-9-12,-1-1 0,1 1-1,-1 0 1,2-1-1,-1 1 1,0 0 0,1 0-1,0 0 1,0 1 14,0-4-9,0 0 1,1 0-1,-1 0 1,1-1-1,-1 1 1,1 0-1,0 0 1,0 0-1,0 0 0,0 0 1,0-1-1,0 1 1,0-1-1,1 1 1,-1-1-1,1 1 1,-1-1-1,1 1 1,-1-1-1,1 0 1,0 0-1,0 1 9,45 21-15,-32-17 23,0 1 1,0 0 0,-1 1-1,0 1 1,0 0-1,-1 1 1,-1 0 0,1 1-1,-2 1 1,9 10-9,-18-18 92,0 0-1,0 0 1,0 0 0,0 1 0,-1-1-1,1 1 1,-1 0 0,-1-1 0,1 1 0,-1 0-1,1-1 1,-1 1 0,-1 0 0,1-1 0,-1 1-1,1 0 1,-1-1 0,-1 1 0,1-1-1,-1 1 1,1-1 0,-1 1 0,-1-1 0,1 0-1,0 0 1,-1 0 0,0-1 0,0 1 0,0 0-1,0-1 1,-1 0 0,0 0 0,1 0-1,-3 1-91,-9 5 92,0-1 0,0 0-1,-1-1 1,-1 0-1,1-2 1,-1 0-1,0-1 1,-7 1-92,-25 2-1857,0-3 1,-15-2 1856,22 0-2685,2 0-3485</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2"/>
    </inkml:context>
    <inkml:brush xml:id="br0">
      <inkml:brushProperty name="width" value="0.05" units="cm"/>
      <inkml:brushProperty name="height" value="0.05" units="cm"/>
      <inkml:brushProperty name="color" value="#004F8B"/>
    </inkml:brush>
  </inkml:definitions>
  <inkml:trace contextRef="#ctx0" brushRef="#br0">12 0 7554,'0'0'984,"0"0"-144,0 0 64,0 0-342,-11 15 211,12-5-439,1 0 1,0 0-1,0 0 0,1 0 0,1-1 1,-1 0-1,4 5-334,11 34 674,-5 7-459,-3 0 0,-1 0 0,-4 1 0,0 51-215,-5-105 40,4-13-24,18-54-48,19-34 32,-32 79-9,2 0 0,0 0 0,1 0 1,1 2-1,1 0 0,12-13 9,-25 30-8,0-1 1,0 1 0,0-1-1,1 1 1,-1 0-1,0-1 1,1 1-1,-1 0 1,1 0-1,0 0 1,-1 0-1,1 0 1,0 1-1,-1-1 1,1 0-1,0 1 1,0-1-1,0 1 1,-1 0-1,1-1 1,0 1-1,0 0 1,0 0-1,0 0 1,0 1-1,0-1 1,-1 0-1,1 1 1,0-1-1,0 1 1,-1 0-1,1-1 1,0 1-1,0 0 1,-1 0-1,1 0 1,-1 0-1,1 0 1,-1 1-1,0-1 1,1 0-1,-1 1 1,0-1-1,0 1 1,0-1 0,0 1-1,0 0 1,0-1-1,0 1 1,-1 0 7,6 8 18,-1 0 0,-1 1 1,0 0-1,0 0 1,-1 0-1,-1 0 1,1 8-19,3 46 324,-3 54-324,-2-126-6,0 1 1,1-1 0,-1 1 0,2 0-1,-1 0 1,1 0 0,0 0 0,0 0-1,2-2 6,5-11-3,-4 7 0,0-3-32,1 2-1,1-1 1,0 1 0,1 0 0,1-1 35,-7 10-28,0 1 0,1 0 0,-1-1 0,1 1 0,-1 1 0,1-1 0,0 1 0,0-1 0,0 1 0,0 0 0,1 1 0,-1-1 0,0 1 0,1 0 0,-1 0 0,1 0 0,-1 0 0,1 1 0,2 0 28,-4 0 9,0 0-1,-1 0 1,1 1 0,-1-1-1,0 1 1,1-1 0,-1 1-1,1 0 1,-1 0 0,0 0-1,1 1 1,-1-1 0,0 0-1,0 1 1,0-1 0,0 1-1,0 0 1,-1 0 0,1 0-9,2 3 32,0 0 1,-1 0 0,0 1 0,0-1-1,0 1 1,0 0 0,-1 0 0,0 1-33,5 18 25,-1 0 1,-2 0-1,1 20-25,-4-36-73,0 15-2213,-1-17-695,0-6-132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3"/>
    </inkml:context>
    <inkml:brush xml:id="br0">
      <inkml:brushProperty name="width" value="0.05" units="cm"/>
      <inkml:brushProperty name="height" value="0.05" units="cm"/>
      <inkml:brushProperty name="color" value="#004F8B"/>
    </inkml:brush>
  </inkml:definitions>
  <inkml:trace contextRef="#ctx0" brushRef="#br0">0 0 6633,'0'0'4145,"0"0"-3729,0 0 377,0 0 183,0 193-408,0-142-312,0 1-184,4-7-72,4-4-8,-5-10-40,1-7-184,0-7-488,-4-13-561,0-4-799,0-28-713,0-10-296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4"/>
    </inkml:context>
    <inkml:brush xml:id="br0">
      <inkml:brushProperty name="width" value="0.05" units="cm"/>
      <inkml:brushProperty name="height" value="0.05" units="cm"/>
      <inkml:brushProperty name="color" value="#004F8B"/>
    </inkml:brush>
  </inkml:definitions>
  <inkml:trace contextRef="#ctx0" brushRef="#br0">0 0 536,'0'0'7082,"0"0"-6610,0 0-472,0 0-248,0 0-577,0 0-895,0 0-1257</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5"/>
    </inkml:context>
    <inkml:brush xml:id="br0">
      <inkml:brushProperty name="width" value="0.05" units="cm"/>
      <inkml:brushProperty name="height" value="0.05" units="cm"/>
      <inkml:brushProperty name="color" value="#004F8B"/>
    </inkml:brush>
  </inkml:definitions>
  <inkml:trace contextRef="#ctx0" brushRef="#br0">0 1 7498,'0'0'1331,"0"0"-675,0 0-130,0 0-96,0 0-30,0 0-67,14 15 135,44 53 239,-51-57-498,0 1 0,-1-1-1,-1 1 1,0 1-1,0-1 1,-1 0 0,-1 1-1,0 0 1,-1 0 0,0 0-1,-1 8-208,3 9 334,-3-22-257,9 30 97,-9-37-160,0-2-13,0 1-1,-1-1 1,1 0-1,-1 1 1,1-1 0,-1 0-1,1 0 1,-1 1-1,1-1 1,-1 0-1,0 0 1,1 0-1,-1 0 1,0 1 0,0-1-1,0 0 1,0 0-1,0 0 1,1 0-1,-2-1 0,2-1 4,4-21-20,2 0 1,0 1-1,2 0 0,3-7 16,-8 21-53,1 0-1,-1 0 0,1 1 1,1 0-1,0 0 1,0 1-1,0-1 1,1 1-1,0 1 1,0-1-1,1 1 0,6-4 54,-12 9 9,0 0-1,-1 0 1,1 0-1,0 0 1,0 0-1,0 0 1,0 1-1,0-1 1,-1 1-1,1-1 1,0 1-1,0 0 1,0 0-1,0 0 1,0 0-1,0 0 1,0 0-1,0 0 1,0 1-1,0-1 1,0 1-1,0 0 1,0-1-1,0 1 1,0 0-1,-1 0 1,1 0-1,0 0 1,-1 0-1,1 1 1,-1-1-1,1 0 1,-1 1-1,1-1 1,-1 1-1,0 0 1,0-1-1,0 1 1,0 0-1,0 0 1,0-1-1,0 2-8,5 12 147,-1-1-1,-1 1 0,0 0 0,0 0 0,-1 8-146,2 5 46,0 5-130,6 23 50,-11-54-446,1 1 0,0 0 0,0-1-1,1 0 1,-1 1 0,0-1 0,1 0 0,0 1-1,-1-1 1,3 1 480,3 1-3925</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6"/>
    </inkml:context>
    <inkml:brush xml:id="br0">
      <inkml:brushProperty name="width" value="0.05" units="cm"/>
      <inkml:brushProperty name="height" value="0.05" units="cm"/>
      <inkml:brushProperty name="color" value="#004F8B"/>
    </inkml:brush>
  </inkml:definitions>
  <inkml:trace contextRef="#ctx0" brushRef="#br0">198 681 9818,'0'0'1250,"0"0"-660,0 0-124,0 0-514,-7-30-539,-26-98 36,32 124 537,0 0 0,-1-1-1,1 1 1,-1 0-1,0 0 1,0 0 0,0 0-1,0 0 1,-1 0 0,0 0-1,1 1 1,-3-2 14,3 4 10,1 0-1,-1 0 1,1 0 0,-1 1 0,1-1-1,-1 1 1,0-1 0,1 1 0,-1 0-1,0 0 1,1-1 0,-1 1 0,0 0-1,1 0 1,-1 1 0,0-1 0,0 0-10,-10 1 68,9 0-63,1-1 0,-1 1 0,1 0 0,-1 1 0,1-1 1,-1 0-1,1 1 0,-1-1 0,1 1 0,0 0 0,0-1 0,0 1 0,0 0 1,0 1-1,1-1 0,-1 0 0,0 0 0,1 1 0,0-1 0,-1 1 1,0 2-6,-23 58 149,20-47-63,1 1-1,1 0 1,1 0-1,0 1 1,1-1-1,1 0 1,1 1-1,0-1 1,2 2-86,-2-17 9,-1-1 0,1 0 0,0 1 0,0-1 0,0 0 0,0 0 1,0 0-1,0 0 0,1 0 0,-1 0 0,0 0 0,0 0 1,1 0-1,-1 0 0,1-1 0,-1 1 0,1-1 0,-1 1 0,1-1 1,-1 1-1,1-1 0,-1 0 0,1 0 0,-1 0 0,1 0 0,1 0-9,1 0 34,0 1-1,0-1 0,0-1 0,0 1 0,0-1 0,0 1 1,-1-1-1,1 0 0,0 0 0,0-1 0,0 0-33,7-7 118,-1-1 0,0 0-1,-1 0 1,0-1 0,0 0-1,-2-1 1,1 0 0,-1 0-1,5-13-117,3-3 108,11-18-56,-3-1 0,-2-1 0,-2 0 0,-1-2 0,-4 0 0,-1-1 0,-2 0 0,-3-1 0,-2 0 0,-3 0 0,-1-4-52,-2 56 653,1 9-455,0 1 1,0-1 0,-1 0 0,0 1 0,0-1-1,-1 3-198,-1 22 281,-1 164 779,1 51-751,7-82-5027,6-107-2100,-7-39 491</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7"/>
    </inkml:context>
    <inkml:brush xml:id="br0">
      <inkml:brushProperty name="width" value="0.05" units="cm"/>
      <inkml:brushProperty name="height" value="0.05" units="cm"/>
      <inkml:brushProperty name="color" value="#004F8B"/>
    </inkml:brush>
  </inkml:definitions>
  <inkml:trace contextRef="#ctx0" brushRef="#br0">554 46 4489,'0'0'5154,"0"0"-2840,0 0-724,0 0-171,0 0-439,0 0-548,-20-7-308,-66-23-69,81 28-50,1 1-1,-1-1 1,1 1 0,-1 0-1,0 0 1,1 1 0,-1-1-1,0 1 1,0 0 0,1 0-1,-1 1 1,0 0 0,1-1-1,-1 1 1,0 1 0,1-1-1,-1 1 1,1 0 0,0 0-1,0 0 1,-1 0 0,1 1-1,1 0 1,-1 0 0,0 0-1,1 0 1,-1 0 0,1 1-1,-2 2-4,0 2-14,1 0 0,0 0 0,0 1 0,0 0-1,1-1 1,1 1 0,-1 0 0,1 1 0,1-1 0,0 0-1,0 0 1,1 8 14,0-11-8,0 1-1,0-1 1,1 0-1,0 1 1,1-1-1,-1 0 1,1 0-1,0 0 1,0 0-1,1 0 1,0 0-1,2 2 9,3 3-13,0-1 0,1 1 0,1-1 0,0-1 1,3 3 12,-4-4-4,0 0 0,-1 1 0,0 0 0,-1 0 0,1 1 0,-2 0 0,3 4 4,-6-7 99,-1-1 0,1 0 0,-1 1 0,0-1 0,-1 1 0,1 0 0,-1-1-1,-1 1 1,1 0 0,-1 0 0,0 0 0,-1 0 0,0 4-99,0-8 117,0 1 1,-1 0-1,1-1 0,-1 1 0,0-1 0,0 0 0,0 1 0,-1-1 0,1 0 0,-1 0 0,1 0 0,-1-1 0,0 1 0,0-1 0,0 0 0,-1 1 0,0-1-117,-64 35 1081,57-33-928,-22 11-291,-1-2 0,-1-2 0,-25 5 138,-53 6-9374,68-15 196</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8"/>
    </inkml:context>
    <inkml:brush xml:id="br0">
      <inkml:brushProperty name="width" value="0.05" units="cm"/>
      <inkml:brushProperty name="height" value="0.05" units="cm"/>
      <inkml:brushProperty name="color" value="#004F8B"/>
    </inkml:brush>
  </inkml:definitions>
  <inkml:trace contextRef="#ctx0" brushRef="#br0">1 1707 4457,'0'0'829,"0"0"-416,0 0 51,0 0 5,0 0-181,0 2-621,0-2 437,0 0 1,0 0-1,0 0 0,0 0 0,0 0 1,0 1-1,0-1 0,0 0 0,0 0 1,0 0-1,0 0 0,0 1 1,0-1-1,0 0 0,0 0 0,0 0 1,0 0-1,0 0 0,0 0 0,1 1 1,-1-1-1,0 0 0,0 0 0,0 0 1,0 0-1,0 0 0,0 0 0,0 0 1,1 0-1,-1 0 0,0 1 0,0-1 1,0 0-1,0 0 0,0 0 0,1 0 1,-1 0-1,0 0 0,0 0 0,0 0 1,0 0-1,1 0 0,-1 0 0,0 0 1,0 0-1,0 0 0,0 0 1,0 0-1,1 0 0,-1-1 0,0 1 1,0 0-1,0 0 0,0 0 0,0 0-104,46-29 231,-3-2-1,0-1 0,-2-3 1,14-16-231,13-10 56,460-424 1584,-346 314-1516,-84 76 55,-29 27-75,3 2 0,41-25-104,-45 44 22,-9 6 167,51-46-189,-92 70 80,106-94-80,-108 95 4,-1-1 1,-1-1 0,0-1 0,-1 0 0,7-14-5,-9 16-592,-8 14 595,0 0-1,-1 0 0,1 0 0,-1 0 0,0-1 0,0 1 0,0-1 0,-1 0 0,1 0 0,-1 1 0,0-1 0,0 0 1,0-3-3,-36 6-268,25 1 265,-15-1 6,0 1-1,1 1 0,-1 1 0,0 1 0,1 1 0,0 2 0,0 0 0,-6 3-2,22-6 1,-15 6 35,0 0-1,1 2 0,0 0 1,0 1-1,2 2 1,-19 14-36,38-27-4,1 1 1,0-1-4,0-1-11,0 0-38,32 0 165,399 0 694,-428 0-784,1 0 0,0 0 0,-1-1 1,1 1-1,-1-1 0,1 1 0,-1-1 0,1 0 1,-1-1-1,1 1 0,-1 0 0,0-1 0,0 0 1,1 0-1,0-1-19,-3 2 82,-1 1 41,0 0 85,-11 34 871,-24 24-893,-20 21-186,-34 56-54,75-110-339,0 1-1,2 0 1,-4 16 393,11-28-879,2 0 0,0 0 0,0 0 0,1 0 1,1 1 878,0 12-4729</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89"/>
    </inkml:context>
    <inkml:brush xml:id="br0">
      <inkml:brushProperty name="width" value="0.05" units="cm"/>
      <inkml:brushProperty name="height" value="0.05" units="cm"/>
      <inkml:brushProperty name="color" value="#004F8B"/>
    </inkml:brush>
  </inkml:definitions>
  <inkml:trace contextRef="#ctx0" brushRef="#br0">0 4 1376,'0'0'5564,"0"0"-3578,0 0-1062,0 0 278,0 0-17,0 0-375,32-4 1622,37 4-1819,-1 3-1,1 3 1,53 12-613,-2 4 212,-41-8 126,-1 3 0,55 20-338,-106-29 39,0 0-1,1-2 1,0-1-1,22 1-38,119-1-976,-165-5 918,-3-45-87,-1 25 172,1 13-2,-1 1 0,0-1-1,0 0 1,0 1 0,-1-1-1,0 0 1,0 1 0,-1-1-1,0 1 1,0 0-1,-1-1-24,3 7 9,0 0 0,0 0-1,1 0 1,-1 0 0,0 0-1,0 1 1,0-1 0,0 0-1,1 0 1,-1 0 0,0 0 0,0 0-1,0 0 1,1 0 0,-1 0-1,0 0 1,0 0 0,0 0-1,0 0 1,1 0 0,-1 0-1,0 0 1,0 0 0,0 0-1,1 0 1,-1 0 0,0 0-1,0 0 1,0 0 0,0-1-1,1 1 1,-1 0 0,0 0-1,0 0 1,0 0 0,0 0-1,1 0 1,-1-1 0,0 1-1,0 0 1,0 0 0,0 0-1,0 0 1,0 0 0,0-1-1,0 1 1,0 0 0,0 0-1,1 0 1,-1-1 0,0 1 0,0 0-1,0 0 1,0 0 0,0-1-1,0 1 1,0 0 0,0 0-1,0 0 1,-1-1-9,18 10 41,-12-6-30,34 19 70,-1 1 1,23 21-82,-51-36 18,0 0-1,-1 1 1,0 0 0,0 0 0,-1 1 0,0 0 0,-1 1 0,0 0 0,-1 0 0,0 0 0,4 13-18,-9-22 31,0 1 0,0 0 1,-1 0-1,1-1 1,-1 1-1,0 0 0,1 0 1,-1 0-1,-1 0 0,1 0 1,0 0-1,-1-1 1,1 1-1,-1 0 0,0 0 1,0-1-1,0 1 1,0 0-1,-1-1 0,1 1 1,-1-1-1,1 1 0,-1-1 1,0 0-1,0 0 1,0 0-1,0 0 0,0 0 1,0 0-1,-1-1 1,1 1-1,-1-1 0,1 1 1,-1-1-1,0 0 1,-2 1-32,-13 5 161,0-2 1,0 0-1,-1 0 1,0-2-1,-7 0-161,4 1 87,-103 10 313,75-9-464,1 1 1,1 3-1,-18 5 64,53-5-1783,13-9 1625,0 1 0,0-1 0,0 0 0,0 1 0,0-1 0,0 1 0,0-1 0,0 0-1,1 1 1,-1-1 0,0 0 0,0 1 0,0-1 0,0 0 0,0 1 0,1-1 0,-1 0 0,0 0 0,0 1 0,1-1 0,-1 0-1,0 0 1,0 1 0,1-1 0,-1 0 0,0 0 0,0 0 0,1 1 0,-1-1 0,0 0 0,1 0 0,-1 0 0,0 0 0,1 0 0,-1 0-1,1 0 1,-1 0 0,0 0 0,1 0 0,-1 0 0,0 0 0,1 0 0,-1 0 158,21 4-6407</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4"/>
    </inkml:context>
    <inkml:brush xml:id="br0">
      <inkml:brushProperty name="width" value="0.07938" units="cm"/>
      <inkml:brushProperty name="height" value="0.07938" units="cm"/>
      <inkml:brushProperty name="color" value="#E71224"/>
    </inkml:brush>
  </inkml:definitions>
  <inkml:trace contextRef="#ctx0" brushRef="#br0">230 1 4457,'0'0'4789,"0"0"-3293,0 0-888,0 0-141,0 0-249,-7 0-194,-4 0-94,0-1 103,0 1 1,0 0-1,0 1 0,0 0 0,0 0 0,0 1 0,0 0 0,0 1 0,1 0 0,-1 0 1,1 1-1,-9 5-33,13-6-22,0 1 0,0 0 0,0 1 0,1-1 0,0 1 1,0 0-1,-3 5 22,5-7-80,1 0 0,1 0 1,-1 0-1,1 1 0,-1-1 1,1 0-1,0 1 0,0-1 1,1 1-1,-1-1 0,1 1 0,0-1 1,0 1-1,0-1 0,1 3 80,0-4-50,-1 0-1,1 0 1,0 0-1,1 0 1,-1 0-1,0 0 1,1 0-1,-1 0 1,1 0-1,0 0 1,-1 0-1,1-1 1,0 1-1,0-1 1,0 1-1,1-1 1,-1 0-1,0 0 1,1 1 50,54 21 14,-38-16 12,-13-5 10,9 4 92,0 0 1,0 1-1,-1 1 0,12 7-128,-22-12 137,-1-1-1,0 1 1,1 0-1,-1 0 1,-1 0 0,1 0-1,0 1 1,-1-1 0,0 0-1,0 1 1,0 0-1,0-1 1,0 1 0,-1 0-1,0 0 1,0 0-1,0 0 1,-1 0 0,1 0-1,-1 1-136,0 5 410,1-8-375,-1 0 0,0 0 1,1 1-1,-1-1 0,0 0 1,0 1-1,-1-1 0,1 0 1,0 0-1,-1 1 0,0-1 1,1 0-1,-1 0 0,0 0 0,0 0 1,0 0-1,-1 0 0,1 0 1,-1 0-1,1 0 0,-1 0 1,1-1-1,-1 1 0,0-1 1,0 1-1,0-1 0,0 1 1,0-1-1,-1 0-35,-8 5-586,-1 0-1,0-1 1,-1-1 0,1 1 0,-1-2 0,0 0-1,0 0 1,-1-1 0,-1 0 586,6-4-2847,4-4-1928</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90"/>
    </inkml:context>
    <inkml:brush xml:id="br0">
      <inkml:brushProperty name="width" value="0.05" units="cm"/>
      <inkml:brushProperty name="height" value="0.05" units="cm"/>
      <inkml:brushProperty name="color" value="#004F8B"/>
    </inkml:brush>
  </inkml:definitions>
  <inkml:trace contextRef="#ctx0" brushRef="#br0">1 0 3849,'0'0'3666,"0"0"-2184,0 0-366,0 0 443,0 0-100,0 0-624,1 4-390,6 11-164,2 0 0,-1-1 0,2 1 0,0-2 0,0 1 0,9 6-281,17 25 589,321 409 2312,-261-347-2682,4-3-1,5-5 1,6-3-219,8 6 6,-54-45 6,2-2 0,2-3 1,30 14-13,157 86 214,-202-132-128,-54-21-98,1 1-1,0-1 1,-1 0 0,1 1 0,0-1 0,-1 0 0,1 0-1,-1 0 1,1 1 0,-1-1 0,0 0 0,1 0 0,-1 0-1,0 0 1,0 0 0,1 1 0,-1-1 0,0 0 0,0 0-1,0 0 1,0 0 0,0 0 0,0 0 0,0 0 0,-1 0-1,1 0 13,0-39 72,0 35-79,-1-30-16,-2 1 0,-1-1 0,-2 1 0,-1 0 0,-2 0 0,-2 1 0,0 0 0,-5-6 23,16 39 4,0 0-1,0 0 1,0 0 0,0 0 0,0 0 0,0 0 0,0 0 0,0 0 0,0 0 0,0 1 0,0-1-1,0 0 1,0 0 0,0 0 0,0 0 0,-1 0 0,1 0 0,0 0 0,0 0 0,0 0 0,0 0-1,0 1 1,0-1 0,0 0 0,0 0 0,0 0 0,0 0 0,0 0 0,0 0 0,0 0-1,0 0 1,-1 0 0,1 0 0,0 0 0,0 0 0,0 0 0,0 0 0,0 0 0,0 0 0,0 0-1,0 0 1,0 0 0,0 0 0,-1 0 0,1 0 0,0 0 0,0 0 0,0 0 0,0 0 0,0 0-1,0 0 1,0 0 0,0 0 0,0 0 0,-1 0 0,1 0 0,0 0 0,0 0 0,0 0 0,0 0-5,-2 17 33,1 21-57,7-16 36,1-1 1,1 1-1,0-1 1,2-1 0,1 0-1,0 0 1,2 0-12,7 16-3,-10-20 79,0-1-1,-2 2 0,0 0 1,0 0-1,-2 0 0,0 0 0,-1 1 1,-1 0-1,-1 0 0,0 1 1,-1 5-76,-3-20 57,1 1 1,-1 0-1,-1 0 1,1 0 0,-1-1-1,1 1 1,-1 0 0,-1-1-1,1 0 1,-1 1 0,1-1-1,-1 0 1,0 0 0,-1-1-1,1 1 1,-1-1-1,1 0 1,-1 1 0,-2 0-58,-14 10 223,0-1 0,-1 0 0,-11 4-223,17-9 89,-36 18 322,-1-2-1,-42 13-410,66-27-222,0-2 1,-1-2-1,1 0 0,-1-2 1,0-1-1,-14-1 222,40-2-367,0 0 0,0 0 0,0 0 0,0 0 1,0 0-1,0-1 0,0 0 0,0 1 0,0-1 0,0 0 1,0-1-1,0 1 0,1 0 0,-3-2 367,-14-13-6951</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514"/>
    </inkml:context>
    <inkml:brush xml:id="br0">
      <inkml:brushProperty name="width" value="0.1" units="cm"/>
      <inkml:brushProperty name="height" value="0.1" units="cm"/>
      <inkml:brushProperty name="color" value="#E71224"/>
      <inkml:brushProperty name="ignorePressure" value="1"/>
    </inkml:brush>
  </inkml:definitions>
  <inkml:trace contextRef="#ctx0" brushRef="#br0">0 48,'68'-1,"-13"0,0 1,104 17,-115-10,44 1,23 3,12-1,-87-9,-1 2,42 8,-28-4,1-2,-1-2,89-6,-29 0,51 5,168-4,-237-8,93-22,-49 8,-135 24,32-5,0-1,0-1,47-18,-52 12</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515"/>
    </inkml:context>
    <inkml:brush xml:id="br0">
      <inkml:brushProperty name="width" value="0.1" units="cm"/>
      <inkml:brushProperty name="height" value="0.1" units="cm"/>
      <inkml:brushProperty name="color" value="#E71224"/>
      <inkml:brushProperty name="ignorePressure" value="1"/>
    </inkml:brush>
  </inkml:definitions>
  <inkml:trace contextRef="#ctx0" brushRef="#br0">0 1,'763'0,"-741"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515"/>
    </inkml:context>
    <inkml:brush xml:id="br0">
      <inkml:brushProperty name="width" value="0.1" units="cm"/>
      <inkml:brushProperty name="height" value="0.1" units="cm"/>
      <inkml:brushProperty name="color" value="#E71224"/>
      <inkml:brushProperty name="ignorePressure" value="1"/>
    </inkml:brush>
  </inkml:definitions>
  <inkml:trace contextRef="#ctx0" brushRef="#br0">1 1,'1922'0,"-1866"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516"/>
    </inkml:context>
    <inkml:brush xml:id="br0">
      <inkml:brushProperty name="width" value="0.1" units="cm"/>
      <inkml:brushProperty name="height" value="0.1" units="cm"/>
      <inkml:brushProperty name="color" value="#E71224"/>
      <inkml:brushProperty name="ignorePressure" value="1"/>
    </inkml:brush>
  </inkml:definitions>
  <inkml:trace contextRef="#ctx0" brushRef="#br0">0 1,'994'0,"-965"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517"/>
    </inkml:context>
    <inkml:brush xml:id="br0">
      <inkml:brushProperty name="width" value="0.1" units="cm"/>
      <inkml:brushProperty name="height" value="0.1" units="cm"/>
      <inkml:brushProperty name="color" value="#E71224"/>
      <inkml:brushProperty name="ignorePressure" value="1"/>
    </inkml:brush>
  </inkml:definitions>
  <inkml:trace contextRef="#ctx0" brushRef="#br0">2 1,'6386'0,"-6200"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18"/>
    </inkml:context>
    <inkml:brush xml:id="br0">
      <inkml:brushProperty name="width" value="0.0441" units="cm"/>
      <inkml:brushProperty name="height" value="0.0441" units="cm"/>
      <inkml:brushProperty name="color" value="#E71224"/>
    </inkml:brush>
  </inkml:definitions>
  <inkml:trace contextRef="#ctx0" brushRef="#br0">0 48 11498,'0'0'803,"0"0"-607,0 0-84,0 0-81,0 0-142,0 1 54,0-1 165,2 0 69,-1 0-1,1 0 1,-1 0-1,1 0 1,-1-1 0,0 1-1,1-1 1,-1 1-1,0-1 1,1 1 0,1-2-1,6-4-147,0 0 0,0 1 1,0 1-1,1-1 0,-1 2 0,1-1 0,0 1 0,0 1 1,1 0-1,-1 0 0,0 1 0,0 0 0,1 1 0,12 1 1,-20 0-9,1 0 1,-1 0 0,1 0-1,-1 0 1,0 0 0,1 1 0,-1-1-1,0 1 1,0 0 0,0 0-1,-1 0 1,1 1 0,0-1-1,-1 1 1,1-1 0,2 6 0,6 6 59,-1 1 1,8 17-1,-9-18-70,30 70 185,-72-86 369,9-3-494,1 2 0,-1 0 0,0 1 0,-34 3 0,54-1-51,1 1-1,0-1 1,0 1-1,0 0 1,0 0 0,0 0-1,0 1 1,0-1-1,0 1 1,1 0 0,-1-1-1,1 1 1,-1 0-1,1 1 1,0-1 0,-1 0-1,1 1 1,-2 3-1,1-2-21,1 0 0,0 0-1,0 0 1,0 0 0,0 1-1,1-1 1,-1 1-1,1-1 1,0 1 0,0-1-1,1 8 1,-1-4 9,1-5-25,0 1 0,0 0 0,0 0 0,1-1 0,-1 1 0,1 0 0,1 5 0,-1-8 11,0 1 0,0-1 0,0 0 0,0 0 0,0 1 0,0-1 0,1 0 0,-1 0 0,0 0 1,0 0-1,1 0 0,-1-1 0,1 1 0,-1 0 0,1-1 0,-1 1 0,1-1 0,-1 1 0,1-1 0,2 1 0,13 1-209,-1 0 0,1-1 0,-1-1 0,1 0 0,19-4 0,-31 3-76,-1 0-1,1 0 1,-1-1-1,0 0 1,6-3 0,9-6-3817,-13 8 1560,-2 0-3721</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19"/>
    </inkml:context>
    <inkml:brush xml:id="br0">
      <inkml:brushProperty name="width" value="0.0441" units="cm"/>
      <inkml:brushProperty name="height" value="0.0441" units="cm"/>
      <inkml:brushProperty name="color" value="#E71224"/>
    </inkml:brush>
  </inkml:definitions>
  <inkml:trace contextRef="#ctx0" brushRef="#br0">193 0 3849,'0'0'5753,"0"0"-4073,0 0-1098,0 0 203,0 0-119,0 0-299,-11 3-238,8-2-123,-9 1 3,0 1 0,1 0 0,0 1 0,0 0 0,0 1 0,-10 6 0,12-5 188,1 0 0,0 0 0,0 0-1,1 1 1,0 0 0,-10 13 0,14-15-148,0 0 1,0 0-1,0 0 0,1 1 1,-1-1-1,1 1 1,1-1-1,-1 1 1,1 0-1,0-1 1,0 1-1,0 9 1,1-12-52,0 1 0,0-1 0,0 0 0,1 0 0,-1 1 0,1-1 0,0 0 0,0 0 1,0 0-1,0 0 0,1 0 0,-1 0 0,1 0 0,0 0 0,0 0 0,0-1 0,0 1 0,0-1 0,0 1 1,1-1-1,-1 0 0,1 0 0,0 0 0,-1 0 0,1-1 0,0 1 0,0-1 0,0 1 0,5 0 0,0 1-124,0 0-1,0-1 1,0 0-1,0 0 0,0-1 1,12 1-1,-15-2-282,0 0 0,-1-1-1,1 1 1,-1-1 0,1 0 0,-1 0-1,1 0 1,-1-1 0,0 0 0,0 0-1,0 0 1,8-4 0,2-6-2174,-1 3-1462</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20"/>
    </inkml:context>
    <inkml:brush xml:id="br0">
      <inkml:brushProperty name="width" value="0.0441" units="cm"/>
      <inkml:brushProperty name="height" value="0.0441" units="cm"/>
      <inkml:brushProperty name="color" value="#E71224"/>
    </inkml:brush>
  </inkml:definitions>
  <inkml:trace contextRef="#ctx0" brushRef="#br0">0 0 7642,'0'0'1272,"0"0"-760,0 0-380,0 0 17,0 0-13,0 0-32,8 16 34,55 97 1398,-60-106-917,1 0-1,-1 0 0,0 0 1,0 0-1,2 11 0,-6-24-593,1 1 1,-1-1-1,0 1 0,-1 0 0,1-1 0,-4-7 0,2 8-29,1-1-1,0 1 0,1-1 0,0 0 0,-1 0 1,1-9-1,1 13-6,0-1 0,0 1 0,0 0-1,0 0 1,0 0 0,1-1 0,-1 1 0,1 0 0,-1 0-1,1 0 1,0 0 0,0 0 0,0 0 0,0 0 0,3-3 0,-2 3-20,0 0 1,1 1-1,-1-1 1,1 1 0,-1-1-1,1 1 1,0 0-1,-1 0 1,1 0 0,0 1-1,0-1 1,3 0 0,45-4-2249,-47 4 1666,0 1 1,0 0-1,0 1 1,-1-1-1,1 1 0,0-1 1,0 1-1,0 0 1,-1 1-1,7 2 1,-1 1-3664</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21"/>
    </inkml:context>
    <inkml:brush xml:id="br0">
      <inkml:brushProperty name="width" value="0.0441" units="cm"/>
      <inkml:brushProperty name="height" value="0.0441" units="cm"/>
      <inkml:brushProperty name="color" value="#E71224"/>
    </inkml:brush>
  </inkml:definitions>
  <inkml:trace contextRef="#ctx0" brushRef="#br0">119 79 8330,'0'0'1465,"0"0"-884,0 0-276,0 0 162,0 0 18,0 0-129,-6-11-38,-19-31-65,24 41-241,1 0 0,0 0 1,-1 1-1,1-1 0,-1 0 0,0 1 1,1-1-1,-1 1 0,0-1 0,1 1 1,-1-1-1,0 1 0,1-1 0,-1 1 0,0 0 1,0-1-1,0 1 0,1 0 0,-1 0 1,0-1-1,0 1 0,0 0 0,1 0 1,-1 0-1,0 0 0,0 0 0,0 0 0,0 0 1,0 1-1,1-1 0,-1 0 0,0 0 1,0 1-1,0-1 0,0 1 0,-2 0 19,1 1 0,0 0 0,-1 0 0,1 0 0,0 0 0,-3 5 0,3-5-24,-2 4 20,-1 0 1,1 1-1,0 0 0,0 0 0,1 0 1,0 0-1,0 1 0,1-1 0,0 1 0,0 0 1,1-1-1,0 1 0,0 0 0,1 0 1,0 0-1,0 0 0,1-1 0,1 9 1,-1-14-18,-1 0 0,1 0 0,0 0 0,0 0 0,0 0 0,0-1 0,0 1 0,0 0 0,0-1 0,1 1 0,-1-1 0,1 1 0,-1-1 0,1 0 0,-1 0 0,1 1 0,0-1 0,0 0 0,0 0 0,-1-1 0,1 1 0,0 0 0,0-1 0,0 1 0,0-1 0,0 0 0,0 1 0,0-1 0,0 0 0,3 0 0,-1 0 19,-1 0 0,1 0-1,0-1 1,0 1 0,0-1 0,0 0-1,-1 0 1,1 0 0,0 0-1,-1-1 1,1 1 0,-1-1 0,0 0-1,7-4 1,-6 1 23,0 0 1,0 0-1,0 0 0,0 0 0,-1-1 1,0 1-1,0-1 0,-1 0 0,1 0 0,1-9 1,-1 2-43,-1-1 0,0 0 1,-1-23-1,-1 35-69,0-1-1,0 1 0,0 0 0,0 0 1,-1 0-1,1 0 0,0 0 1,-1 0-1,0 0 0,1 0 1,-1 1-1,0-1 0,0 0 1,0 0-1,0 0 0,0 1 1,-1-1-1,1 1 0,0-1 1,-1 1-1,-2-3 0,1 3-282,-1-1 0,0 0 0,1 1-1,-1-1 1,0 1 0,0 0 0,0 1 0,0-1 0,1 1-1,-8-1 1,-11 1-3767</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5"/>
    </inkml:context>
    <inkml:brush xml:id="br0">
      <inkml:brushProperty name="width" value="0.07938" units="cm"/>
      <inkml:brushProperty name="height" value="0.07938" units="cm"/>
      <inkml:brushProperty name="color" value="#E71224"/>
    </inkml:brush>
  </inkml:definitions>
  <inkml:trace contextRef="#ctx0" brushRef="#br0">1 0 7402,'0'0'2008,"0"0"-1037,0 0-435,0 0-111,0 0-187,0 29-34,4 93 163,-3-85-46,3 0 0,1-1 0,2 0 0,2 0 0,2 0 1,3 4-322,-11-32 13,0-1-1,0 0 1,1 0 0,0 0 0,3 3-13,12 8-1265,-18-17 912,1-1-1,0 1 1,-1 0 0,1 0-1,0-1 1,-1 1-1,1-1 1,0 1 0,0-1-1,-1 0 1,1 1-1,0-1 1,0 0 353,-1-1-3087,-1-4-1789</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22"/>
    </inkml:context>
    <inkml:brush xml:id="br0">
      <inkml:brushProperty name="width" value="0.0441" units="cm"/>
      <inkml:brushProperty name="height" value="0.0441" units="cm"/>
      <inkml:brushProperty name="color" value="#E71224"/>
    </inkml:brush>
  </inkml:definitions>
  <inkml:trace contextRef="#ctx0" brushRef="#br0">0 16 6977,'0'0'3959,"0"0"-2919,0 0-703,0 0-13,0 0-180,9 17-77,43 81-23,-50-133 826,1-15-871,-2 47-5,-1 1 0,1-1 0,-1 1 0,1-1 0,0 1 0,0-1 0,0 1 0,0 0 0,0-1 0,0 1 0,1 0 0,-1 0 0,1 0 0,0 0 0,-1 0 1,1 0-1,3-2 0,-4 4 24,-1-1 1,1 1 0,0 0 0,0-1 0,0 1-1,-1 0 1,1 0 0,0 0 0,0-1 0,0 1 0,0 0-1,0 0 1,0 0 0,-1 0 0,1 0 0,0 1-1,0-1 1,0 0 0,0 0 0,-1 0 0,1 1-1,0-1 1,0 1 0,0-1 0,-1 0 0,2 2-1,0-1 49,0 1 0,-1 0 0,1 0 0,0 0 0,-1 0 0,1 0 0,-1 1 0,0-1 0,1 3 0,3 6 95,-2 1-1,5 21 0,-8-32-177,2 5-153,5 24-923,2-12-2541,-3-12-283</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23"/>
    </inkml:context>
    <inkml:brush xml:id="br0">
      <inkml:brushProperty name="width" value="0.0441" units="cm"/>
      <inkml:brushProperty name="height" value="0.0441" units="cm"/>
      <inkml:brushProperty name="color" value="#E71224"/>
    </inkml:brush>
  </inkml:definitions>
  <inkml:trace contextRef="#ctx0" brushRef="#br0">2 243 6889,'0'0'1229,"0"0"-509,0 0-192,0 0-132,0 0-208,0-16-153,-2-74 111,2 90 132,0 0 62,2 22 1243,-1-19-1557,1 0 0,0 0 0,0 0 1,0 0-1,0 0 0,0-1 0,0 1 0,1-1 1,-1 0-1,1 0 0,0 0 0,-1 0 0,1 0 0,0 0 1,0-1-1,1 1 0,2 0 0,-4-1-36,0-1 0,0 1-1,0-1 1,0 0 0,0 1 0,-1-1 0,1 0-1,0 0 1,0 0 0,0-1 0,0 1-1,0 0 1,0-1 0,-1 1 0,1-1 0,0 0-1,0 1 1,-1-1 0,1 0 0,0 0-1,-1 0 1,1 0 0,-1-1 0,1 1 0,-1 0-1,0 0 1,1-1 0,-1 1 0,0-1-1,0 0 1,2-2 0,5-17 65,0 0 1,-1 0-1,-1-1 1,-1 0-1,4-42 1,-8 61-54,2-2-115,1 10 42,2 10 47,33 104 665,7 29 360,-39-118-684,-1-1-1,-1 1 1,1 36-1,-6-47-80,1 0 208,-3 29 1,2-47-425,0 0-1,0 0 1,0 1 0,0-1 0,-1 0 0,1 0 0,0 0 0,-1 0 0,1 0 0,-1 0 0,0 0 0,1 0 0,-1 0 0,1-1 0,-1 1 0,0 0 0,0 0 0,0-1 0,1 1 0,-1 0 0,0-1 0,-2 2 0,1-1-5,0-1 0,0 1 0,0-1 0,0 1-1,0-1 1,0 0 0,0 0 0,-1 0 0,1 0 0,-4 0 0,0-1-33,0-1-1,0 1 0,1-1 0,-1 0 0,0 0 1,1-1-1,-8-4 0,8 4-13,1-1 0,0 1-1,0 0 1,0-1 0,1 0 0,-1 0-1,1 0 1,0 0 0,0-1 0,0 1 0,1-1-1,0 0 1,-3-6 0,4 8 4,0 0 0,1 0 0,0-1 0,-1 1 0,1 0 0,0 0 0,0 0 0,1 0 0,-1 0 0,1 0 0,-1 0 0,1 0 0,0 0 0,0 0 0,1 0 0,-1 1 0,0-1 0,1 0 0,0 1 0,-1-1 0,1 1 0,0-1 0,0 1 0,4-3 0,36-34-1186,38-37-4711,-62 55 1779</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24"/>
    </inkml:context>
    <inkml:brush xml:id="br0">
      <inkml:brushProperty name="width" value="0.0441" units="cm"/>
      <inkml:brushProperty name="height" value="0.0441" units="cm"/>
      <inkml:brushProperty name="color" value="#E71224"/>
    </inkml:brush>
  </inkml:definitions>
  <inkml:trace contextRef="#ctx0" brushRef="#br0">0 33 8786,'0'0'1890,"0"0"-876,0 0-373,0 0-27,0 0-291,0 0-159,7 13 15,-6-11-165,9 17 239,0 0 0,-2 1-1,0 0 1,6 23 0,-8-25 196,-6-18-447,0 0-1,0 0 0,0 0 0,0 0 0,0 0 1,1 0-1,-1 0 0,0 0 0,0 0 0,0 0 1,0 0-1,0-1 0,1 1 0,-1 0 0,0 0 1,0 0-1,0 0 0,0 0 0,0 0 0,0 0 1,1 0-1,-1 0 0,0 0 0,0 0 0,0-1 1,0 1-1,0 0 0,0 0 0,0 0 0,0 0 1,0 0-1,1 0 0,-1-1 0,0 1 0,0 0 1,0 0-1,0 0 0,0 0 0,0 0 1,0-1-1,0 1 0,0 0 0,0 0 0,0 0 1,0 0-1,0 0 0,0-1 0,0 1 0,0 0 1,4-36-230,-3 25 278,1-4-52,0 0 1,0 0 0,2 0 0,0 0 0,0 1 0,11-22 0,-15 36-2,0-1 0,0 1 0,0-1 0,1 1 0,-1-1 1,0 1-1,0-1 0,1 1 0,-1 0 0,0-1 0,0 1 1,1-1-1,-1 1 0,0 0 0,1-1 0,-1 1 0,1 0 1,-1-1-1,0 1 0,1 0 0,-1 0 0,1 0 0,-1-1 1,1 1-1,-1 0 0,1 0 0,-1 0 0,1 0 0,-1 0 1,1 0-1,-1 0 0,1 0 0,-1 0 0,1 0 1,-1 0-1,1 0 0,-1 0 0,1 0 0,-1 0 0,1 0 1,-1 1-1,1-1 0,-1 0 0,0 0 0,1 1 0,-1-1 1,1 0-1,-1 1 0,0-1 0,1 0 0,-1 1 0,0-1 1,1 0-1,-1 1 0,0-1 0,0 1 0,1-1 0,-1 1 1,0-1-1,0 1 0,14 31 391,-13-29-361,14 49 361,-15-52-388,0 0 0,0 0-1,0 0 1,0 0-1,0 0 1,0 0-1,0 0 1,0 0 0,0 1-1,0-1 1,0 0-1,0 0 1,0 0-1,0 0 1,0 0 0,0 0-1,0 0 1,0 0-1,0 0 1,0 0-1,0 0 1,0 0 0,0 0-1,0 0 1,0 0-1,0 0 1,0 0-1,1 0 1,-1 0-1,0 0 1,0 0 0,0 0-1,0 0 1,0 0-1,0 0 1,0 0-1,0 0 1,0 0 0,0 0-1,0 0 1,0 0-1,0 0 1,0 0-1,1 0 1,-1 0 0,0 0-1,0 0 1,0 0-1,0 0 1,0 0-1,0 0 1,0 0 0,0 0-1,0 0 1,0 0-1,0 0 1,0 0-1,0 0 1,0 0 0,0 0-1,0 0 1,0 0-1,0 0 1,0 0-1,0-1 1,1 1 0,-1 0-1,4-7-61,4-10-17,-5 10 69,0 0 0,1 0 1,0 0-1,0 1 0,0 0 1,11-11-1,-15 15 20,1 1 0,1 0 0,-1 0 1,0 0-1,0 0 0,0 0 0,0 1 0,1-1 0,-1 0 1,0 0-1,1 1 0,-1-1 0,0 1 0,1-1 0,-1 1 1,1 0-1,-1-1 0,1 1 0,-1 0 0,1 0 0,-1 0 1,1 0-1,-1 0 0,1 1 0,-1-1 0,1 0 0,-1 1 1,1-1-1,-1 1 0,0-1 0,1 1 0,-1 0 0,0-1 1,1 1-1,-1 0 0,0 0 0,0 0 0,0 0 0,0 0 1,0 0-1,0 0 0,1 2 0,7 9 80,-1 0 1,0 1-1,-1 0 0,-1 0 0,8 20 1,-11-27-853,2-6-3558,-3 0-437</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25"/>
    </inkml:context>
    <inkml:brush xml:id="br0">
      <inkml:brushProperty name="width" value="0.0441" units="cm"/>
      <inkml:brushProperty name="height" value="0.0441" units="cm"/>
      <inkml:brushProperty name="color" value="#E71224"/>
    </inkml:brush>
  </inkml:definitions>
  <inkml:trace contextRef="#ctx0" brushRef="#br0">94 0 10242,'0'0'2071,"0"0"-590,0 0-404,0 0-519,0 0-446,-10 7-194,2-4 64,1 1 11,0-1 0,0 1 0,1 0 0,-1 1 0,1 0 0,0 0 0,0 0 0,0 1 0,-8 11 0,13-16 2,1 0 0,-1 0-1,1 0 1,0 0-1,-1 0 1,1 0 0,0 0-1,0 0 1,0 0-1,-1 0 1,1 0 0,0 0-1,1 0 1,-1 0-1,0 0 1,0 0 0,0 0-1,1 0 1,-1 0-1,0 0 1,1 0 0,-1 0-1,1 0 1,-1 0 0,1 0-1,0 0 1,-1 0-1,1-1 1,0 1 0,0 0-1,0 0 1,5 4 23,-1-1 0,0-1 0,1 1 1,6 3-1,3 1 142,-11-6 5,0 0 1,-1 1-1,1 0 0,-1 0 1,1 0-1,-1 0 1,0 0-1,0 1 0,0-1 1,0 1-1,-1 0 0,0 0 1,0 0-1,0 0 0,0 0 1,0 0-1,-1 1 1,0-1-1,0 1 0,0-1 1,0 1-1,-1-1 0,1 1 1,-2 8-1,1-9-19,0 0-1,-1 0 1,1 0-1,-1 0 1,0 0-1,0-1 1,-1 1-1,1 0 1,-1 0 0,0-1-1,0 1 1,0-1-1,0 0 1,0 0-1,-5 5 1,-21 15-1442,-6-8-5549,18-11-171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526"/>
    </inkml:context>
    <inkml:brush xml:id="br0">
      <inkml:brushProperty name="width" value="0.1" units="cm"/>
      <inkml:brushProperty name="height" value="0.1" units="cm"/>
      <inkml:brushProperty name="color" value="#E71224"/>
      <inkml:brushProperty name="ignorePressure" value="1"/>
    </inkml:brush>
  </inkml:definitions>
  <inkml:trace contextRef="#ctx0" brushRef="#br0">0 1,'493'0,"-478"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27"/>
    </inkml:context>
    <inkml:brush xml:id="br0">
      <inkml:brushProperty name="width" value="0.05292" units="cm"/>
      <inkml:brushProperty name="height" value="0.05292" units="cm"/>
      <inkml:brushProperty name="color" value="#E71224"/>
    </inkml:brush>
  </inkml:definitions>
  <inkml:trace contextRef="#ctx0" brushRef="#br0">0 57 11266,'0'0'1517,"0"0"-1197,19-2-974,-16 3 654,-1 1-1,1 0 1,-1 0-1,1 0 1,-1 0-1,0 1 1,1-1-1,-1 0 1,0 1-1,-1 0 1,1-1-1,0 1 1,-1 0-1,0 0 1,1 0 0,0 4-1,2 9 182,0-1 0,2 17-1,-2-13 101,1 20 69,-3-27-293,0 1 0,0-1 0,1 1 0,5 11 0,-1-15-221,-2-14 296,1-20 237,-5 22-386,5-23 13,1 1 0,2 0 0,0 1 0,1 0 0,18-30 0,-27 53-8,-1 0 0,1-1 0,-1 1-1,1 0 1,0 0 0,0 0 0,0 0 0,0 0 0,-1 0 0,1 0-1,1 0 1,-1 0 0,0 0 0,0 0 0,0 0 0,0 1-1,1-1 1,-1 1 0,0-1 0,0 1 0,1-1 0,-1 1 0,1 0-1,1-1 1,-2 2 3,1-1-1,-1 1 1,0-1-1,1 1 1,-1 0-1,0 0 0,1 0 1,-1 0-1,0 0 1,0 0-1,0 0 1,0 0-1,0 0 1,0 0-1,0 0 1,0 1-1,-1-1 1,1 0-1,0 1 0,0 2 1,0-2 5,0 0 1,0 0-1,0 0 1,0 0-1,0 0 0,1 0 1,-1 0-1,0-1 1,3 3-1,4-4-21,1-11 14,-7 8 11,3-10-23,1 1 0,0 1 0,1-1 0,10-12 1,-15 22 17,0-1 0,0 1 0,0-1 1,1 1-1,0 0 0,-1 0 1,1 0-1,0 0 0,0 0 0,0 1 1,0 0-1,0-1 0,0 1 1,0 0-1,0 0 0,1 1 0,-1-1 1,0 1-1,1-1 0,-1 1 1,0 0-1,5 1 0,-5 0 16,-1 0-1,0 0 1,1 0 0,-1 0-1,0 0 1,0 1-1,0-1 1,0 1 0,0-1-1,0 1 1,0 0-1,0 0 1,-1 0-1,1 0 1,-1 0 0,0 0-1,1 0 1,-1 1-1,0-1 1,0 0 0,0 1-1,0 2 1,3 7 126,0 1 1,-1-1-1,1 14 1,4 55-822,-8-79-1178,0-2-1218,0 0-1691</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28"/>
    </inkml:context>
    <inkml:brush xml:id="br0">
      <inkml:brushProperty name="width" value="0.05292" units="cm"/>
      <inkml:brushProperty name="height" value="0.05292" units="cm"/>
      <inkml:brushProperty name="color" value="#E71224"/>
    </inkml:brush>
  </inkml:definitions>
  <inkml:trace contextRef="#ctx0" brushRef="#br0">0 0 4049,'0'0'6593,"0"0"-5857,0 0-568,0 0 257,0 0 47,0 108-296,0-86-176,0-1 0,0-5-328,0-3-289,0-4-399,0-5-400,0-4-448,0-7-1217,0-8-1216</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29"/>
    </inkml:context>
    <inkml:brush xml:id="br0">
      <inkml:brushProperty name="width" value="0.05292" units="cm"/>
      <inkml:brushProperty name="height" value="0.05292" units="cm"/>
      <inkml:brushProperty name="color" value="#E71224"/>
    </inkml:brush>
  </inkml:definitions>
  <inkml:trace contextRef="#ctx0" brushRef="#br0">0 4 6425,'0'0'4969,"0"0"-4216,0 0-553,0 0-96,0 0-104,0 0-1097,0 0-1695,12-4-257,-1 10-1592</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30"/>
    </inkml:context>
    <inkml:brush xml:id="br0">
      <inkml:brushProperty name="width" value="0.05292" units="cm"/>
      <inkml:brushProperty name="height" value="0.05292" units="cm"/>
      <inkml:brushProperty name="color" value="#E71224"/>
    </inkml:brush>
  </inkml:definitions>
  <inkml:trace contextRef="#ctx0" brushRef="#br0">124 0 4785,'0'0'1815,"0"0"-911,0 0-208,0 0 245,0 0 124,0 0-258,0 0-163,-9 0 186,2 0-747,-1 1 0,1-1 1,0 1-1,-1 1 0,1-1 0,0 1 1,0 1-1,0-1 0,0 1 1,1 0-1,-1 1 0,-11 7 1,17-10-107,0 0 1,0-1 0,0 1 0,1 0-1,-1 0 1,0 0 0,0-1 0,1 1 0,-1 0-1,1 0 1,-1 0 0,1 0 0,-1 0-1,1 0 1,-1 0 0,1 0 0,0 1-1,0-1 1,-1 0 0,1 0 0,0 0 0,0 0-1,0 0 1,0 0 0,1 0 0,-1 1-1,1 1 1,-1-2-11,1 1 0,0 0 0,0 0 0,0-1 0,0 1 0,0-1-1,0 1 1,0-1 0,1 1 0,-1-1 0,0 0 0,1 1 0,0-1 0,2 2 0,32 13 15,-27-13 35,-1 1-1,1 0 0,-1 0 0,0 1 0,11 8 1,-18-12 25,0 0 1,0 0-1,0 1 0,0-1 1,0 0-1,0 0 1,-1 0-1,1 0 1,0 1-1,-1-1 0,1 0 1,-1 1-1,0-1 1,1 0-1,-1 1 1,0-1-1,0 1 0,0-1 1,0 0-1,0 1 1,0-1-1,0 1 1,0-1-1,0 0 0,-1 1 1,1-1-1,-2 3 1,1-1 103,-1 1 0,0-1 0,0 1 0,0-1 0,-1 0 0,1 1 0,-1-2 0,-4 5 0,-33 22 153,1-2-3156,39-26 1268,0-1-973,0 0-1657</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31"/>
    </inkml:context>
    <inkml:brush xml:id="br0">
      <inkml:brushProperty name="width" value="0.05292" units="cm"/>
      <inkml:brushProperty name="height" value="0.05292" units="cm"/>
      <inkml:brushProperty name="color" value="#E71224"/>
    </inkml:brush>
  </inkml:definitions>
  <inkml:trace contextRef="#ctx0" brushRef="#br0">131 3 5401,'0'0'4513,"0"0"-3195,0 0-990,0 0 21,0 0-198,-19-3-344,12 6 374,0 0 1,0 1 0,1 0-1,-1 0 1,1 1 0,0 0-1,0 0 1,-8 9 0,13-13-227,0 0 0,1 0 0,-1 0 0,1 0 0,-1 1 0,1-1 0,0 0 0,-1 0 0,1 0 0,0 1 0,0-1 0,0 0 0,0 0 0,0 1 0,0-1 0,0 0 0,0 0 0,1 1 0,-1-1 0,1 2 0,12 21-268,-8-17 417,-2-4-10,-1-1 0,1 1-1,-1 0 1,0 0 0,0 0-1,0 0 1,0 0 0,-1 0-1,1 0 1,-1 1 0,0-1-1,0 1 1,0-1 0,0 1 0,-1-1-1,1 1 1,-1-1 0,0 5-1,-1-7-47,1 0 0,0-1 0,0 1 0,-1 0-1,1 0 1,-1 0 0,1-1 0,-1 1 0,1 0-1,-1 0 1,0-1 0,1 1 0,-1-1 0,0 1-1,1-1 1,-1 1 0,0-1 0,0 1 0,1-1-1,-1 1 1,0-1 0,0 0 0,-1 1 0,-26 4-240,5-1-2327,8 9-1726,9-6 566</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6"/>
    </inkml:context>
    <inkml:brush xml:id="br0">
      <inkml:brushProperty name="width" value="0.07938" units="cm"/>
      <inkml:brushProperty name="height" value="0.07938" units="cm"/>
      <inkml:brushProperty name="color" value="#E71224"/>
    </inkml:brush>
  </inkml:definitions>
  <inkml:trace contextRef="#ctx0" brushRef="#br0">0 75 232,'0'0'6036,"0"0"-4269,0 0-1204,0 0 256,31 0 206,105 0-86,-83-2-403,-1-2 0,0-1-1,-1-3 1,39-11-536,53-7 190,-125 23-278,58-4-4841,-64 7 441</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32"/>
    </inkml:context>
    <inkml:brush xml:id="br0">
      <inkml:brushProperty name="width" value="0.05292" units="cm"/>
      <inkml:brushProperty name="height" value="0.05292" units="cm"/>
      <inkml:brushProperty name="color" value="#E71224"/>
    </inkml:brush>
  </inkml:definitions>
  <inkml:trace contextRef="#ctx0" brushRef="#br0">70 362 6161,'0'0'1858,"0"0"-806,0 0-118,0 0-59,0 0-409,0 0-279,-1-14-42,0-4-92,1 6 4,-1 0 1,0 0 0,-1 1 0,0-1-1,-5-15 1,-1 3 498,1-1 0,1 1 0,1-1 0,-3-51 0,8 74-560,0-1 0,0 0 0,1 1 0,0-1 0,-1 1 1,1-1-1,0 1 0,0-1 0,0 1 0,0-1 1,1 1-1,-1 0 0,1 0 0,-1-1 0,1 1 1,0 1-1,0-1 0,0 0 0,0 0 0,0 1 0,0-1 1,1 1-1,2-2 0,1 0-17,0 0 0,-1 1 1,1 0-1,0 0 0,0 1 0,0 0 0,0 0 1,13-1-1,-18 3 21,0-1 0,-1 1 0,1-1 0,0 1 0,0-1 0,-1 1 0,1-1 0,0 1 0,-1 0-1,1-1 1,-1 1 0,1 0 0,-1 0 0,1 0 0,-1-1 0,0 1 0,1 0 0,-1 0 0,0 0 0,1 0 0,-1 0 0,0-1 0,0 1 0,0 0 0,0 0 0,0 0 0,0 0 0,0 1 0,0 2 64,0 0-1,0 0 1,0 0 0,-1-1-1,-1 9 1,1-10-52,0 1 0,-1-1 0,1 0-1,-1 1 1,1-1 0,-1 0 0,0 0-1,0 0 1,0 0 0,0 0 0,0-1-1,0 1 1,-1 0 0,1-1 0,0 0-1,-1 0 1,-3 2 0,-5 0-255,1 0 0,-1 0 0,-13 0 0,-12 4-2100,35-5-2237,1-2-76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33"/>
    </inkml:context>
    <inkml:brush xml:id="br0">
      <inkml:brushProperty name="width" value="0.05292" units="cm"/>
      <inkml:brushProperty name="height" value="0.05292" units="cm"/>
      <inkml:brushProperty name="color" value="#E71224"/>
    </inkml:brush>
  </inkml:definitions>
  <inkml:trace contextRef="#ctx0" brushRef="#br0">0 140 9154,'0'0'1154,"0"0"-784,0 0-256,0 0 43,0 0 36,0 0-85,17-9-76,54-33 23,-69 41-17,0 0-1,0 0 1,-1 0-1,1 0 1,0-1-1,0 1 1,-1 0-1,1-1 1,-1 0-1,1 1 1,-1-1-1,0 0 1,0 0-1,0 0 1,0 0-1,0 0 1,0 0 0,0 0-1,-1 0 1,1 0-1,-1 0 1,1 0-1,-1 0 1,0 0-1,0-1 1,0 1-1,0 0 1,0 0-1,0 0 1,-1 0-1,1-1 1,-2-3-1,1 4 7,1 1-20,-1-1 0,0 1 1,0-1-1,0 1 0,0 0 1,-1-1-1,1 1 0,0 0 1,0 0-1,-1 0 0,1 0 1,-1 0-1,1 0 0,-1 0 1,1 1-1,-1-1 0,1 0 1,-1 1-1,0-1 0,1 1 1,-1 0-1,0-1 0,-2 1 0,1 0 12,1 0-1,0-1 0,0 1 0,-1 0 0,1 0 0,0 0 0,-1 1 0,1-1 0,0 1 0,0-1 0,-1 1 0,1 0 0,0-1 0,0 1 0,0 0 0,0 1 1,-3 1-1,1 2-45,1 0 1,-1 0 0,1 0 0,0 1 0,1-1-1,-1 1 1,1 0 0,0-1 0,0 1 0,1 0 0,-2 10-1,2 0 80,0 0-1,1 0 0,2 20 0,-2-32-107,1-1 1,0 1-1,0 0 0,0-1 0,0 1 0,1-1 0,-1 1 0,1-1 0,0 0 1,0 1-1,0-1 0,1 0 0,-1 0 0,1-1 0,-1 1 0,1 0 0,0-1 1,0 0-1,0 0 0,0 0 0,0 0 0,1 0 0,-1 0 0,1-1 0,-1 0 1,8 2-1,-6-2-286,-1 0 1,1 0 0,-1 0-1,1-1 1,-1 0 0,1 0-1,-1 0 1,1 0-1,-1-1 1,1 0 0,-1 0-1,1 0 1,-1 0 0,0-1-1,1 0 1,-1 0 0,0 0-1,0 0 1,0 0 0,-1-1-1,6-5 1,9-13-3997</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34"/>
    </inkml:context>
    <inkml:brush xml:id="br0">
      <inkml:brushProperty name="width" value="0.05292" units="cm"/>
      <inkml:brushProperty name="height" value="0.05292" units="cm"/>
      <inkml:brushProperty name="color" value="#E71224"/>
    </inkml:brush>
  </inkml:definitions>
  <inkml:trace contextRef="#ctx0" brushRef="#br0">0 0 12227,'0'0'1984,"0"0"-1632,0 0-176,0 0 240,6 114-168,1-72-232,-1 6-8,-2 0 48,0-2-56,-4-2-96,0-6-184,0-3-168,0-5-192,0-7-576,0-10-337,0-5-511,0-8-2001</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35"/>
    </inkml:context>
    <inkml:brush xml:id="br0">
      <inkml:brushProperty name="width" value="0.05292" units="cm"/>
      <inkml:brushProperty name="height" value="0.05292" units="cm"/>
      <inkml:brushProperty name="color" value="#E71224"/>
    </inkml:brush>
  </inkml:definitions>
  <inkml:trace contextRef="#ctx0" brushRef="#br0">1 1 11466,'0'0'1800,"0"0"-1039,0 0-424,0 0-119,0 0-116,0 20-79,1 125 78,0 113 2147,-1-137-6009,0-120 939,0-2-699,0-5-1615</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36"/>
    </inkml:context>
    <inkml:brush xml:id="br0">
      <inkml:brushProperty name="width" value="0.05292" units="cm"/>
      <inkml:brushProperty name="height" value="0.05292" units="cm"/>
      <inkml:brushProperty name="color" value="#E71224"/>
    </inkml:brush>
  </inkml:definitions>
  <inkml:trace contextRef="#ctx0" brushRef="#br0">0 219 7162,'0'0'5201,"0"0"-3945,0 0-832,0 0 56,0 0-96,0 0-304,6 121-32,-2-93-48,-2-3-400,-2-6-584,0-4-664,0-8-673,0-3-608,0-4-3760</inkml:trace>
  <inkml:trace contextRef="#ctx0" brushRef="#br0" timeOffset="1">74 1 2737,'0'0'9306,"0"0"-8330,0 0-848,0 0-128,0 0-544,0 0-1977,0 0-2544</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38"/>
    </inkml:context>
    <inkml:brush xml:id="br0">
      <inkml:brushProperty name="width" value="0.05292" units="cm"/>
      <inkml:brushProperty name="height" value="0.05292" units="cm"/>
      <inkml:brushProperty name="color" value="#E71224"/>
    </inkml:brush>
  </inkml:definitions>
  <inkml:trace contextRef="#ctx0" brushRef="#br0">1 0 1176,'0'0'4428,"0"0"-2732,0 0-746,0 0 54,0 0-34,0 0-429,5 17-294,19 53-89,-23-64 67,1 0-1,0 0 0,-1 1 0,0 9 0,-2-14 1079,0-15-995,1 7-452,0 0 0,1-1 0,0 1 0,0-1 0,0 1 0,0 0 0,5-11 0,-5 15 135,0 0 0,0 0 0,1 0 0,-1 0 0,0 0 0,1 0 0,-1 0 0,1 1 0,0-1 0,-1 1 0,1-1 0,0 1 0,0 0-1,0 0 1,0 0 0,0 0 0,0 0 0,0 0 0,0 0 0,1 1 0,-1-1 0,0 1 0,0 0 0,0-1 0,5 1 0,-6 1 40,1-1 1,0 0-1,-1 1 1,1-1-1,-1 1 1,1-1-1,-1 1 1,0 0-1,1 0 1,-1 0 0,0 0-1,1 0 1,-1 0-1,0 0 1,0 0-1,0 0 1,0 0-1,0 1 1,0-1-1,0 0 1,0 1-1,-1-1 1,1 1-1,0-1 1,-1 2 0,4 7 166,-1 0 1,4 18-1,-5-18-128,2 11 85,-4-16-249,1 0 0,0 0-1,0 0 1,0 0-1,0 0 1,1 0 0,4 9-1,-5-14-150,0 1 1,-1-1-1,1 1 0,-1-1 0,1 1 0,0-1 1,-1 1-1,1-1 0,0 0 0,-1 0 0,1 1 0,0-1 1,0 0-1,-1 0 0,1 0 0,0 0 0,0 0 1,0 0-1,-1 0 0,2 0 0,6 0-5413</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39"/>
    </inkml:context>
    <inkml:brush xml:id="br0">
      <inkml:brushProperty name="width" value="0.05292" units="cm"/>
      <inkml:brushProperty name="height" value="0.05292" units="cm"/>
      <inkml:brushProperty name="color" value="#E71224"/>
    </inkml:brush>
  </inkml:definitions>
  <inkml:trace contextRef="#ctx0" brushRef="#br0">243 70 8514,'0'0'1293,"0"0"-807,0 0-298,0 0 41,0 0-109,-12-13-626,12 13 506,-13-15-206,-26-21 1,39 35 200,-1 0 1,0 1 0,1-1-1,-1 1 1,0 0-1,1-1 1,-1 1 0,0 0-1,0-1 1,1 1-1,-1 0 1,0 0 0,0 0-1,0-1 1,1 1-1,-1 0 1,0 0 0,0 0-1,0 0 1,0 0-1,1 1 1,-1-1 0,0 0-1,0 0 1,1 0 0,-1 1-1,0-1 1,0 1-1,1-1 1,-1 0 0,-1 2-1,-12 18-202,11-14 115,-4 6 246,1 2 1,1-1 0,0 1-1,0-1 1,1 1 0,1 1 0,1-1-1,0 0 1,0 1 0,2 27-1,0-41-128,0 1 0,0-1-1,0 1 1,1-1 0,-1 1-1,0-1 1,1 1 0,-1-1-1,1 1 1,-1-1 0,1 1-1,0-1 1,-1 1 0,1-1-1,0 0 1,0 0-1,0 1 1,0-1 0,0 0-1,0 0 1,1 0 0,-1 0-1,0 0 1,0 0 0,1-1-1,-1 1 1,1 0 0,-1-1-1,1 1 1,-1-1 0,1 1-1,-1-1 1,4 1 0,-2-1-30,0 0 1,0 0 0,0 0 0,0 0-1,0 0 1,0-1 0,0 0-1,-1 1 1,1-1 0,0 0 0,0 0-1,0-1 1,-1 1 0,1 0 0,-1-1-1,1 0 1,3-2 0,3-7-62,1-1 1,-2 0-1,1 0 1,-2-1-1,13-26 0,-8 14-55,-12 25 118,1-1 1,-1 0-1,0 1 0,1-1 1,-1 0-1,0 1 0,1-1 1,-1 0-1,1 1 0,-1-1 1,1 1-1,-1-1 1,1 1-1,-1-1 0,1 1 1,0-1-1,0 0 0,0 2 10,-1-1-1,0 1 1,1-1 0,-1 1-1,1-1 1,-1 1-1,0 0 1,0-1 0,1 1-1,-1-1 1,0 1-1,0 0 1,0-1-1,0 1 1,0 0 0,0-1-1,0 1 1,0 0-1,0-1 1,0 1 0,0 1-1,0 16 337,0 5 74,0 0 0,-1 1-1,-1-1 1,-11 42 0,-1-21 74,-2 0 1,-29 54 0,31-72-175,-1 0 1,-2 0-1,0-2 0,-35 38 1,50-60-291,0 0 0,0 1 0,0-1 0,-1 0 0,1 0 1,0 0-1,-1 0 0,0-1 0,1 1 0,-1-1 0,0 1 1,0-1-1,0 0 0,0 0 0,0 0 0,0 0 0,-4 0 0,6-2-32,0 1-1,1 0 1,-1 0-1,0-1 0,0 1 1,1-1-1,-1 1 0,0-1 1,1 1-1,-1-1 1,1 1-1,-1-1 0,0 1 1,1-1-1,-1 0 0,1 1 1,0-1-1,-1 0 0,1 1 1,-1-1-1,1 0 1,0 0-1,0 0 0,-1 1 1,1-1-1,0 0 0,0 0 1,0 0-1,0 0 1,-1-32-234,1 25 153,1-3-37,0 0-1,0 0 1,1 0 0,0 1 0,0-1-1,2 1 1,-1-1 0,6-10-1,0 5 113,0 0-1,0 1 0,1 0 1,16-17-1,-2 6-881,36-30-1,26-13-5403,-68 55-538</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40"/>
    </inkml:context>
    <inkml:brush xml:id="br0">
      <inkml:brushProperty name="width" value="0.05292" units="cm"/>
      <inkml:brushProperty name="height" value="0.05292" units="cm"/>
      <inkml:brushProperty name="color" value="#E71224"/>
    </inkml:brush>
  </inkml:definitions>
  <inkml:trace contextRef="#ctx0" brushRef="#br0">268 0 9690,'0'0'2078,"0"0"-655,0 0-371,0 0-429,0 0-536,-8 2-257,-23 6 43,29-7 120,0 0-1,0 0 0,0 0 0,0 0 1,0 0-1,0 0 0,0 0 0,0 1 1,1-1-1,-1 1 0,1-1 0,-1 1 1,1 0-1,-1 0 0,1-1 0,0 1 1,0 0-1,0 0 0,0 0 0,0 0 1,-1 4-1,1 1-45,0 0-1,0 0 1,1 0-1,0 0 1,1 7-1,-1 2-9,1-8 81,0 0 1,1 0 0,0 0 0,1 0-1,-1-1 1,1 1 0,1-1 0,-1 0-1,8 10 1,-6-7 80,-2-4 50,1 2 0,-2-1 0,1 0 0,-1 1 0,0-1 0,0 1 0,-1 0 0,0-1 0,-1 1 0,0 8 0,0-14-104,-1-1 0,1 1 0,-1-1 0,1 1-1,-1-1 1,0 0 0,0 1 0,0-1-1,0 0 1,0 1 0,0-1 0,0 0 0,0 0-1,0 0 1,-1 0 0,1 0 0,0 0-1,-1 0 1,1-1 0,-3 2 0,-33 13 156,19-10-216,-1-1 1,1 0-1,-1-1 1,-28-1-1,-6-1-5058,38-1-2637</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41"/>
    </inkml:context>
    <inkml:brush xml:id="br0">
      <inkml:brushProperty name="width" value="0.05292" units="cm"/>
      <inkml:brushProperty name="height" value="0.05292" units="cm"/>
      <inkml:brushProperty name="color" value="#E71224"/>
    </inkml:brush>
  </inkml:definitions>
  <inkml:trace contextRef="#ctx0" brushRef="#br0">261 4 13299,'0'0'1764,"0"0"-1109,0 0-384,0 0 79,0 0-79,0-3-207,0 3-16,0 0 32,0 0 52,-8 0 901,-10-1-988,1 2 1,-1 1-1,1 0 1,-1 1-1,1 1 1,0 0 0,0 2-1,0 0 1,1 0-1,-22 14 1,37-20-30,-3 2-66,1 0 1,0 0-1,0 0 1,0 0-1,1 0 0,-6 5 1,8-6 20,-1 0-1,1-1 1,0 1 0,-1 0 0,1 0 0,0 0 0,-1-1 0,1 1 0,0 0-1,0 0 1,0 0 0,0 0 0,0 0 0,0-1 0,0 1 0,0 0-1,0 0 1,0 0 0,0 0 0,0 0 0,1-1 0,-1 1 0,0 0-1,1 0 1,-1 0 0,0-1 0,1 1 0,-1 0 0,1 0 0,-1-1 0,1 1-1,0 0 1,-1-1 0,2 2 0,11 9-27,1 0 0,0-1 0,0 0-1,1-1 1,29 13 0,-26-13 77,-1 0 0,1 1-1,-2 1 1,17 13 0,-33-24 6,1 0-1,-1 1 1,0-1 0,1 0 0,-1 0 0,1 1 0,-1-1 0,0 0 0,0 0 0,1 1-1,-1-1 1,0 0 0,1 1 0,-1-1 0,0 0 0,0 1 0,0-1 0,1 0 0,-1 1-1,0-1 1,0 0 0,0 1 0,0-1 0,0 1 0,0-1 0,0 0 0,0 1 0,0-1 0,0 1-1,0-1 1,0 0 0,0 1 0,0-1 0,0 1 0,0-1 0,0 0 0,-1 1 0,1-1-1,0 1 1,0-1 0,0 0 0,-1 1 0,1-1 0,0 0 0,0 0 0,-1 1 0,1-1 0,0 0-1,-1 1 1,1-1 0,0 0 0,-1 0 0,1 0 0,0 1 0,-1-1 0,-27 7 420,19-5-489,4-1 41,-20 5-403,-45 18 1,63-21-7,1 0 0,-1 0 1,1 1-1,-1 0 0,1 0 1,0 1-1,0 0 0,1 0 1,0 0-1,0 1 0,-5 6 1,-4 12-2668,4-3-1212</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42"/>
    </inkml:context>
    <inkml:brush xml:id="br0">
      <inkml:brushProperty name="width" value="0.05292" units="cm"/>
      <inkml:brushProperty name="height" value="0.05292" units="cm"/>
      <inkml:brushProperty name="color" value="#E71224"/>
    </inkml:brush>
  </inkml:definitions>
  <inkml:trace contextRef="#ctx0" brushRef="#br0">87 412 904,'0'0'8233,"0"0"-5873,0 0-1797,0 0 145,0 0-29,0 0-271,-8-21-255,-22-69-34,24 72 152,1 0-1,1-1 1,0 0 0,2 1-1,0-1 1,1-35 0,1 53-252,0-4-11,1 0 0,0 0 0,0 0 0,1 0 0,-1 0-1,1 0 1,0 0 0,0 1 0,1-1 0,0 1 0,-1 0 0,1-1 0,1 1 0,-1 1 0,1-1 0,5-5 0,-1 2-22,0 1 1,1 0 0,-1 0-1,1 0 1,0 1 0,1 0-1,11-3 1,-19 7-1,0 0 1,0 1-1,0-1 1,0 1-1,-1 0 1,1-1-1,0 1 1,0 0 0,3 1-1,-4-1 26,-1 0 1,1 0-1,-1 0 1,1 0-1,-1 0 1,1 1-1,-1-1 0,1 0 1,-1 0-1,1 1 1,-1-1-1,0 0 0,1 0 1,-1 1-1,1-1 1,-1 1-1,0-1 1,1 0-1,-1 1 0,0-1 1,0 1-1,1-1 1,-1 1-1,0 0 0,0 0 27,0 1 0,0 0-1,0 0 1,0 0-1,0-1 1,-1 1-1,1 0 1,-1-1-1,1 1 1,-1 0 0,0-1-1,0 1 1,0-1-1,1 1 1,-1-1-1,-1 1 1,1-1 0,0 1-1,-2 0 1,-16 19 126,-2 0 0,-31 23-1,30-29-1809,-27 16-1,46-29 1186,2-1-1019,0 0-4426,3-1 402</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7"/>
    </inkml:context>
    <inkml:brush xml:id="br0">
      <inkml:brushProperty name="width" value="0.07938" units="cm"/>
      <inkml:brushProperty name="height" value="0.07938" units="cm"/>
      <inkml:brushProperty name="color" value="#E71224"/>
    </inkml:brush>
  </inkml:definitions>
  <inkml:trace contextRef="#ctx0" brushRef="#br0">1 0 5025,'0'0'3435,"0"0"-2146,0 0-740,0 0-197,0 0-160,0 14-116,0-10-100,3 58 1778,2 0 1,15 58-1755,-19-116 34,0 0-1,0 0 1,1-1-1,0 1 1,0-1 0,0 1-1,1-1 1,-1 0-1,1 0 1,0 1-1,-1-2 1,2 1 0,-1 0-1,0 0 1,1-1-1,-1 0 1,5 2-34,-6-3-1,0 0 1,0 0-1,0-1 1,0 1-1,0-1 1,1 1-1,-1-1 1,0 0-1,1 0 1,-1 0-1,0 0 1,0 0-1,1 0 1,-1-1-1,0 1 1,0-1-1,1 1 1,-1-1-1,0 0 1,0 1-1,0-1 1,0 0-1,0 0 1,0-1-1,0 1 1,-1 0-1,1 0 1,0-1-1,-1 1 1,1-1-1,-1 0 1,0 1-1,1-1 1,0-1 0,7-10 46,-1 0 0,0-1 1,-1 0-1,0 0 1,-1-1-1,-1 0 1,0-3-47,4-17 11,-2 0 1,0-19-12,-7 54 0,0 0 1,0 0 0,0 0 0,0 0 0,0 0 0,0 0-1,1 0 1,-1 0 0,0 0 0,0 0 0,0 0-1,0 0 1,0 0 0,0 0 0,0 0 0,0 0 0,1-1-1,-1 1 1,0 0 0,0 0 0,0 0 0,0 0-1,0 0 1,0 0 0,0 0 0,0 0 0,0 0 0,1 0-1,-1 0 1,0 0 0,0 0 0,0-1 0,0 1-1,0 0 1,0 0 0,0 0 0,0 0-1,5 20 136,4 29 131,-5-12-324,-1-7 230,1 0 1,3 5-174,-5-28-378,0 0 1,0-1 0,0 1-1,1-1 1,0 1-1,1-1 1,-1 0-1,1 0 1,1 0-1,-1-1 1,5 5 377,9 2-4160,-1-6-2084</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43"/>
    </inkml:context>
    <inkml:brush xml:id="br0">
      <inkml:brushProperty name="width" value="0.05292" units="cm"/>
      <inkml:brushProperty name="height" value="0.05292" units="cm"/>
      <inkml:brushProperty name="color" value="#E71224"/>
    </inkml:brush>
  </inkml:definitions>
  <inkml:trace contextRef="#ctx0" brushRef="#br0">56 129 6889,'0'0'2108,"0"0"-1178,0 0-269,0 0 93,0 0-164,0 0-278,10-10-151,32-29-35,-40 38-79,0-1 0,0 0 0,-1 0 0,1 0 0,-1 1 0,0-1 0,1 0 0,-1-1 0,0 1 1,0 0-1,0 0 0,-1 0 0,1-1 0,0 1 0,-1 0 0,0-1 0,1 1 0,-1 0 0,0-1 0,0 1 0,0 0 1,-1-5-1,0-4 353,1 10-349,0 0 0,-1 0 0,1 0 0,0 1 1,-1-1-1,1 0 0,-1 0 0,1 1 0,-1-1 0,1 0 1,-1 1-1,1-1 0,-1 0 0,1 1 0,-1-1 0,0 1 1,1-1-1,-1 1 0,0-1 0,0 1 0,1 0 0,-1-1 1,0 1-1,0 0 0,0 0 0,0 0 0,1-1 0,-1 1 1,0 0-1,0 0 0,0 0 0,0 0 0,0 0 0,-1 1 1,-1-1 4,0 0 0,0 0 1,0 1-1,0-1 1,0 1-1,0-1 1,1 1-1,-1 0 0,-5 3 1,2 2-52,0-1 0,0 1 0,1 0 1,-1 1-1,1-1 0,1 1 0,0 0 1,0 1-1,0-1 0,1 0 0,0 1 0,0 0 1,1 0-1,0 0 0,0 0 0,1 0 1,0 0-1,0 1 0,1-1 0,0 0 0,1 0 1,1 11-1,-1-16-57,0-1-1,1 0 1,-1 0 0,0 0-1,0 0 1,1-1-1,-1 1 1,1 0 0,0 0-1,0-1 1,-1 1 0,1-1-1,0 0 1,0 1 0,0-1-1,0 0 1,0 0 0,1 0-1,-1-1 1,0 1 0,0 0-1,1-1 1,1 1 0,8 1-1140,0-1 0,24 0 0,-34-1 937,20-1-2313,-5-5-1313</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44"/>
    </inkml:context>
    <inkml:brush xml:id="br0">
      <inkml:brushProperty name="width" value="0.05292" units="cm"/>
      <inkml:brushProperty name="height" value="0.05292" units="cm"/>
      <inkml:brushProperty name="color" value="#E71224"/>
    </inkml:brush>
  </inkml:definitions>
  <inkml:trace contextRef="#ctx0" brushRef="#br0">95 0 9978,'0'0'2859,"0"0"-1473,0 0-387,0 0-18,0 0-532,-7 11-541,-10 18 82,-20 42 1,31-58 137,0 0 1,1 1-1,1 0 1,0 0-1,1 0 1,1 0 0,-2 17-1,4-30-156,0 0-1,0 0 1,1-1-1,-1 1 1,0 0-1,0-1 1,0 1 0,1 0-1,-1-1 1,0 1-1,1 0 1,-1-1-1,0 1 1,1 0 0,-1-1-1,1 1 1,-1-1-1,1 1 1,-1-1-1,1 1 1,0-1 0,-1 0-1,1 1 1,0 0-1,22 4-1191,25-6-1751,-44 0 2641,1-1 0,-1 1 1,1-1-1,-1 0 0,0 0 0,0 0 1,0 0-1,0-1 0,0 1 0,0-1 1,-1 0-1,1-1 0,-1 1 1,3-5-1,1 1-710,11-10-264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45"/>
    </inkml:context>
    <inkml:brush xml:id="br0">
      <inkml:brushProperty name="width" value="0.05292" units="cm"/>
      <inkml:brushProperty name="height" value="0.05292" units="cm"/>
      <inkml:brushProperty name="color" value="#E71224"/>
    </inkml:brush>
  </inkml:definitions>
  <inkml:trace contextRef="#ctx0" brushRef="#br0">0 0 5937,'0'0'1801,"0"0"-553,0 0 344,0 0-175,0 0-433,29 106-584,-23-86-328,3-1-72,-3-4-200,-2-4-600,4-11-665,-2 0-1063,-1 0-3161</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46"/>
    </inkml:context>
    <inkml:brush xml:id="br0">
      <inkml:brushProperty name="width" value="0.05292" units="cm"/>
      <inkml:brushProperty name="height" value="0.05292" units="cm"/>
      <inkml:brushProperty name="color" value="#E71224"/>
    </inkml:brush>
  </inkml:definitions>
  <inkml:trace contextRef="#ctx0" brushRef="#br0">0 0 13483,'0'0'2320,"0"0"-1784,0 0-536,0 0-72,0 0-1296,0 0-3785,0 0-792</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47"/>
    </inkml:context>
    <inkml:brush xml:id="br0">
      <inkml:brushProperty name="width" value="0.05292" units="cm"/>
      <inkml:brushProperty name="height" value="0.05292" units="cm"/>
      <inkml:brushProperty name="color" value="#E71224"/>
    </inkml:brush>
  </inkml:definitions>
  <inkml:trace contextRef="#ctx0" brushRef="#br0">0 0 7418,'117'107'1653,"-94"-88"-1167,-15-16-149,1-4 41,-1 2-1,1-1 1,0 1-1,-1 1 1,1-1-1,-1 2 1,1-1-1,8 4 1,-14-4-261,1 0 1,-1 0-1,0 0 1,0 0-1,0 1 1,0-1-1,0 1 1,-1-1-1,1 1 1,-1 0-1,0 0 1,0 0-1,0 0 1,0 1-1,0-1 1,-1 0-1,1 1 1,-1 0-1,0-1 1,0 1-1,0 6 1,2 58 1122,-4-67-1253,1-1 0,0 1 0,-1-1 0,1 1 0,-1-1 0,1 1 0,-1-1 0,1 0 0,-1 1 0,1-1 1,-1 1-1,1-1 0,-1 0 0,1 0 0,-1 1 0,1-1 0,-1 0 0,0 0 0,1 0 0,-1 0 0,1 0 0,-1 0 0,0 0 0,1 0 0,-1 0 0,0 0 0,0 0 0,-25 0-384,20 0 311,-9-1 53,12 1 23,-1 0 0,1-1 1,0 2-1,-1-1 1,1 0-1,-6 2 0,7-1 8,1-1 0,0 1 0,0-1 0,0 1-1,0 0 1,0 0 0,0-1 0,0 1 0,0 0-1,0 0 1,1 0 0,-1 0 0,0 0 0,0 0-1,1 0 1,-1 1 0,1-1 0,-1 0 0,1 0-1,-1 0 1,1 3 0,-2 6-21,0 0-1,1 1 1,0 19 0,1-30 1,1 1 0,-1-1 0,0 0 1,1 1-1,-1-1 0,0 0 0,1 1 0,-1-1 1,1 0-1,-1 0 0,1 1 0,-1-1 0,1 0 1,-1 0-1,1 0 0,-1 1 0,1-1 0,-1 0 1,1 0-1,-1 0 0,1 0 0,-1 0 1,1 0-1,-1 0 0,2-1 0,17 0-1296,-17 0 1205,1 0 1,0 0-1,-1 0 0,1-1 0,0 1 0,-1 0 0,0-1 0,1 0 0,-1 0 0,0 0 1,0 0-1,0 0 0,0 0 0,0 0 0,2-4 0,3-2-264,20-26-1782,-2 1-1658</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48"/>
    </inkml:context>
    <inkml:brush xml:id="br0">
      <inkml:brushProperty name="width" value="0.05292" units="cm"/>
      <inkml:brushProperty name="height" value="0.05292" units="cm"/>
      <inkml:brushProperty name="color" value="#E71224"/>
    </inkml:brush>
  </inkml:definitions>
  <inkml:trace contextRef="#ctx0" brushRef="#br0">0 1 11570,'0'0'2873,"0"0"-1761,0 0-536,0 0-79,0 0-161,0 126-200,0-74-64,0 4-56,0-2 40,0-4-40,0-4-16,0-7-168,0-5-264,0-6-481,2-8-727,9-7-785,-3-7-743,0-6-3610</inkml:trace>
  <inkml:trace contextRef="#ctx0" brushRef="#br0" timeOffset="1">135 441 11450,'0'0'1809,"0"0"-1265,0 0 16,0 0-88,0 0-472,0 101-304,0-96-1216,0-3-1033,4-2-168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0"/>
    </inkml:context>
    <inkml:brush xml:id="br0">
      <inkml:brushProperty name="width" value="0.05292" units="cm"/>
      <inkml:brushProperty name="height" value="0.05292" units="cm"/>
      <inkml:brushProperty name="color" value="#E71224"/>
    </inkml:brush>
  </inkml:definitions>
  <inkml:trace contextRef="#ctx0" brushRef="#br0">0 0 10362,'0'0'2513,"0"0"-1745,0 0-592,0 0-176,0 0-680,0 0-1321,0 0-399,29 26-240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1"/>
    </inkml:context>
    <inkml:brush xml:id="br0">
      <inkml:brushProperty name="width" value="0.05292" units="cm"/>
      <inkml:brushProperty name="height" value="0.05292" units="cm"/>
      <inkml:brushProperty name="color" value="#E71224"/>
    </inkml:brush>
  </inkml:definitions>
  <inkml:trace contextRef="#ctx0" brushRef="#br0">9 0 5193,'0'0'1893,"0"0"-608,0 0-9,0 0-191,0 0-384,0 0-315,16 4-138,48 9-10,-63-13-164,0 0 0,0 0 0,0 0 0,0 1 0,0-1 0,0 0 0,0 0 0,0 1 0,0-1 0,0 1 0,0-1 0,0 1 0,0 0 0,0-1 0,0 1 0,-1 0-1,1-1 1,0 1 0,0 0 0,-1 0 0,1 0 0,0 0 0,-1 0 0,1 0 0,-1 0 0,0 0 0,1 0 0,-1 0 0,0 0 0,1 0 0,-1 0 0,0 0 0,0 0 0,0 0 0,0 0 0,0 0-1,0 0 1,0 0 0,0 0 0,0 0 0,-1 1 0,1-1 0,0 0 0,-1 0 0,0 1 0,0 1 168,-2 3-77,1 1 0,-2-1 0,1 0 0,-1 0 0,0-1 0,0 1 0,-5 4 0,-11 16-17,13-16-123,1 0 0,-1 0 0,2 1 0,-1 0 0,2 1 0,-1-1 0,1 1 0,1 0 0,0 0 0,1 0 0,1 0 0,-1 16 0,2-26-19,0 1 0,0-1 0,1 0-1,0 0 1,-1 1 0,1-1-1,0 0 1,0 0 0,0 0 0,0 0-1,0 0 1,1 0 0,-1 0 0,0 0-1,1 0 1,0-1 0,-1 1-1,1 0 1,0-1 0,0 0 0,0 1-1,0-1 1,0 0 0,0 0-1,0 0 1,0 0 0,1-1 0,-1 1-1,0 0 1,4-1 0,8 3-189,0-1 0,0 0 0,25-1 0,-34-1 51,-4 0-27,1-1 0,0 1 1,0 0-1,-1 0 1,1-1-1,0 1 0,-1-1 1,1 1-1,0-1 0,-1 0 1,1 0-1,-1 0 1,1 0-1,-1 0 0,1 0 1,-1 0-1,0 0 1,1 0-1,-1-1 0,0 1 1,0 0-1,0-1 0,0 1 1,0-1-1,0 0 1,-1 1-1,1-1 0,0 1 1,-1-1-1,0 0 1,1-2-1,2-16-397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2"/>
    </inkml:context>
    <inkml:brush xml:id="br0">
      <inkml:brushProperty name="width" value="0.05292" units="cm"/>
      <inkml:brushProperty name="height" value="0.05292" units="cm"/>
      <inkml:brushProperty name="color" value="#E71224"/>
    </inkml:brush>
  </inkml:definitions>
  <inkml:trace contextRef="#ctx0" brushRef="#br0">0 0 8602,'0'0'2416,"0"0"-1423,0 0-249,0 0-24,0 0-320,0 0-400,114 0-320,-85 0-1456,-9 0-1177,-7 0-3873</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3"/>
    </inkml:context>
    <inkml:brush xml:id="br0">
      <inkml:brushProperty name="width" value="0.05292" units="cm"/>
      <inkml:brushProperty name="height" value="0.05292" units="cm"/>
      <inkml:brushProperty name="color" value="#E71224"/>
    </inkml:brush>
  </inkml:definitions>
  <inkml:trace contextRef="#ctx0" brushRef="#br0">16 324 6809,'0'0'1630,"0"0"163,0 0-248,0 0-483,0 0-331,0 0-310,9-7-212,30-21-73,-37 27-112,-1-1 0,0 1-1,0-1 1,0 1-1,1-1 1,-2 0 0,1 1-1,0-1 1,0 0-1,0 0 1,-1 0 0,1 0-1,-1 1 1,0-1-1,1 0 1,-1 0 0,0 0-1,0 0 1,0 0-1,0 0 1,-1 0-1,1 0 1,0 0 0,-1 0-1,0-1 1,1 2 8,-1 1 1,1-1-1,-1 1 0,1-1 1,-1 1-1,1-1 0,-1 1 1,1 0-1,-1-1 0,1 1 1,-1 0-1,1-1 0,-1 1 1,1 0-1,-1 0 0,0 0 1,1-1-1,-1 1 0,1 0 1,-1 0-1,0 0 0,1 0 1,-1 0-1,0 0 0,1 0 1,-1 0-1,1 1 0,-1-1 1,0 0-1,1 0 0,-1 0 1,0 1-1,-1 0-6,0-1-1,0 1 0,1 0 1,-1-1-1,0 1 1,0 0-1,1 0 1,-1 1-1,-1 0 0,-2 6-40,0 0 1,1 0-1,0 0 0,0 0 0,1 1 0,0-1 0,1 1 0,0 0 0,0 0 0,1 0 0,0 0 0,1 0 0,-1 0 0,2 0 0,0 0 0,2 12 0,-2-17-20,0 0 1,0-1 0,1 1-1,0-1 1,-1 1-1,1-1 1,1 0 0,-1 0-1,0 0 1,1 0-1,0 0 1,-1 0 0,1 0-1,0-1 1,0 0-1,1 0 1,-1 1 0,0-2-1,1 1 1,-1 0-1,1-1 1,0 0 0,-1 1-1,8 0 1,7 1-337,1 0 0,-1-1 0,34-1 0,-44-1 312,-3-1 69,1 1 1,-1-1 0,0 0 0,1 0 0,-1-1 0,0 0 0,0 0 0,0 0 0,0 0-1,0-1 1,-1 0 0,1 0 0,-1 0 0,0 0 0,1-1 0,-1 0 0,-1 1 0,1-2 0,4-5-1,-4 5 60,-1-1-1,1 0 0,-1 0 1,1 0-1,-2 0 0,1-1 1,-1 1-1,0-1 0,0 0 1,-1 0-1,0 1 0,0-1 1,-1 0-1,0-12 0,0 19-68,-1-1 0,1 0 0,-1 1 0,1-1 0,-1 1 0,0-1-1,1 1 1,-1-1 0,0 1 0,1-1 0,-1 1 0,0-1 0,0 1 0,1 0 0,-1 0-1,0-1 1,0 1 0,0 0 0,0 0 0,1 0 0,-1 0 0,0 0 0,0 0 0,0 0-1,0 0 1,1 0 0,-1 0 0,-2 1 0,-25 5-71,23-3 96,1 0-1,-1 0 1,1 1 0,0-1-1,0 1 1,0 0 0,0 0-1,1 0 1,-1 1 0,1-1-1,0 1 1,1 0 0,-1 0-1,1 0 1,0 0-1,0 0 1,0 0 0,1 1-1,0-1 1,0 0 0,0 9-1,1-14-23,0 0-1,1 1 0,-1-1 1,0 1-1,1-1 0,-1 0 1,1 1-1,-1-1 0,0 0 1,1 0-1,-1 1 0,1-1 1,-1 0-1,1 0 0,-1 0 1,1 1-1,-1-1 0,1 0 0,-1 0 1,1 0-1,-1 0 0,1 0 1,-1 0-1,1 0 0,-1 0 1,1 0-1,0-1 0,18 0 18,-15 0-1,0-1-1,0 1 0,1-1 1,-1 0-1,0 0 0,0 0 1,-1-1-1,1 1 0,0-1 1,-1 0-1,0 0 0,1 0 1,2-5-1,8-8 62,16-26 1,-28 38-75,23-40-8,-2 0 1,-1-1-1,25-81 0,-24 60 339,-22 65 374,-1 5 49,-3 43 19,-2 0 1,-14 64-1,9-63-101,3 0-1,-3 68 1,9-87-969,0-21-26,0 0 0,1 0 0,0 0 0,0 0 0,1 0 0,0 1 0,5 14 0,1-14-2431,-1-6-2033,-1-2-2367</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4T03:22:45.858"/>
    </inkml:context>
    <inkml:brush xml:id="br0">
      <inkml:brushProperty name="width" value="0.07938" units="cm"/>
      <inkml:brushProperty name="height" value="0.07938" units="cm"/>
      <inkml:brushProperty name="color" value="#E71224"/>
    </inkml:brush>
  </inkml:definitions>
  <inkml:trace contextRef="#ctx0" brushRef="#br0">168 515 5881,'0'0'3716,"0"0"-2840,0 0-875,-17-11-190,3 2 122,0 1 1,0 0-1,-15-6 67,28 14-3,0 0 0,1-1 0,-1 1 0,0 0-1,0 0 1,0 0 0,0 0 0,0 0 0,0 0 0,1 0 0,-1 0 0,0 0 0,0 0 0,0 0 0,0 1 0,0-1-1,1 0 1,-1 1 0,0-1 0,0 0 0,0 1 0,1-1 0,-1 1 0,0-1 0,1 1 0,-1-1 0,0 1 0,1-1 0,-1 1-1,1 0 1,-1-1 0,1 1 0,-1 0 0,1-1 0,0 1 0,-1 0 3,-9 31-62,8-21 45,-10 30 240,2 0 1,2 0-1,3 0 0,-1 32-223,6-72-2,0-1 1,0 1-1,0 0 1,0-1-1,0 1 1,0-1 0,1 1-1,-1-1 1,0 1-1,0-1 1,0 1-1,0-1 1,1 1 0,-1-1-1,0 1 1,1-1-1,-1 1 1,0-1-1,1 1 1,-1-1-1,1 0 1,-1 1 0,1-1-1,-1 0 1,1 1-1,-1-1 1,1 0-1,-1 1 1,1-1 0,0 0 1,21-1-110,-17-1 99,0 0 0,-1 1 0,1-2 0,-1 1 0,1 0 0,-1-1 0,0 1 1,4-4 10,6-10 14,0-1 0,0 0 0,-2-1 0,0 0 0,-2-1 1,2-4-15,15-35-135,7-30 135,-12 22 304,-4-1 0,-3-1 0,-3 0-1,-3-1 1,-2-65-304,-7 783 2817,0-625-3300,1-1-1,3 17 484,-3-32-506,1-1 0,0 0-1,1 0 1,-1 0-1,1 0 1,1-1-1,-1 1 1,1-1 0,1 0-1,1 3 507,15 11-5898</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4"/>
    </inkml:context>
    <inkml:brush xml:id="br0">
      <inkml:brushProperty name="width" value="0.05292" units="cm"/>
      <inkml:brushProperty name="height" value="0.05292" units="cm"/>
      <inkml:brushProperty name="color" value="#E71224"/>
    </inkml:brush>
  </inkml:definitions>
  <inkml:trace contextRef="#ctx0" brushRef="#br0">1 0 11306,'0'0'1814,"0"0"-1100,0 0-414,0 0-112,1 16-123,-1 3-60,1-1-4,1 0 0,0 0 0,6 22 0,1 3-260,-1 0 0,-2 0-1,0 56 1,-6-99-1612,0-1-658,0-5-621</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5"/>
    </inkml:context>
    <inkml:brush xml:id="br0">
      <inkml:brushProperty name="width" value="0.05292" units="cm"/>
      <inkml:brushProperty name="height" value="0.05292" units="cm"/>
      <inkml:brushProperty name="color" value="#E71224"/>
    </inkml:brush>
  </inkml:definitions>
  <inkml:trace contextRef="#ctx0" brushRef="#br0">0 71 8058,'0'0'1400,"0"0"-1104,0 0-88,0 0 248,0 0 328,0 0 113,0 0-233,134-43-152,-94 36-216,-1-1-168,0 3-40,-2-1-88,-6 4-136,-4 2-760,-4 0-825,-9 0-575,-8 0-1969</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6"/>
    </inkml:context>
    <inkml:brush xml:id="br0">
      <inkml:brushProperty name="width" value="0.05292" units="cm"/>
      <inkml:brushProperty name="height" value="0.05292" units="cm"/>
      <inkml:brushProperty name="color" value="#E71224"/>
    </inkml:brush>
  </inkml:definitions>
  <inkml:trace contextRef="#ctx0" brushRef="#br0">0 83 6793,'0'0'1347,"0"0"-750,0 0 108,0 0 155,0 0-193,21 0-268,64 1-177,-75-1-174,0-1 0,0 0 0,13-2 0,-20 2-21,0 0 1,0 0-1,0 0 0,-1 0 0,1-1 1,-1 1-1,1-1 0,-1 0 0,5-3 1,-7 5-18,1-1 1,0 0-1,-1 1 1,1-1-1,-1 0 1,1 0-1,0 0 1,-1 1-1,0-1 1,1 0 0,-1 0-1,0 0 1,1 0-1,-1 0 1,0 0-1,0 0 1,0 0-1,0 0 1,0 0-1,0 0 1,0 1-1,0-1 1,0 0 0,0 0-1,0 0 1,-1 0-1,1 0 1,0 0-1,-1 0 1,1 0-1,0 0 1,-1 1-1,1-1 1,-1 0 0,0 0-1,1 1 1,-1-1-1,-1-1 1,0 0-17,-1-1 0,1 1 0,-1 0 0,0 0 0,0 0 0,0 0 0,0 0 0,0 1 1,-4-2-1,3 1 10,0 1 0,0 0 0,0 0 0,0 0 0,0 1 0,0-1 0,0 1 0,0 0 0,0 0 0,0 1 0,-7 0 0,9 0 27,-1 0 0,1 0 0,-1 1 0,1-1 0,0 0 0,0 1 0,-1 0 1,1-1-1,0 1 0,0 0 0,1 0 0,-1 0 0,0 0 0,1 0 0,-1 1 1,1-1-1,-2 5 0,-1 2 85,1-1 0,0 1-1,1 0 1,0 0 0,0 0 0,1 0 0,0 0 0,1 0 0,-1 0 0,3 14 0,-1-21-156,-1 1 0,1-1 0,0 1 0,0-1 0,0 0 0,0 1 0,0-1 0,1 0 1,-1 0-1,1 0 0,-1 0 0,1 0 0,0 0 0,0 0 0,0 0 0,0-1 0,0 1 0,0-1 0,0 1 1,1-1-1,-1 0 0,0 0 0,6 1 0,0 1-804,0 0-1,0-1 1,0 0 0,1-1-1,-1 0 1,10 0 0,-5-1-2761</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7"/>
    </inkml:context>
    <inkml:brush xml:id="br0">
      <inkml:brushProperty name="width" value="0.05292" units="cm"/>
      <inkml:brushProperty name="height" value="0.05292" units="cm"/>
      <inkml:brushProperty name="color" value="#E71224"/>
    </inkml:brush>
  </inkml:definitions>
  <inkml:trace contextRef="#ctx0" brushRef="#br0">0 0 4233,'0'0'4540,"0"0"-3155,0 0-1219,0 0 24,0 0 65,0 0-134,6 16-81,0-3 40,31 92 1278,-33-84-429,-2-3 182,-1-28 795,-2-1-1905,0 0-1,-4-18 0,2 18-142,1-1 0,0-19 0,2 30 65,0 0 0,1-1 0,-1 1 0,1 0 0,-1 0 0,1-1 0,-1 1 0,1 0 0,0 0 0,0 0 0,0 0 0,-1 0 0,1 0 0,0 0 0,0 0-1,0 0 1,1 0 0,-1 1 0,0-1 0,0 0 0,0 1 0,1-1 0,-1 1 0,0-1 0,0 1 0,1 0 0,-1-1 0,0 1 0,1 0 0,1 0 0,47-3-5232,-45 3 3990,6 0-2665</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8"/>
    </inkml:context>
    <inkml:brush xml:id="br0">
      <inkml:brushProperty name="width" value="0.05292" units="cm"/>
      <inkml:brushProperty name="height" value="0.05292" units="cm"/>
      <inkml:brushProperty name="color" value="#E71224"/>
    </inkml:brush>
  </inkml:definitions>
  <inkml:trace contextRef="#ctx0" brushRef="#br0">0 140 6185,'0'0'1627,"0"0"-773,0 0-90,0 0 164,0 0-157,0 0-404,4 5-135,13 17 125,-17-22-209,1-1 0,-1 1 0,1-1 0,-1 1 0,0 0 0,1-1 0,-1 1 0,1-1 0,-1 1 0,0-1 0,0 1 0,1-1 0,-1 1 0,0-1 0,0 1 0,1-1 0,-1 1 0,0-1-1,0 1 1,0-1 0,0 0 0,0 1 0,0-1 0,0 1 0,0-2 0,6-32-648,-3 16 687,-3 12-210,2 0 0,-1 0 0,0 0-1,1 0 1,0 0 0,1 0 0,-1 0 0,1 1-1,0-1 1,1 1 0,5-8 0,-8 12 13,-1 1 1,0 0 0,1-1 0,-1 1 0,0 0-1,0 0 1,1-1 0,-1 1 0,1 0-1,-1 0 1,0-1 0,1 1 0,-1 0 0,1 0-1,-1 0 1,0 0 0,1 0 0,-1 0 0,1 0-1,-1 0 1,1 0 0,-1 0 0,0 0 0,1 0-1,-1 0 1,1 0 0,-1 0 0,1 0-1,-1 0 1,1 1 0,6 11 88,-2 19 404,-5-30-466,2 38 528,-2-39-549,0 0-1,0 0 0,1-1 1,-1 1-1,0 0 0,0 0 0,0 0 1,0 0-1,0 0 0,0-1 1,1 1-1,-1 0 0,0 0 0,0 0 1,0 0-1,0 0 0,0 0 1,1-1-1,-1 1 0,0 0 1,0 0-1,0 0 0,1 0 0,-1 0 1,0 0-1,0 0 0,0 0 1,1 0-1,-1 0 0,0 0 0,0 0 1,0 0-1,1 0 0,-1 0 1,0 0-1,0 0 0,0 0 0,1 0 1,-1 1-1,0-1 0,0 0 1,0 0-1,0 0 0,1 0 0,-1 0 1,0 0-1,0 1 0,0-1 1,0 0-1,0 0 0,0 0 0,1 0 1,-1 1-1,0-1 0,0 0 1,0 0-1,0 0 0,0 0 0,0 1 1,0-1-1,0 0 0,0 0 7,7-9-76,3-4 20,0-1 0,24-23 0,-30 34 44,0 0 0,0 0 0,0 0 0,0 0-1,0 1 1,1-1 0,-1 1 0,1 0 0,0 1 0,-1-1-1,1 1 1,0 0 0,0 0 0,10 0 0,-13 1 19,0 0 0,0 0 1,0 0-1,0 0 0,0 0 1,0 1-1,0-1 0,0 1 1,0-1-1,0 1 0,0 0 1,-1 0-1,1 0 0,0 0 0,0 0 1,2 2-1,-2-1 26,-1 0 1,1 0-1,-1 1 0,0-1 0,1 1 0,-1-1 1,0 1-1,-1-1 0,1 1 0,0-1 0,-1 1 1,1 4-1,1 7 45,0 0 0,-2 27 1,-6-6-1759,5-31 852,0 0 0,-1 0 1,0 0-1,1-1 0,-1 1 0,-3 3 0,-5 5-6673</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59"/>
    </inkml:context>
    <inkml:brush xml:id="br0">
      <inkml:brushProperty name="width" value="0.05292" units="cm"/>
      <inkml:brushProperty name="height" value="0.05292" units="cm"/>
      <inkml:brushProperty name="color" value="#E71224"/>
    </inkml:brush>
  </inkml:definitions>
  <inkml:trace contextRef="#ctx0" brushRef="#br0">83 1 3065,'0'0'5984,"0"0"-3873,0 0-1100,0 0 196,0 0-387,0 0-467,-7 0-197,7 0-155,-7 0 27,1 0 0,-1 0 0,1 1 0,-12 3 0,16-4-16,1 1-1,-1-1 1,0 1-1,1 0 1,-1-1-1,1 1 1,-1 0-1,1 0 1,-1 0-1,1 0 1,0 0-1,0 0 1,-1 0-1,1 1 1,0-1-1,0 0 1,0 1 0,0-1-1,0 0 1,1 1-1,-1-1 1,0 1-1,1 0 1,-1-1-1,1 1 1,-1 0-1,1-1 1,0 1-1,0 2 1,0-1-30,0 1 1,1 0-1,-1-1 1,1 1-1,0-1 0,0 1 1,1-1-1,-1 1 1,1-1-1,0 0 0,-1 0 1,1 1-1,3 2 1,5 5 56,0 0 1,12 9-1,3 5 124,-20-20-72,2 3-8,0-1-1,11 16 1,-16-19 234,-1-1 0,1 1 0,0-1 1,-1 1-1,0 0 0,0-1 0,0 1 1,0 0-1,-1 0 0,1 7 0,-1-10-231,-1 0 0,1 0 0,0-1-1,-1 1 1,1 0 0,-1-1 0,1 1 0,-1 0-1,1-1 1,-1 1 0,0 0 0,1-1-1,-1 1 1,0-1 0,1 1 0,-1-1-1,0 1 1,0-1 0,1 0 0,-1 1-1,0-1 1,0 0 0,0 0 0,1 0-1,-1 1 1,0-1 0,-2 0 0,-30 3-166,26-3-44,-40 0-4255,32 0-35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22T02:43:32.560"/>
    </inkml:context>
    <inkml:brush xml:id="br0">
      <inkml:brushProperty name="width" value="0.1" units="cm"/>
      <inkml:brushProperty name="height" value="0.1" units="cm"/>
      <inkml:brushProperty name="color" value="#E71224"/>
      <inkml:brushProperty name="ignorePressure" value="1"/>
    </inkml:brush>
  </inkml:definitions>
  <inkml:trace contextRef="#ctx0" brushRef="#br0">0 1,'763'0,"-741"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61"/>
    </inkml:context>
    <inkml:brush xml:id="br0">
      <inkml:brushProperty name="width" value="0.05292" units="cm"/>
      <inkml:brushProperty name="height" value="0.05292" units="cm"/>
      <inkml:brushProperty name="color" value="#E71224"/>
    </inkml:brush>
  </inkml:definitions>
  <inkml:trace contextRef="#ctx0" brushRef="#br0">151 328 11162,'0'0'1209,"0"0"-921,-5-2-383,1 1 151,3 0-101,-1 0 0,1 0-1,-1 0 1,0 1 0,1-1 0,-1 1-1,0-1 1,0 1 0,0 0 0,1-1-1,-1 1 1,0 0 0,0 0 0,0 1-1,0-1 1,1 0 0,-1 0 0,0 1-1,0-1 1,1 1 0,-1 0 0,0 0-1,1-1 1,-1 1 0,0 0 0,1 0-1,-2 2 1,-7 8 137,0 1-1,1 0 1,1 0-1,0 1 1,1 0-1,0 1 1,1-1-1,0 1 1,1 0-1,1 1 1,0-1-1,1 1 1,1 0-1,0 0 1,1 20-1,1-34-96,0 0-1,0-1 0,0 1 0,0-1 0,0 1 1,0-1-1,0 1 0,0-1 0,0 1 1,0-1-1,0 1 0,1 0 0,-1-1 0,0 1 1,0-1-1,1 1 0,-1-1 0,0 0 1,1 1-1,-1-1 0,1 1 0,-1-1 0,0 0 1,1 1-1,-1-1 0,1 0 0,-1 1 0,1-1 1,1 1-1,-1-1-1,0 0 1,1 0 0,-1 0 0,0 0 0,0 0 0,1 0 0,-1 0-1,0-1 1,1 1 0,-1 0 0,2-1 0,1-1 2,0 1 0,0-1 1,0 0-1,0 0 0,-1-1 0,1 1 1,4-5-1,11-14 55,-2-1 1,0-1-1,-2 0 1,0-1-1,-1-1 1,11-31-1,-5 7-27,-3-2-1,15-68 1,-26 90 197,-1 1 1,3-59-1,-8 86 308,0 1 37,1 4-542,0 0 0,0-1 0,0 1 1,-1 0-1,1 0 0,-1 0 0,0-1 0,0 1 1,-1 5-1,0 7 31,1 290 1200,0-296-1338,0 0 0,1 0 0,3 14 1,7 1-1875,-10-24 1549,0 0 0,0 0 0,0 0 1,0 1-1,0-1 0,1 0 0,-1 0 0,0-1 1,1 1-1,-1 0 0,1 0 0,-1-1 0,3 2 0,5-2-3739</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62"/>
    </inkml:context>
    <inkml:brush xml:id="br0">
      <inkml:brushProperty name="width" value="0.05292" units="cm"/>
      <inkml:brushProperty name="height" value="0.05292" units="cm"/>
      <inkml:brushProperty name="color" value="#E71224"/>
    </inkml:brush>
  </inkml:definitions>
  <inkml:trace contextRef="#ctx0" brushRef="#br0">0 138 9970,'0'0'1032,"0"0"-1013,0 0-164,0 0 201,11-14 21,32-45-10,-42 57-47,1 0 1,0-1 0,-1 1-1,0-1 1,1 1-1,-1-1 1,0 1 0,0-1-1,-1 0 1,1 0-1,0 1 1,-1-1 0,0 0-1,0 0 1,0 0 0,0 0-1,-1-4 1,0-5 664,-9 18-65,5 1-595,1 0 1,0 1-1,0-1 1,1 1-1,0 0 0,0 0 1,1 0-1,0 1 0,-1 12 1,0 10 43,2 39 1,1-44-78,0-24-49,0-1 0,1 1 0,-1-1-1,0 1 1,1 0 0,-1-1 0,1 0-1,0 1 1,-1-1 0,1 1-1,0-1 1,0 0 0,0 1 0,0-1-1,0 0 1,0 0 0,0 0 0,1 0-1,-1 0 1,0 0 0,1 0-1,-1 0 1,0-1 0,1 1 0,-1 0-1,1-1 1,-1 1 0,1-1 0,-1 0-1,1 1 1,0-1 0,-1 0-1,3 0 1,3 1-303,-1-1-1,0 0 1,0 0 0,1-1-1,-1 0 1,0 0-1,9-2 1,-11 1 30,0 0 0,0 0-1,0 0 1,0 0 0,5-5-1,15-14-2561</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2T02:43:32.563"/>
    </inkml:context>
    <inkml:brush xml:id="br0">
      <inkml:brushProperty name="width" value="0.05292" units="cm"/>
      <inkml:brushProperty name="height" value="0.05292" units="cm"/>
      <inkml:brushProperty name="color" value="#E71224"/>
    </inkml:brush>
  </inkml:definitions>
  <inkml:trace contextRef="#ctx0" brushRef="#br0">1 1 7618,'0'0'3480,"0"0"-2057,0 0-883,0 0 85,0 28 288,0 172-35,0-132-1155,2 94 1173,0-137-1881,1 0 0,2-1-1,0 1 1,12 33 0,-17-66-4085,1 2 3520,-1-16-2808</inkml:trace>
</inkml:ink>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5/03/2022</a:t>
            </a:fld>
            <a:endParaRPr lang="en-US"/>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297893" y="205655"/>
            <a:ext cx="399865" cy="4111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monkeylearn.com/text-classification/" TargetMode="External"/><Relationship Id="rId13" Type="http://schemas.openxmlformats.org/officeDocument/2006/relationships/hyperlink" Target="https://monkeylearn.com/keyword-extraction/" TargetMode="External"/><Relationship Id="rId18" Type="http://schemas.openxmlformats.org/officeDocument/2006/relationships/hyperlink" Target="https://monkeylearn.com/email-response-classifier-online/" TargetMode="External"/><Relationship Id="rId3" Type="http://schemas.openxmlformats.org/officeDocument/2006/relationships/hyperlink" Target="https://monkeylearn.com/blog/natural-language-understanding/" TargetMode="External"/><Relationship Id="rId21" Type="http://schemas.openxmlformats.org/officeDocument/2006/relationships/hyperlink" Target="https://monkeylearn.com/" TargetMode="External"/><Relationship Id="rId7" Type="http://schemas.openxmlformats.org/officeDocument/2006/relationships/hyperlink" Target="https://monkeylearn.com/sentiment-analysis-online/" TargetMode="External"/><Relationship Id="rId12" Type="http://schemas.openxmlformats.org/officeDocument/2006/relationships/hyperlink" Target="https://monkeylearn.com/blog/named-entity-recognition/" TargetMode="External"/><Relationship Id="rId17" Type="http://schemas.openxmlformats.org/officeDocument/2006/relationships/hyperlink" Target="https://monkeylearn.com/blog/intent-classification/" TargetMode="External"/><Relationship Id="rId2" Type="http://schemas.openxmlformats.org/officeDocument/2006/relationships/slide" Target="../slides/slide4.xml"/><Relationship Id="rId16" Type="http://schemas.openxmlformats.org/officeDocument/2006/relationships/hyperlink" Target="https://www.forbes.com/sites/bernardmarr/2018/11/12/the-amazing-ways-google-and-grammarly-use-artificial-intelligence-to-improve-our-writing/#5de1d69b3bb0" TargetMode="External"/><Relationship Id="rId20" Type="http://schemas.openxmlformats.org/officeDocument/2006/relationships/hyperlink" Target="https://monkeylearn.com/blog/natural-language-processing-tools/" TargetMode="External"/><Relationship Id="rId1" Type="http://schemas.openxmlformats.org/officeDocument/2006/relationships/notesMaster" Target="../notesMasters/notesMaster1.xml"/><Relationship Id="rId6" Type="http://schemas.openxmlformats.org/officeDocument/2006/relationships/hyperlink" Target="https://monkeylearn.com/blog/aspect-based-sentiment-analysis/" TargetMode="External"/><Relationship Id="rId11" Type="http://schemas.openxmlformats.org/officeDocument/2006/relationships/hyperlink" Target="https://www.invespcro.com/blog/chatbots-customer-service/" TargetMode="External"/><Relationship Id="rId5" Type="http://schemas.openxmlformats.org/officeDocument/2006/relationships/hyperlink" Target="https://monkeylearn.com/blog/social-media-sentiment-analysis/" TargetMode="External"/><Relationship Id="rId15" Type="http://schemas.openxmlformats.org/officeDocument/2006/relationships/hyperlink" Target="https://ai.facebook.com/blog/facebook-leads-wmt-translation-competition/" TargetMode="External"/><Relationship Id="rId10" Type="http://schemas.openxmlformats.org/officeDocument/2006/relationships/hyperlink" Target="https://www.raconteur.net/technology/technology-that-gives-machines-a-voice" TargetMode="External"/><Relationship Id="rId19" Type="http://schemas.openxmlformats.org/officeDocument/2006/relationships/hyperlink" Target="https://monkeylearn.com/blog/detecting-squeaky-wheel-urgency-in-customer-support-tickets/" TargetMode="External"/><Relationship Id="rId4" Type="http://schemas.openxmlformats.org/officeDocument/2006/relationships/hyperlink" Target="https://monkeylearn.com/sentiment-analysis/" TargetMode="External"/><Relationship Id="rId9" Type="http://schemas.openxmlformats.org/officeDocument/2006/relationships/hyperlink" Target="https://monkeylearn.com/nps-feedback-analysis-online/" TargetMode="External"/><Relationship Id="rId14" Type="http://schemas.openxmlformats.org/officeDocument/2006/relationships/hyperlink" Target="https://monkeylearn.com/keyword-extractor-online/"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a:t>
            </a:fld>
            <a:endParaRPr lang="en-US"/>
          </a:p>
        </p:txBody>
      </p:sp>
      <p:sp>
        <p:nvSpPr>
          <p:cNvPr id="3" name="Folienbildplatzhalter 2"/>
          <p:cNvSpPr>
            <a:spLocks noGrp="1" noRot="1" noChangeAspect="1"/>
          </p:cNvSpPr>
          <p:nvPr>
            <p:ph type="sldImg"/>
          </p:nvPr>
        </p:nvSpPr>
        <p:spPr>
          <a:xfrm>
            <a:off x="153988" y="617538"/>
            <a:ext cx="3292475" cy="1852612"/>
          </a:xfrm>
        </p:spPr>
      </p:sp>
      <p:sp>
        <p:nvSpPr>
          <p:cNvPr id="5" name="Notizenplatzhalt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90862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endParaRPr lang="en-US"/>
          </a:p>
        </p:txBody>
      </p:sp>
    </p:spTree>
    <p:extLst>
      <p:ext uri="{BB962C8B-B14F-4D97-AF65-F5344CB8AC3E}">
        <p14:creationId xmlns:p14="http://schemas.microsoft.com/office/powerpoint/2010/main" val="6669192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endParaRPr lang="en-US"/>
          </a:p>
        </p:txBody>
      </p:sp>
    </p:spTree>
    <p:extLst>
      <p:ext uri="{BB962C8B-B14F-4D97-AF65-F5344CB8AC3E}">
        <p14:creationId xmlns:p14="http://schemas.microsoft.com/office/powerpoint/2010/main" val="3671978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endParaRPr lang="en-US"/>
          </a:p>
        </p:txBody>
      </p:sp>
    </p:spTree>
    <p:extLst>
      <p:ext uri="{BB962C8B-B14F-4D97-AF65-F5344CB8AC3E}">
        <p14:creationId xmlns:p14="http://schemas.microsoft.com/office/powerpoint/2010/main" val="4991298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endParaRPr lang="en-US"/>
          </a:p>
        </p:txBody>
      </p:sp>
    </p:spTree>
    <p:extLst>
      <p:ext uri="{BB962C8B-B14F-4D97-AF65-F5344CB8AC3E}">
        <p14:creationId xmlns:p14="http://schemas.microsoft.com/office/powerpoint/2010/main" val="23071920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r>
              <a:rPr lang="zh-CN" altLang="en-US"/>
              <a:t>计算机得到知识 我们再去审查，查看计算机获得的知识</a:t>
            </a:r>
            <a:endParaRPr lang="en-US"/>
          </a:p>
        </p:txBody>
      </p:sp>
    </p:spTree>
    <p:extLst>
      <p:ext uri="{BB962C8B-B14F-4D97-AF65-F5344CB8AC3E}">
        <p14:creationId xmlns:p14="http://schemas.microsoft.com/office/powerpoint/2010/main" val="23271502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r>
              <a:rPr lang="zh-CN" altLang="en-US"/>
              <a:t>写错字了，加快了计算机的进程</a:t>
            </a:r>
            <a:endParaRPr lang="en-US"/>
          </a:p>
        </p:txBody>
      </p:sp>
    </p:spTree>
    <p:extLst>
      <p:ext uri="{BB962C8B-B14F-4D97-AF65-F5344CB8AC3E}">
        <p14:creationId xmlns:p14="http://schemas.microsoft.com/office/powerpoint/2010/main" val="35340716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pPr algn="l"/>
            <a:endParaRPr lang="en-US"/>
          </a:p>
        </p:txBody>
      </p:sp>
    </p:spTree>
    <p:extLst>
      <p:ext uri="{BB962C8B-B14F-4D97-AF65-F5344CB8AC3E}">
        <p14:creationId xmlns:p14="http://schemas.microsoft.com/office/powerpoint/2010/main" val="3448792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lang="en-US">
                <a:solidFill>
                  <a:srgbClr val="002060"/>
                </a:solidFill>
              </a:rPr>
              <a:t>Despite the potential, how we capture and analyze the data can be challenging. We can’t capture everything, nor can we ask long lists of questions repeatedly to get what we need. For more observational techniques, concerns around privacy, sample bias and the sheer impracticality of monitoring and capturing data continuously means we must be thoughtful about how we best answer out questions balancing cost, inconvenience and intrusion on one hand with the potential of improved treatment and care on the other</a:t>
            </a:r>
          </a:p>
          <a:p>
            <a:pPr marL="0" marR="0" lvl="0" indent="0" algn="l" defTabSz="914400" rtl="0" eaLnBrk="1" fontAlgn="auto" latinLnBrk="0" hangingPunct="1">
              <a:lnSpc>
                <a:spcPct val="100000"/>
              </a:lnSpc>
              <a:spcBef>
                <a:spcPts val="1800"/>
              </a:spcBef>
              <a:spcAft>
                <a:spcPts val="0"/>
              </a:spcAft>
              <a:buClrTx/>
              <a:buSzTx/>
              <a:buFontTx/>
              <a:buNone/>
              <a:tabLst/>
              <a:defRPr/>
            </a:pPr>
            <a:endParaRPr lang="en-US">
              <a:solidFill>
                <a:srgbClr val="002060"/>
              </a:solidFill>
            </a:endParaRPr>
          </a:p>
          <a:p>
            <a:pPr marL="285750" indent="-285750" fontAlgn="base">
              <a:lnSpc>
                <a:spcPts val="2000"/>
              </a:lnSpc>
              <a:spcBef>
                <a:spcPct val="0"/>
              </a:spcBef>
              <a:spcAft>
                <a:spcPct val="0"/>
              </a:spcAft>
              <a:buFont typeface="Wingdings" panose="05000000000000000000" pitchFamily="2" charset="2"/>
              <a:buChar char="Ø"/>
            </a:pPr>
            <a:r>
              <a:rPr lang="zh-CN" altLang="en-US" sz="1200">
                <a:solidFill>
                  <a:prstClr val="black"/>
                </a:solidFill>
                <a:latin typeface="微软雅黑" panose="020B0503020204020204" pitchFamily="34" charset="-122"/>
                <a:ea typeface="微软雅黑" panose="020B0503020204020204" pitchFamily="34" charset="-122"/>
              </a:rPr>
              <a:t>当舆情正负比值到达警戒线时，系统实时发出提醒</a:t>
            </a:r>
            <a:endParaRPr lang="en-US" altLang="zh-CN" sz="1200">
              <a:solidFill>
                <a:prstClr val="black"/>
              </a:solidFill>
              <a:latin typeface="微软雅黑" panose="020B0503020204020204" pitchFamily="34" charset="-122"/>
              <a:ea typeface="微软雅黑" panose="020B0503020204020204" pitchFamily="34" charset="-122"/>
            </a:endParaRPr>
          </a:p>
          <a:p>
            <a:pPr marL="285750" indent="-285750" fontAlgn="base">
              <a:lnSpc>
                <a:spcPts val="2000"/>
              </a:lnSpc>
              <a:spcBef>
                <a:spcPct val="0"/>
              </a:spcBef>
              <a:spcAft>
                <a:spcPct val="0"/>
              </a:spcAft>
              <a:buFont typeface="Wingdings" panose="05000000000000000000" pitchFamily="2" charset="2"/>
              <a:buChar char="Ø"/>
            </a:pPr>
            <a:r>
              <a:rPr lang="zh-CN" altLang="en-US" sz="1200">
                <a:solidFill>
                  <a:prstClr val="black"/>
                </a:solidFill>
                <a:latin typeface="微软雅黑" panose="020B0503020204020204" pitchFamily="34" charset="-122"/>
                <a:ea typeface="微软雅黑" panose="020B0503020204020204" pitchFamily="34" charset="-122"/>
              </a:rPr>
              <a:t>每出现一篇新的负面文章时，系统实时发出提醒</a:t>
            </a:r>
          </a:p>
          <a:p>
            <a:pPr marL="0" marR="0" lvl="0" indent="0" algn="l" defTabSz="914400" rtl="0" eaLnBrk="1" fontAlgn="auto" latinLnBrk="0" hangingPunct="1">
              <a:lnSpc>
                <a:spcPct val="100000"/>
              </a:lnSpc>
              <a:spcBef>
                <a:spcPts val="1800"/>
              </a:spcBef>
              <a:spcAft>
                <a:spcPts val="0"/>
              </a:spcAft>
              <a:buClrTx/>
              <a:buSzTx/>
              <a:buFontTx/>
              <a:buNone/>
              <a:tabLst/>
              <a:defRPr/>
            </a:pPr>
            <a:endParaRPr lang="en-US">
              <a:solidFill>
                <a:srgbClr val="002060"/>
              </a:solidFill>
            </a:endParaRPr>
          </a:p>
          <a:p>
            <a:endParaRPr lang="en-US"/>
          </a:p>
        </p:txBody>
      </p:sp>
      <p:sp>
        <p:nvSpPr>
          <p:cNvPr id="4" name="Slide Number Placeholder 3"/>
          <p:cNvSpPr>
            <a:spLocks noGrp="1"/>
          </p:cNvSpPr>
          <p:nvPr>
            <p:ph type="sldNum" sz="quarter" idx="5"/>
          </p:nvPr>
        </p:nvSpPr>
        <p:spPr/>
        <p:txBody>
          <a:bodyPr/>
          <a:lstStyle/>
          <a:p>
            <a:fld id="{32F3CE37-8989-471A-BC57-D3CAAD03839D}" type="slidenum">
              <a:rPr lang="en-US" smtClean="0"/>
              <a:pPr/>
              <a:t>26</a:t>
            </a:fld>
            <a:endParaRPr lang="en-US"/>
          </a:p>
        </p:txBody>
      </p:sp>
    </p:spTree>
    <p:extLst>
      <p:ext uri="{BB962C8B-B14F-4D97-AF65-F5344CB8AC3E}">
        <p14:creationId xmlns:p14="http://schemas.microsoft.com/office/powerpoint/2010/main" val="42085810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8</a:t>
            </a:fld>
            <a:endParaRPr lang="en-US"/>
          </a:p>
        </p:txBody>
      </p:sp>
      <p:sp>
        <p:nvSpPr>
          <p:cNvPr id="6" name="Slide Image Placeholder 5"/>
          <p:cNvSpPr>
            <a:spLocks noGrp="1" noRot="1" noChangeAspect="1"/>
          </p:cNvSpPr>
          <p:nvPr>
            <p:ph type="sldImg"/>
          </p:nvPr>
        </p:nvSpPr>
        <p:spPr>
          <a:xfrm>
            <a:off x="153988" y="617538"/>
            <a:ext cx="3292475" cy="1852612"/>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58360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LP </a:t>
            </a:r>
            <a:r>
              <a:rPr lang="zh-CN" altLang="en-US"/>
              <a:t>包含什么？ </a:t>
            </a:r>
            <a:endParaRPr lang="en-US" altLang="zh-CN"/>
          </a:p>
          <a:p>
            <a:r>
              <a:rPr lang="zh-CN" altLang="en-US"/>
              <a:t>天猫精灵，小爱小爱</a:t>
            </a:r>
            <a:endParaRPr lang="en-US" altLang="zh-CN"/>
          </a:p>
          <a:p>
            <a:endParaRPr lang="en-US"/>
          </a:p>
        </p:txBody>
      </p:sp>
      <p:sp>
        <p:nvSpPr>
          <p:cNvPr id="4" name="Slide Number Placeholder 3"/>
          <p:cNvSpPr>
            <a:spLocks noGrp="1"/>
          </p:cNvSpPr>
          <p:nvPr>
            <p:ph type="sldNum" sz="quarter" idx="5"/>
          </p:nvPr>
        </p:nvSpPr>
        <p:spPr/>
        <p:txBody>
          <a:bodyPr/>
          <a:lstStyle/>
          <a:p>
            <a:fld id="{32F3CE37-8989-471A-BC57-D3CAAD03839D}" type="slidenum">
              <a:rPr lang="en-US" smtClean="0"/>
              <a:pPr/>
              <a:t>30</a:t>
            </a:fld>
            <a:endParaRPr lang="en-US"/>
          </a:p>
        </p:txBody>
      </p:sp>
    </p:spTree>
    <p:extLst>
      <p:ext uri="{BB962C8B-B14F-4D97-AF65-F5344CB8AC3E}">
        <p14:creationId xmlns:p14="http://schemas.microsoft.com/office/powerpoint/2010/main" val="3306982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de-DE"/>
              <a:t>EMR, clinical report</a:t>
            </a:r>
          </a:p>
          <a:p>
            <a:pPr lvl="1"/>
            <a:r>
              <a:rPr lang="de-DE"/>
              <a:t>paper, literature, post, conference, talking</a:t>
            </a:r>
          </a:p>
          <a:p>
            <a:pPr lvl="1"/>
            <a:r>
              <a:rPr lang="de-DE"/>
              <a:t>official files, patient voice, physican vioce, competitor voice </a:t>
            </a:r>
          </a:p>
          <a:p>
            <a:endParaRPr lang="en-US"/>
          </a:p>
        </p:txBody>
      </p:sp>
      <p:sp>
        <p:nvSpPr>
          <p:cNvPr id="4" name="Slide Number Placeholder 3"/>
          <p:cNvSpPr>
            <a:spLocks noGrp="1"/>
          </p:cNvSpPr>
          <p:nvPr>
            <p:ph type="sldNum" sz="quarter" idx="5"/>
          </p:nvPr>
        </p:nvSpPr>
        <p:spPr/>
        <p:txBody>
          <a:bodyPr/>
          <a:lstStyle/>
          <a:p>
            <a:fld id="{32F3CE37-8989-471A-BC57-D3CAAD03839D}" type="slidenum">
              <a:rPr lang="en-US" smtClean="0"/>
              <a:pPr/>
              <a:t>3</a:t>
            </a:fld>
            <a:endParaRPr lang="en-US"/>
          </a:p>
        </p:txBody>
      </p:sp>
    </p:spTree>
    <p:extLst>
      <p:ext uri="{BB962C8B-B14F-4D97-AF65-F5344CB8AC3E}">
        <p14:creationId xmlns:p14="http://schemas.microsoft.com/office/powerpoint/2010/main" val="2880597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1. Sentiment Analysis</a:t>
            </a:r>
          </a:p>
          <a:p>
            <a:r>
              <a:rPr lang="en-US">
                <a:hlinkClick r:id="rId3"/>
              </a:rPr>
              <a:t>Natural language understanding</a:t>
            </a:r>
            <a:r>
              <a:rPr lang="en-US"/>
              <a:t> is particularly difficult for machines when it comes to opinions, given that humans often use sarcasm and irony. </a:t>
            </a:r>
            <a:r>
              <a:rPr lang="en-US">
                <a:hlinkClick r:id="rId4"/>
              </a:rPr>
              <a:t>Sentiment analysis</a:t>
            </a:r>
            <a:r>
              <a:rPr lang="en-US"/>
              <a:t>, however, is able to recognize subtle nuances in emotions and opinions ‒ and determine how positive or negative they are.</a:t>
            </a:r>
          </a:p>
          <a:p>
            <a:r>
              <a:rPr lang="en-US"/>
              <a:t>When you analyze sentiment in real-time, you can </a:t>
            </a:r>
            <a:r>
              <a:rPr lang="en-US">
                <a:hlinkClick r:id="rId5"/>
              </a:rPr>
              <a:t>monitor mentions on social media</a:t>
            </a:r>
            <a:r>
              <a:rPr lang="en-US"/>
              <a:t> (and handle negative comments before they escalate), gauge customer reactions to your latest marketing campaign or product launch, and get an overall sense of how customers feel about your company.</a:t>
            </a:r>
          </a:p>
          <a:p>
            <a:r>
              <a:rPr lang="en-US"/>
              <a:t>You can also perform sentiment analysis periodically, and understand what customers like and dislike about </a:t>
            </a:r>
            <a:r>
              <a:rPr lang="en-US" i="1">
                <a:hlinkClick r:id="rId6"/>
              </a:rPr>
              <a:t>specific aspects</a:t>
            </a:r>
            <a:r>
              <a:rPr lang="en-US">
                <a:hlinkClick r:id="rId6"/>
              </a:rPr>
              <a:t> of your business</a:t>
            </a:r>
            <a:r>
              <a:rPr lang="en-US"/>
              <a:t> ‒ maybe they love your new feature, but are disappointed about your customer service. Those insights can help you make smarter decisions, as they show you exactly what things to improve.</a:t>
            </a:r>
          </a:p>
          <a:p>
            <a:r>
              <a:rPr lang="en-US"/>
              <a:t>Try out this </a:t>
            </a:r>
            <a:r>
              <a:rPr lang="en-US">
                <a:hlinkClick r:id="rId7"/>
              </a:rPr>
              <a:t>online sentiment analyzer</a:t>
            </a:r>
            <a:r>
              <a:rPr lang="en-US"/>
              <a:t> to see how natural language processing sorts your text by emotions:</a:t>
            </a:r>
          </a:p>
          <a:p>
            <a:r>
              <a:rPr lang="en-US" b="1"/>
              <a:t>Test with your own text</a:t>
            </a:r>
          </a:p>
          <a:p>
            <a:r>
              <a:rPr lang="en-US" b="1"/>
              <a:t>Results</a:t>
            </a:r>
          </a:p>
          <a:p>
            <a:r>
              <a:rPr lang="en-US" err="1"/>
              <a:t>TagConfidence</a:t>
            </a:r>
            <a:endParaRPr lang="en-US"/>
          </a:p>
          <a:p>
            <a:r>
              <a:rPr lang="en-US"/>
              <a:t>Positive87.9%</a:t>
            </a:r>
          </a:p>
          <a:p>
            <a:r>
              <a:rPr lang="en-US" b="1"/>
              <a:t>2. Text Classification</a:t>
            </a:r>
          </a:p>
          <a:p>
            <a:r>
              <a:rPr lang="en-US">
                <a:hlinkClick r:id="rId8"/>
              </a:rPr>
              <a:t>Text classification</a:t>
            </a:r>
            <a:r>
              <a:rPr lang="en-US"/>
              <a:t>, a text analysis task that also includes sentiment analysis, involves automatically understanding, processing, and categorizing unstructured text. </a:t>
            </a:r>
          </a:p>
          <a:p>
            <a:r>
              <a:rPr lang="en-US"/>
              <a:t>Let’s say you want to analyze hundreds of open-ended responses to your recent NPS survey. Doing it manually would take you a lot of time and end up being too expensive. But what if you could train a natural language processing model to automatically tag your data in just seconds, using predefined categories and applying your own criteria? </a:t>
            </a:r>
          </a:p>
          <a:p>
            <a:r>
              <a:rPr lang="en-US"/>
              <a:t>You might use a  </a:t>
            </a:r>
            <a:r>
              <a:rPr lang="en-US">
                <a:hlinkClick r:id="rId9"/>
              </a:rPr>
              <a:t>topic classifier for NPS survey responses</a:t>
            </a:r>
            <a:r>
              <a:rPr lang="en-US"/>
              <a:t>, which automatically tags your data by topics like </a:t>
            </a:r>
            <a:r>
              <a:rPr lang="en-US" i="1"/>
              <a:t>Customer Support, Features, Ease of Use,</a:t>
            </a:r>
            <a:r>
              <a:rPr lang="en-US"/>
              <a:t> and </a:t>
            </a:r>
            <a:r>
              <a:rPr lang="en-US" i="1"/>
              <a:t>Pricing</a:t>
            </a:r>
            <a:r>
              <a:rPr lang="en-US"/>
              <a:t>. Give it a try and see how it performs! </a:t>
            </a:r>
          </a:p>
          <a:p>
            <a:r>
              <a:rPr lang="en-US" b="1"/>
              <a:t>3. Chatbots &amp; Virtual Assistants</a:t>
            </a:r>
          </a:p>
          <a:p>
            <a:r>
              <a:rPr lang="en-US"/>
              <a:t>Chatbots and virtual assistants are used for automatic question answering, designed to understand natural language and deliver an appropriate response through </a:t>
            </a:r>
            <a:r>
              <a:rPr lang="en-US">
                <a:hlinkClick r:id="rId10"/>
              </a:rPr>
              <a:t>natural language generation</a:t>
            </a:r>
            <a:r>
              <a:rPr lang="en-US"/>
              <a:t>. </a:t>
            </a:r>
          </a:p>
          <a:p>
            <a:r>
              <a:rPr lang="en-US"/>
              <a:t>Standard question answering systems follow pre-defined rules, while AI-powered chatbots and virtual assistants are able to learn from every interaction and understand how they should respond. The best part: they learn from interactions and improve over time. </a:t>
            </a:r>
          </a:p>
          <a:p>
            <a:r>
              <a:rPr lang="en-US"/>
              <a:t>These intelligent machines are increasingly present at the frontline of customer support, as they can help teams solve </a:t>
            </a:r>
            <a:r>
              <a:rPr lang="en-US">
                <a:hlinkClick r:id="rId11"/>
              </a:rPr>
              <a:t>up to 80% of all routine queries</a:t>
            </a:r>
            <a:r>
              <a:rPr lang="en-US"/>
              <a:t> and route more complex issues to human agents. Available 24/7, chatbots and virtual assistants can speed up response times, and relieve agents from repetitive and time-consuming queries.</a:t>
            </a:r>
          </a:p>
          <a:p>
            <a:r>
              <a:rPr lang="en-US" b="1"/>
              <a:t>4. Text Extraction</a:t>
            </a:r>
          </a:p>
          <a:p>
            <a:r>
              <a:rPr lang="en-US"/>
              <a:t>Text extraction, or information extraction, automatically detects specific information in a text, such as names, companies, places, and more. This is also known as </a:t>
            </a:r>
            <a:r>
              <a:rPr lang="en-US">
                <a:hlinkClick r:id="rId12"/>
              </a:rPr>
              <a:t>named entity recognition</a:t>
            </a:r>
            <a:r>
              <a:rPr lang="en-US"/>
              <a:t>. You can also </a:t>
            </a:r>
            <a:r>
              <a:rPr lang="en-US">
                <a:hlinkClick r:id="rId13"/>
              </a:rPr>
              <a:t>extract keywords</a:t>
            </a:r>
            <a:r>
              <a:rPr lang="en-US"/>
              <a:t> within a text, as well as pre-defined features such as product serial numbers and models.</a:t>
            </a:r>
          </a:p>
          <a:p>
            <a:r>
              <a:rPr lang="en-US"/>
              <a:t>Applications of text extraction include sifting through incoming support tickets and identifying specific data, like company names, order numbers, and email addresses without needing to open and read every ticket. </a:t>
            </a:r>
          </a:p>
          <a:p>
            <a:r>
              <a:rPr lang="en-US"/>
              <a:t>You might also want to use text extraction for data entry. You could pull out the information you need and set up a trigger to automatically enter this information in your database. </a:t>
            </a:r>
          </a:p>
          <a:p>
            <a:r>
              <a:rPr lang="en-US"/>
              <a:t>Keyword extraction, on the other hand, gives you an overview of the content of a text, as this </a:t>
            </a:r>
            <a:r>
              <a:rPr lang="en-US">
                <a:hlinkClick r:id="rId14"/>
              </a:rPr>
              <a:t>free natural language processing model</a:t>
            </a:r>
            <a:r>
              <a:rPr lang="en-US"/>
              <a:t> shows. Combined with sentiment analysis, keyword extraction can add an extra layer of insight, by telling you which words customers used most often to express negativity toward your product or service. </a:t>
            </a:r>
          </a:p>
          <a:p>
            <a:r>
              <a:rPr lang="en-US"/>
              <a:t>Try out this </a:t>
            </a:r>
            <a:r>
              <a:rPr lang="en-US">
                <a:hlinkClick r:id="rId14"/>
              </a:rPr>
              <a:t>online keyword extractor</a:t>
            </a:r>
            <a:r>
              <a:rPr lang="en-US"/>
              <a:t>:</a:t>
            </a:r>
          </a:p>
          <a:p>
            <a:r>
              <a:rPr lang="en-US" b="1"/>
              <a:t>Test with your own text</a:t>
            </a:r>
          </a:p>
          <a:p>
            <a:r>
              <a:rPr lang="en-US" b="1"/>
              <a:t>Results</a:t>
            </a:r>
          </a:p>
          <a:p>
            <a:r>
              <a:rPr lang="en-US" err="1"/>
              <a:t>TagValue</a:t>
            </a:r>
            <a:endParaRPr lang="en-US"/>
          </a:p>
          <a:p>
            <a:r>
              <a:rPr lang="en-US" err="1"/>
              <a:t>KEYWORDelon</a:t>
            </a:r>
            <a:r>
              <a:rPr lang="en-US"/>
              <a:t> musk</a:t>
            </a:r>
          </a:p>
          <a:p>
            <a:r>
              <a:rPr lang="en-US" err="1"/>
              <a:t>KEYWORDsecond</a:t>
            </a:r>
            <a:r>
              <a:rPr lang="en-US"/>
              <a:t> image</a:t>
            </a:r>
          </a:p>
          <a:p>
            <a:r>
              <a:rPr lang="en-US" err="1"/>
              <a:t>KEYWORDspacesuit</a:t>
            </a:r>
            <a:endParaRPr lang="en-US"/>
          </a:p>
          <a:p>
            <a:r>
              <a:rPr lang="en-US" err="1"/>
              <a:t>KEYWORDbody</a:t>
            </a:r>
            <a:r>
              <a:rPr lang="en-US"/>
              <a:t> look</a:t>
            </a:r>
          </a:p>
          <a:p>
            <a:r>
              <a:rPr lang="en-US" err="1"/>
              <a:t>KEYWORDnew</a:t>
            </a:r>
            <a:r>
              <a:rPr lang="en-US"/>
              <a:t> design</a:t>
            </a:r>
          </a:p>
          <a:p>
            <a:r>
              <a:rPr lang="en-US" err="1"/>
              <a:t>KEYWORDphoto</a:t>
            </a:r>
            <a:endParaRPr lang="en-US"/>
          </a:p>
          <a:p>
            <a:r>
              <a:rPr lang="en-US" err="1"/>
              <a:t>KEYWORDspacex</a:t>
            </a:r>
            <a:endParaRPr lang="en-US"/>
          </a:p>
          <a:p>
            <a:r>
              <a:rPr lang="en-US" b="1"/>
              <a:t>5. Machine Translation</a:t>
            </a:r>
          </a:p>
          <a:p>
            <a:r>
              <a:rPr lang="en-US"/>
              <a:t>Machine translation (MT) is one of the first applications of natural language processing. Even though </a:t>
            </a:r>
            <a:r>
              <a:rPr lang="en-US" err="1">
                <a:hlinkClick r:id="rId15"/>
              </a:rPr>
              <a:t>Facebooks’s</a:t>
            </a:r>
            <a:r>
              <a:rPr lang="en-US">
                <a:hlinkClick r:id="rId15"/>
              </a:rPr>
              <a:t> translations have been declared superhuman</a:t>
            </a:r>
            <a:r>
              <a:rPr lang="en-US"/>
              <a:t>, machine translation still faces the challenge of understanding context. </a:t>
            </a:r>
          </a:p>
          <a:p>
            <a:r>
              <a:rPr lang="en-US"/>
              <a:t>However, if you’ve been an avid user of Google Translate over the years, you’ll know that it has come a long way since its inception, mainly thanks to huge advances in the field of neural networks and the increased availability of large amounts of data.</a:t>
            </a:r>
          </a:p>
          <a:p>
            <a:r>
              <a:rPr lang="en-US"/>
              <a:t>Automated translation is particularly useful in business because it facilitates communication, allows companies to reach broader audiences, and understand foreign documentation in a fast and cost-effective way. </a:t>
            </a:r>
          </a:p>
          <a:p>
            <a:r>
              <a:rPr lang="en-US" b="1"/>
              <a:t>6. Text Summarization</a:t>
            </a:r>
          </a:p>
          <a:p>
            <a:r>
              <a:rPr lang="en-US"/>
              <a:t>Automatic summarization is pretty self-explanatory. It summarizes text, by extracting the most important information. Its main goal is to simplify the process of going through vast amounts of data, such as scientific papers, news content, or legal documentation. </a:t>
            </a:r>
          </a:p>
          <a:p>
            <a:r>
              <a:rPr lang="en-US"/>
              <a:t>There are two ways of using natural language processing to summarize data: </a:t>
            </a:r>
            <a:r>
              <a:rPr lang="en-US" i="1"/>
              <a:t>extraction-based summarization</a:t>
            </a:r>
            <a:r>
              <a:rPr lang="en-US"/>
              <a:t> ‒ which extracts </a:t>
            </a:r>
            <a:r>
              <a:rPr lang="en-US" err="1"/>
              <a:t>keyphrases</a:t>
            </a:r>
            <a:r>
              <a:rPr lang="en-US"/>
              <a:t> and creates a summary, without adding any extra information ‒ and </a:t>
            </a:r>
            <a:r>
              <a:rPr lang="en-US" i="1"/>
              <a:t>abstraction-based summarization,</a:t>
            </a:r>
            <a:r>
              <a:rPr lang="en-US"/>
              <a:t> which creates new phrases paraphrasing the original source. This second approach is more common and performs better.</a:t>
            </a:r>
          </a:p>
          <a:p>
            <a:r>
              <a:rPr lang="en-US" b="1"/>
              <a:t>7. Market Intelligence</a:t>
            </a:r>
          </a:p>
          <a:p>
            <a:r>
              <a:rPr lang="en-US"/>
              <a:t>Marketers can benefit from natural language processing to learn more about their customers and use those insights to create more effective strategies. </a:t>
            </a:r>
          </a:p>
          <a:p>
            <a:r>
              <a:rPr lang="en-US"/>
              <a:t>Analyzing topics, sentiment, keywords, and intent in unstructured data can really boost your market research, shedding light on trends and business opportunities. You can also analyze data to identify customer pain points and to keep an eye on your competitors (by seeing what things are working well for them and which are not). </a:t>
            </a:r>
          </a:p>
          <a:p>
            <a:r>
              <a:rPr lang="en-US" b="1"/>
              <a:t>8. Auto-Correct</a:t>
            </a:r>
          </a:p>
          <a:p>
            <a:r>
              <a:rPr lang="en-US"/>
              <a:t>Natural Language Processing plays a vital role in grammar checking software and auto-correct functions. Tools like Grammarly, for example, </a:t>
            </a:r>
            <a:r>
              <a:rPr lang="en-US">
                <a:hlinkClick r:id="rId16"/>
              </a:rPr>
              <a:t>use NLP to help you improve your writing</a:t>
            </a:r>
            <a:r>
              <a:rPr lang="en-US"/>
              <a:t>, by detecting grammar, spelling, or sentence structure errors. </a:t>
            </a:r>
          </a:p>
          <a:p>
            <a:r>
              <a:rPr lang="en-US" b="1"/>
              <a:t>9. Intent Classification</a:t>
            </a:r>
          </a:p>
          <a:p>
            <a:r>
              <a:rPr lang="en-US">
                <a:hlinkClick r:id="rId17"/>
              </a:rPr>
              <a:t>Intent classification</a:t>
            </a:r>
            <a:r>
              <a:rPr lang="en-US"/>
              <a:t> consists of identifying the goal or purpose that underlies a text. Apart from chatbots, intent detection can drive benefits in sales and customer support areas. </a:t>
            </a:r>
          </a:p>
          <a:p>
            <a:r>
              <a:rPr lang="en-US"/>
              <a:t>By analyzing customer interactions like emails, chats, or social media posts, you can spot customers that are ready to purchase. The faster you can detect and classify those leads, the more chances you have of turning them into customers. Try this </a:t>
            </a:r>
            <a:r>
              <a:rPr lang="en-US">
                <a:hlinkClick r:id="rId18"/>
              </a:rPr>
              <a:t>email classifier</a:t>
            </a:r>
            <a:r>
              <a:rPr lang="en-US"/>
              <a:t>, and sort responses into categories like Interested, Not Interested, and Unsubscribe.</a:t>
            </a:r>
          </a:p>
          <a:p>
            <a:r>
              <a:rPr lang="en-US"/>
              <a:t>Finally, looking for customer intent in customer support tickets or social media posts can warn you of customers at risk of churn, allowing you to take action with a strategy to win them back.</a:t>
            </a:r>
          </a:p>
          <a:p>
            <a:r>
              <a:rPr lang="en-US" b="1"/>
              <a:t>10. Urgency Detection</a:t>
            </a:r>
          </a:p>
          <a:p>
            <a:r>
              <a:rPr lang="en-US"/>
              <a:t>NLP techniques can also help you detect urgency in text. You can </a:t>
            </a:r>
            <a:r>
              <a:rPr lang="en-US">
                <a:hlinkClick r:id="rId19"/>
              </a:rPr>
              <a:t>train an urgency detection model</a:t>
            </a:r>
            <a:r>
              <a:rPr lang="en-US"/>
              <a:t> using your own criteria, so it can recognize certain words and expressions that denote gravity or discontent. This can help you prioritize the most important requests and make sure they don’t get buried under a pile of unresolved tickets. </a:t>
            </a:r>
          </a:p>
          <a:p>
            <a:r>
              <a:rPr lang="en-US"/>
              <a:t>Urgency detection helps you improve response times and efficiency, leading to a positive impact on customer satisfaction.</a:t>
            </a:r>
          </a:p>
          <a:p>
            <a:r>
              <a:rPr lang="en-US" b="1"/>
              <a:t>11. Speech Recognition</a:t>
            </a:r>
          </a:p>
          <a:p>
            <a:r>
              <a:rPr lang="en-US"/>
              <a:t>Speech recognition technology uses natural language processing to transform spoken language into a machine-readable format. </a:t>
            </a:r>
          </a:p>
          <a:p>
            <a:r>
              <a:rPr lang="en-US"/>
              <a:t>Speech recognition systems are an essential part of virtual assistants, like Siri, Alexa, and Google Assistant, for example. However, there are more and more use cases of speech recognition in business. For example, adding speech-to-text capabilities to business software, companies are able to automatically transcribe calls, send emails, and even translate.</a:t>
            </a:r>
          </a:p>
          <a:p>
            <a:r>
              <a:rPr lang="en-US" b="1"/>
              <a:t>Discover Natural Language Processing Tools</a:t>
            </a:r>
          </a:p>
          <a:p>
            <a:r>
              <a:rPr lang="en-US"/>
              <a:t>Natural language processing has many exciting applications. </a:t>
            </a:r>
          </a:p>
          <a:p>
            <a:r>
              <a:rPr lang="en-US">
                <a:hlinkClick r:id="rId20"/>
              </a:rPr>
              <a:t>Natural language processing tools</a:t>
            </a:r>
            <a:r>
              <a:rPr lang="en-US"/>
              <a:t> help businesses process huge amounts of unstructured data, like customer support tickets, social media posts, survey responses, and more. </a:t>
            </a:r>
          </a:p>
          <a:p>
            <a:r>
              <a:rPr lang="en-US"/>
              <a:t>Not only are they used to gain insights to support decision-making, but also to automate time-consuming tasks. </a:t>
            </a:r>
          </a:p>
          <a:p>
            <a:r>
              <a:rPr lang="en-US"/>
              <a:t>SaaS tools are the most accessible way to get started with natural language processing. With an AI-platform like </a:t>
            </a:r>
            <a:r>
              <a:rPr lang="en-US" err="1">
                <a:hlinkClick r:id="rId21"/>
              </a:rPr>
              <a:t>MonkeyLearn</a:t>
            </a:r>
            <a:r>
              <a:rPr lang="en-US">
                <a:hlinkClick r:id="rId21"/>
              </a:rPr>
              <a:t>,</a:t>
            </a:r>
            <a:r>
              <a:rPr lang="en-US"/>
              <a:t> you can start using pre-trained models right away, or build a customized NLP solution in just a few steps (no coding needed).</a:t>
            </a:r>
          </a:p>
          <a:p>
            <a:endParaRPr lang="en-US"/>
          </a:p>
        </p:txBody>
      </p:sp>
      <p:sp>
        <p:nvSpPr>
          <p:cNvPr id="4" name="Slide Number Placeholder 3"/>
          <p:cNvSpPr>
            <a:spLocks noGrp="1"/>
          </p:cNvSpPr>
          <p:nvPr>
            <p:ph type="sldNum" sz="quarter" idx="5"/>
          </p:nvPr>
        </p:nvSpPr>
        <p:spPr/>
        <p:txBody>
          <a:bodyPr/>
          <a:lstStyle/>
          <a:p>
            <a:fld id="{32F3CE37-8989-471A-BC57-D3CAAD03839D}" type="slidenum">
              <a:rPr lang="en-US" smtClean="0"/>
              <a:pPr/>
              <a:t>4</a:t>
            </a:fld>
            <a:endParaRPr lang="en-US"/>
          </a:p>
        </p:txBody>
      </p:sp>
    </p:spTree>
    <p:extLst>
      <p:ext uri="{BB962C8B-B14F-4D97-AF65-F5344CB8AC3E}">
        <p14:creationId xmlns:p14="http://schemas.microsoft.com/office/powerpoint/2010/main" val="3818134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t>Efficiency gains </a:t>
            </a:r>
          </a:p>
          <a:p>
            <a:pPr lvl="1"/>
            <a:r>
              <a:rPr lang="en-US"/>
              <a:t>Decision making </a:t>
            </a:r>
          </a:p>
          <a:p>
            <a:pPr lvl="1"/>
            <a:r>
              <a:rPr lang="en-US"/>
              <a:t>More time on deeper analysis with human intelligence…</a:t>
            </a:r>
          </a:p>
          <a:p>
            <a:pPr lvl="1"/>
            <a:r>
              <a:rPr lang="en-US"/>
              <a:t>Intelligent Interaction </a:t>
            </a:r>
          </a:p>
          <a:p>
            <a:pPr lvl="1"/>
            <a:endParaRPr lang="en-US"/>
          </a:p>
          <a:p>
            <a:pPr lvl="1"/>
            <a:r>
              <a:rPr lang="en-US"/>
              <a:t>Efficiency gains -&gt; digital tools </a:t>
            </a:r>
          </a:p>
          <a:p>
            <a:pPr lvl="1"/>
            <a:r>
              <a:rPr lang="en-US"/>
              <a:t>Decision making </a:t>
            </a:r>
          </a:p>
          <a:p>
            <a:pPr lvl="2"/>
            <a:r>
              <a:rPr lang="en-US"/>
              <a:t>More agile </a:t>
            </a:r>
          </a:p>
          <a:p>
            <a:pPr lvl="2"/>
            <a:r>
              <a:rPr lang="en-US"/>
              <a:t>More direction to try </a:t>
            </a:r>
          </a:p>
          <a:p>
            <a:pPr lvl="2"/>
            <a:r>
              <a:rPr lang="en-US"/>
              <a:t>Less chances to fail </a:t>
            </a:r>
          </a:p>
          <a:p>
            <a:pPr lvl="2"/>
            <a:r>
              <a:rPr lang="en-US"/>
              <a:t>Less cost with failure </a:t>
            </a:r>
          </a:p>
          <a:p>
            <a:pPr lvl="2"/>
            <a:endParaRPr lang="en-US"/>
          </a:p>
          <a:p>
            <a:pPr lvl="1"/>
            <a:r>
              <a:rPr lang="en-US"/>
              <a:t>More time on deeper analysis with human intelligence…</a:t>
            </a:r>
          </a:p>
          <a:p>
            <a:pPr lvl="1"/>
            <a:r>
              <a:rPr lang="en-US"/>
              <a:t>Intelligent Interaction </a:t>
            </a:r>
          </a:p>
          <a:p>
            <a:pPr lvl="1"/>
            <a:endParaRPr lang="en-US"/>
          </a:p>
          <a:p>
            <a:pPr lvl="1"/>
            <a:r>
              <a:rPr lang="en-US"/>
              <a:t>Consider a case </a:t>
            </a:r>
          </a:p>
          <a:p>
            <a:pPr lvl="2"/>
            <a:r>
              <a:rPr lang="en-US"/>
              <a:t>When excel response very slowly, no consistent thinking could be continued (structured, so unstructured? )</a:t>
            </a:r>
          </a:p>
          <a:p>
            <a:pPr lvl="2"/>
            <a:r>
              <a:rPr lang="en-US"/>
              <a:t>Meta analysis </a:t>
            </a:r>
          </a:p>
          <a:p>
            <a:pPr lvl="1"/>
            <a:endParaRPr lang="en-US"/>
          </a:p>
          <a:p>
            <a:pPr lvl="1"/>
            <a:endParaRPr lang="en-US"/>
          </a:p>
          <a:p>
            <a:endParaRPr lang="en-US"/>
          </a:p>
          <a:p>
            <a:endParaRPr lang="en-US"/>
          </a:p>
        </p:txBody>
      </p:sp>
      <p:sp>
        <p:nvSpPr>
          <p:cNvPr id="4" name="Slide Number Placeholder 3"/>
          <p:cNvSpPr>
            <a:spLocks noGrp="1"/>
          </p:cNvSpPr>
          <p:nvPr>
            <p:ph type="sldNum" sz="quarter" idx="5"/>
          </p:nvPr>
        </p:nvSpPr>
        <p:spPr/>
        <p:txBody>
          <a:bodyPr/>
          <a:lstStyle/>
          <a:p>
            <a:fld id="{32F3CE37-8989-471A-BC57-D3CAAD03839D}" type="slidenum">
              <a:rPr lang="en-US" smtClean="0"/>
              <a:pPr/>
              <a:t>5</a:t>
            </a:fld>
            <a:endParaRPr lang="en-US"/>
          </a:p>
        </p:txBody>
      </p:sp>
    </p:spTree>
    <p:extLst>
      <p:ext uri="{BB962C8B-B14F-4D97-AF65-F5344CB8AC3E}">
        <p14:creationId xmlns:p14="http://schemas.microsoft.com/office/powerpoint/2010/main" val="341474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t>Roche - Patient Insights from Social Media</a:t>
            </a:r>
          </a:p>
          <a:p>
            <a:pPr lvl="2"/>
            <a:r>
              <a:rPr lang="en-US" sz="1100"/>
              <a:t>Discover if patient blogs and forum can provide a good substrate to develop clinical endpoints that are relevant to patients. Being able to understand what matters most to patients and find unexpected insights into patients’ problems could (and should) influence clinical trials</a:t>
            </a:r>
          </a:p>
          <a:p>
            <a:pPr lvl="1"/>
            <a:r>
              <a:rPr lang="en-US"/>
              <a:t>J&amp;J - NLP analytics for regulatory compliance and IDMP master data management</a:t>
            </a:r>
          </a:p>
          <a:p>
            <a:pPr lvl="2"/>
            <a:r>
              <a:rPr lang="en-US" sz="1100"/>
              <a:t>Extract ~30 standard IDMP data elements from regulatory documents including Summary of Product Characteristics and regulatory dossiers</a:t>
            </a:r>
          </a:p>
          <a:p>
            <a:pPr lvl="1"/>
            <a:r>
              <a:rPr lang="en-US"/>
              <a:t>Cambridge University Hospital </a:t>
            </a:r>
          </a:p>
          <a:p>
            <a:pPr lvl="2"/>
            <a:r>
              <a:rPr lang="en-US" sz="1100"/>
              <a:t>Identify Surgical Site Infections (SSI) using Mixed Assessment of Free Text and Structured Data in Electronic Health Records</a:t>
            </a:r>
          </a:p>
          <a:p>
            <a:endParaRPr lang="en-US"/>
          </a:p>
        </p:txBody>
      </p:sp>
      <p:sp>
        <p:nvSpPr>
          <p:cNvPr id="4" name="Slide Number Placeholder 3"/>
          <p:cNvSpPr>
            <a:spLocks noGrp="1"/>
          </p:cNvSpPr>
          <p:nvPr>
            <p:ph type="sldNum" sz="quarter" idx="5"/>
          </p:nvPr>
        </p:nvSpPr>
        <p:spPr/>
        <p:txBody>
          <a:bodyPr/>
          <a:lstStyle/>
          <a:p>
            <a:fld id="{32F3CE37-8989-471A-BC57-D3CAAD03839D}" type="slidenum">
              <a:rPr lang="en-US" smtClean="0"/>
              <a:pPr/>
              <a:t>6</a:t>
            </a:fld>
            <a:endParaRPr lang="en-US"/>
          </a:p>
        </p:txBody>
      </p:sp>
    </p:spTree>
    <p:extLst>
      <p:ext uri="{BB962C8B-B14F-4D97-AF65-F5344CB8AC3E}">
        <p14:creationId xmlns:p14="http://schemas.microsoft.com/office/powerpoint/2010/main" val="3096296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r>
              <a:rPr lang="zh-CN" altLang="en-US"/>
              <a:t>加动画，说一下需要人工的输入，今天简化来看一下</a:t>
            </a:r>
            <a:endParaRPr lang="en-US"/>
          </a:p>
        </p:txBody>
      </p:sp>
    </p:spTree>
    <p:extLst>
      <p:ext uri="{BB962C8B-B14F-4D97-AF65-F5344CB8AC3E}">
        <p14:creationId xmlns:p14="http://schemas.microsoft.com/office/powerpoint/2010/main" val="1659450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endParaRPr lang="en-US"/>
          </a:p>
        </p:txBody>
      </p:sp>
    </p:spTree>
    <p:extLst>
      <p:ext uri="{BB962C8B-B14F-4D97-AF65-F5344CB8AC3E}">
        <p14:creationId xmlns:p14="http://schemas.microsoft.com/office/powerpoint/2010/main" val="3179658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endParaRPr lang="en-US"/>
          </a:p>
        </p:txBody>
      </p:sp>
    </p:spTree>
    <p:extLst>
      <p:ext uri="{BB962C8B-B14F-4D97-AF65-F5344CB8AC3E}">
        <p14:creationId xmlns:p14="http://schemas.microsoft.com/office/powerpoint/2010/main" val="15635942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none" spc="0" normalizeH="0" baseline="0" noProof="0">
              <a:ln>
                <a:noFill/>
              </a:ln>
              <a:solidFill>
                <a:srgbClr val="000000"/>
              </a:solidFill>
              <a:effectLst/>
              <a:uLnTx/>
              <a:uFillTx/>
              <a:latin typeface="Arial"/>
              <a:cs typeface="Arial"/>
            </a:endParaRPr>
          </a:p>
        </p:txBody>
      </p:sp>
      <p:sp>
        <p:nvSpPr>
          <p:cNvPr id="9" name="Folienbildplatzhalter 8"/>
          <p:cNvSpPr>
            <a:spLocks noGrp="1" noRot="1" noChangeAspect="1"/>
          </p:cNvSpPr>
          <p:nvPr>
            <p:ph type="sldImg"/>
          </p:nvPr>
        </p:nvSpPr>
        <p:spPr/>
      </p:sp>
      <p:sp>
        <p:nvSpPr>
          <p:cNvPr id="10" name="Notizenplatzhalter 9"/>
          <p:cNvSpPr>
            <a:spLocks noGrp="1"/>
          </p:cNvSpPr>
          <p:nvPr>
            <p:ph type="body" idx="1"/>
          </p:nvPr>
        </p:nvSpPr>
        <p:spPr/>
        <p:txBody>
          <a:bodyPr/>
          <a:lstStyle/>
          <a:p>
            <a:endParaRPr lang="en-US"/>
          </a:p>
        </p:txBody>
      </p:sp>
    </p:spTree>
    <p:extLst>
      <p:ext uri="{BB962C8B-B14F-4D97-AF65-F5344CB8AC3E}">
        <p14:creationId xmlns:p14="http://schemas.microsoft.com/office/powerpoint/2010/main" val="37616602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wmf"/><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wmf"/><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wmf"/><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7.png"/><Relationship Id="rId3" Type="http://schemas.openxmlformats.org/officeDocument/2006/relationships/tags" Target="../tags/tag5.xml"/><Relationship Id="rId7" Type="http://schemas.openxmlformats.org/officeDocument/2006/relationships/image" Target="../media/image2.png"/><Relationship Id="rId12" Type="http://schemas.openxmlformats.org/officeDocument/2006/relationships/oleObject" Target="../embeddings/oleObject3.bin"/><Relationship Id="rId2" Type="http://schemas.openxmlformats.org/officeDocument/2006/relationships/tags" Target="../tags/tag4.xml"/><Relationship Id="rId16" Type="http://schemas.openxmlformats.org/officeDocument/2006/relationships/image" Target="../media/image14.svg"/><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12.wmf"/><Relationship Id="rId5" Type="http://schemas.openxmlformats.org/officeDocument/2006/relationships/oleObject" Target="../embeddings/oleObject2.bin"/><Relationship Id="rId15" Type="http://schemas.openxmlformats.org/officeDocument/2006/relationships/image" Target="../media/image13.png"/><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 Id="rId14" Type="http://schemas.openxmlformats.org/officeDocument/2006/relationships/image" Target="../media/image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wmf"/><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wmf"/><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wmf"/><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wmf"/><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DT&amp;IT">
    <p:bg>
      <p:bgPr>
        <a:solidFill>
          <a:schemeClr val="accent5"/>
        </a:solidFill>
        <a:effectLst/>
      </p:bgPr>
    </p:bg>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7AA2E925-490E-49DE-B47B-651E76D8612D}"/>
              </a:ext>
            </a:extLst>
          </p:cNvPr>
          <p:cNvSpPr/>
          <p:nvPr userDrawn="1"/>
        </p:nvSpPr>
        <p:spPr bwMode="gray">
          <a:xfrm>
            <a:off x="4084320" y="-3016"/>
            <a:ext cx="8106251" cy="6861016"/>
          </a:xfrm>
          <a:custGeom>
            <a:avLst/>
            <a:gdLst>
              <a:gd name="connsiteX0" fmla="*/ 1341120 w 8122920"/>
              <a:gd name="connsiteY0" fmla="*/ 7620 h 6880860"/>
              <a:gd name="connsiteX1" fmla="*/ 0 w 8122920"/>
              <a:gd name="connsiteY1" fmla="*/ 6880860 h 6880860"/>
              <a:gd name="connsiteX2" fmla="*/ 3383280 w 8122920"/>
              <a:gd name="connsiteY2" fmla="*/ 6880860 h 6880860"/>
              <a:gd name="connsiteX3" fmla="*/ 8122920 w 8122920"/>
              <a:gd name="connsiteY3" fmla="*/ 6027420 h 6880860"/>
              <a:gd name="connsiteX4" fmla="*/ 8122920 w 8122920"/>
              <a:gd name="connsiteY4" fmla="*/ 0 h 6880860"/>
              <a:gd name="connsiteX5" fmla="*/ 1341120 w 8122920"/>
              <a:gd name="connsiteY5" fmla="*/ 7620 h 6880860"/>
              <a:gd name="connsiteX0" fmla="*/ 1341120 w 8122920"/>
              <a:gd name="connsiteY0" fmla="*/ 7620 h 6880860"/>
              <a:gd name="connsiteX1" fmla="*/ 0 w 8122920"/>
              <a:gd name="connsiteY1" fmla="*/ 6880860 h 6880860"/>
              <a:gd name="connsiteX2" fmla="*/ 3276124 w 8122920"/>
              <a:gd name="connsiteY2" fmla="*/ 6878479 h 6880860"/>
              <a:gd name="connsiteX3" fmla="*/ 8122920 w 8122920"/>
              <a:gd name="connsiteY3" fmla="*/ 6027420 h 6880860"/>
              <a:gd name="connsiteX4" fmla="*/ 8122920 w 8122920"/>
              <a:gd name="connsiteY4" fmla="*/ 0 h 6880860"/>
              <a:gd name="connsiteX5" fmla="*/ 1341120 w 8122920"/>
              <a:gd name="connsiteY5" fmla="*/ 7620 h 6880860"/>
              <a:gd name="connsiteX0" fmla="*/ 1341120 w 8122920"/>
              <a:gd name="connsiteY0" fmla="*/ 7620 h 6880860"/>
              <a:gd name="connsiteX1" fmla="*/ 0 w 8122920"/>
              <a:gd name="connsiteY1" fmla="*/ 6880860 h 6880860"/>
              <a:gd name="connsiteX2" fmla="*/ 3376137 w 8122920"/>
              <a:gd name="connsiteY2" fmla="*/ 6876098 h 6880860"/>
              <a:gd name="connsiteX3" fmla="*/ 8122920 w 8122920"/>
              <a:gd name="connsiteY3" fmla="*/ 6027420 h 6880860"/>
              <a:gd name="connsiteX4" fmla="*/ 8122920 w 8122920"/>
              <a:gd name="connsiteY4" fmla="*/ 0 h 6880860"/>
              <a:gd name="connsiteX5" fmla="*/ 1341120 w 8122920"/>
              <a:gd name="connsiteY5" fmla="*/ 7620 h 6880860"/>
              <a:gd name="connsiteX0" fmla="*/ 1341120 w 8122920"/>
              <a:gd name="connsiteY0" fmla="*/ 7620 h 6880860"/>
              <a:gd name="connsiteX1" fmla="*/ 0 w 8122920"/>
              <a:gd name="connsiteY1" fmla="*/ 6880860 h 6880860"/>
              <a:gd name="connsiteX2" fmla="*/ 3376137 w 8122920"/>
              <a:gd name="connsiteY2" fmla="*/ 6876098 h 6880860"/>
              <a:gd name="connsiteX3" fmla="*/ 8096726 w 8122920"/>
              <a:gd name="connsiteY3" fmla="*/ 6046470 h 6880860"/>
              <a:gd name="connsiteX4" fmla="*/ 8122920 w 8122920"/>
              <a:gd name="connsiteY4" fmla="*/ 0 h 6880860"/>
              <a:gd name="connsiteX5" fmla="*/ 1341120 w 8122920"/>
              <a:gd name="connsiteY5" fmla="*/ 7620 h 6880860"/>
              <a:gd name="connsiteX0" fmla="*/ 1341120 w 8122920"/>
              <a:gd name="connsiteY0" fmla="*/ 7620 h 6880860"/>
              <a:gd name="connsiteX1" fmla="*/ 0 w 8122920"/>
              <a:gd name="connsiteY1" fmla="*/ 6880860 h 6880860"/>
              <a:gd name="connsiteX2" fmla="*/ 3376137 w 8122920"/>
              <a:gd name="connsiteY2" fmla="*/ 6876098 h 6880860"/>
              <a:gd name="connsiteX3" fmla="*/ 8103870 w 8122920"/>
              <a:gd name="connsiteY3" fmla="*/ 6046470 h 6880860"/>
              <a:gd name="connsiteX4" fmla="*/ 8122920 w 8122920"/>
              <a:gd name="connsiteY4" fmla="*/ 0 h 6880860"/>
              <a:gd name="connsiteX5" fmla="*/ 1341120 w 8122920"/>
              <a:gd name="connsiteY5" fmla="*/ 7620 h 6880860"/>
              <a:gd name="connsiteX0" fmla="*/ 1341120 w 8103870"/>
              <a:gd name="connsiteY0" fmla="*/ 0 h 6873240"/>
              <a:gd name="connsiteX1" fmla="*/ 0 w 8103870"/>
              <a:gd name="connsiteY1" fmla="*/ 6873240 h 6873240"/>
              <a:gd name="connsiteX2" fmla="*/ 3376137 w 8103870"/>
              <a:gd name="connsiteY2" fmla="*/ 6868478 h 6873240"/>
              <a:gd name="connsiteX3" fmla="*/ 8103870 w 8103870"/>
              <a:gd name="connsiteY3" fmla="*/ 6038850 h 6873240"/>
              <a:gd name="connsiteX4" fmla="*/ 8068151 w 8103870"/>
              <a:gd name="connsiteY4" fmla="*/ 78105 h 6873240"/>
              <a:gd name="connsiteX5" fmla="*/ 1341120 w 8103870"/>
              <a:gd name="connsiteY5" fmla="*/ 0 h 6873240"/>
              <a:gd name="connsiteX0" fmla="*/ 1341120 w 8106251"/>
              <a:gd name="connsiteY0" fmla="*/ 0 h 6873240"/>
              <a:gd name="connsiteX1" fmla="*/ 0 w 8106251"/>
              <a:gd name="connsiteY1" fmla="*/ 6873240 h 6873240"/>
              <a:gd name="connsiteX2" fmla="*/ 3376137 w 8106251"/>
              <a:gd name="connsiteY2" fmla="*/ 6868478 h 6873240"/>
              <a:gd name="connsiteX3" fmla="*/ 8103870 w 8106251"/>
              <a:gd name="connsiteY3" fmla="*/ 6038850 h 6873240"/>
              <a:gd name="connsiteX4" fmla="*/ 8106251 w 8106251"/>
              <a:gd name="connsiteY4" fmla="*/ 18574 h 6873240"/>
              <a:gd name="connsiteX5" fmla="*/ 1341120 w 8106251"/>
              <a:gd name="connsiteY5" fmla="*/ 0 h 6873240"/>
              <a:gd name="connsiteX0" fmla="*/ 1367314 w 8106251"/>
              <a:gd name="connsiteY0" fmla="*/ 38576 h 6854666"/>
              <a:gd name="connsiteX1" fmla="*/ 0 w 8106251"/>
              <a:gd name="connsiteY1" fmla="*/ 6854666 h 6854666"/>
              <a:gd name="connsiteX2" fmla="*/ 3376137 w 8106251"/>
              <a:gd name="connsiteY2" fmla="*/ 6849904 h 6854666"/>
              <a:gd name="connsiteX3" fmla="*/ 8103870 w 8106251"/>
              <a:gd name="connsiteY3" fmla="*/ 6020276 h 6854666"/>
              <a:gd name="connsiteX4" fmla="*/ 8106251 w 8106251"/>
              <a:gd name="connsiteY4" fmla="*/ 0 h 6854666"/>
              <a:gd name="connsiteX5" fmla="*/ 1367314 w 8106251"/>
              <a:gd name="connsiteY5" fmla="*/ 38576 h 6854666"/>
              <a:gd name="connsiteX0" fmla="*/ 1338739 w 8106251"/>
              <a:gd name="connsiteY0" fmla="*/ 0 h 6858952"/>
              <a:gd name="connsiteX1" fmla="*/ 0 w 8106251"/>
              <a:gd name="connsiteY1" fmla="*/ 6858952 h 6858952"/>
              <a:gd name="connsiteX2" fmla="*/ 3376137 w 8106251"/>
              <a:gd name="connsiteY2" fmla="*/ 6854190 h 6858952"/>
              <a:gd name="connsiteX3" fmla="*/ 8103870 w 8106251"/>
              <a:gd name="connsiteY3" fmla="*/ 6024562 h 6858952"/>
              <a:gd name="connsiteX4" fmla="*/ 8106251 w 8106251"/>
              <a:gd name="connsiteY4" fmla="*/ 4286 h 6858952"/>
              <a:gd name="connsiteX5" fmla="*/ 1338739 w 8106251"/>
              <a:gd name="connsiteY5" fmla="*/ 0 h 6858952"/>
              <a:gd name="connsiteX0" fmla="*/ 1338739 w 8106251"/>
              <a:gd name="connsiteY0" fmla="*/ 2064 h 6861016"/>
              <a:gd name="connsiteX1" fmla="*/ 0 w 8106251"/>
              <a:gd name="connsiteY1" fmla="*/ 6861016 h 6861016"/>
              <a:gd name="connsiteX2" fmla="*/ 3376137 w 8106251"/>
              <a:gd name="connsiteY2" fmla="*/ 6856254 h 6861016"/>
              <a:gd name="connsiteX3" fmla="*/ 8103870 w 8106251"/>
              <a:gd name="connsiteY3" fmla="*/ 6026626 h 6861016"/>
              <a:gd name="connsiteX4" fmla="*/ 8106251 w 8106251"/>
              <a:gd name="connsiteY4" fmla="*/ 0 h 6861016"/>
              <a:gd name="connsiteX5" fmla="*/ 1338739 w 8106251"/>
              <a:gd name="connsiteY5" fmla="*/ 2064 h 686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6251" h="6861016">
                <a:moveTo>
                  <a:pt x="1338739" y="2064"/>
                </a:moveTo>
                <a:lnTo>
                  <a:pt x="0" y="6861016"/>
                </a:lnTo>
                <a:lnTo>
                  <a:pt x="3376137" y="6856254"/>
                </a:lnTo>
                <a:lnTo>
                  <a:pt x="8103870" y="6026626"/>
                </a:lnTo>
                <a:cubicBezTo>
                  <a:pt x="8104664" y="4019867"/>
                  <a:pt x="8105457" y="2006759"/>
                  <a:pt x="8106251" y="0"/>
                </a:cubicBezTo>
                <a:lnTo>
                  <a:pt x="1338739" y="206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42F87BE1-61DD-4694-9184-C9667B09CF18}" type="datetime1">
              <a:rPr lang="en-US" smtClean="0"/>
              <a:t>25/03/2022</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Advanced Analytics and Digital Transformation /// NLP session /// March 2022</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bg1"/>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a:extLst>
              <a:ext uri="{FF2B5EF4-FFF2-40B4-BE49-F238E27FC236}">
                <a16:creationId xmlns:a16="http://schemas.microsoft.com/office/drawing/2014/main" id="{4A64929E-A748-4648-A1A4-256FDB51AC5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08663" y="3003514"/>
            <a:ext cx="5353814" cy="1111285"/>
          </a:xfrm>
          <a:prstGeom prst="rect">
            <a:avLst/>
          </a:prstGeom>
        </p:spPr>
      </p:pic>
    </p:spTree>
    <p:extLst>
      <p:ext uri="{BB962C8B-B14F-4D97-AF65-F5344CB8AC3E}">
        <p14:creationId xmlns:p14="http://schemas.microsoft.com/office/powerpoint/2010/main" val="89965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DT&amp;I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a:xfrm>
            <a:off x="981821" y="181938"/>
            <a:ext cx="10798460" cy="864000"/>
          </a:xfrm>
        </p:spPr>
        <p:txBody>
          <a:bodyPr/>
          <a:lstStyle/>
          <a:p>
            <a:r>
              <a:rPr lang="en-US"/>
              <a:t>Click to edit Master title style</a:t>
            </a:r>
          </a:p>
        </p:txBody>
      </p:sp>
      <p:pic>
        <p:nvPicPr>
          <p:cNvPr id="7"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4"/>
          <p:cNvSpPr>
            <a:spLocks noGrp="1"/>
          </p:cNvSpPr>
          <p:nvPr>
            <p:ph type="ftr" sz="quarter" idx="11"/>
          </p:nvPr>
        </p:nvSpPr>
        <p:spPr bwMode="gray">
          <a:xfrm>
            <a:off x="1761492" y="6617933"/>
            <a:ext cx="8640000" cy="108000"/>
          </a:xfrm>
        </p:spPr>
        <p:txBody>
          <a:bodyPr/>
          <a:lstStyle/>
          <a:p>
            <a:r>
              <a:rPr lang="en-US"/>
              <a:t>/// Advanced Analytics and Digital Transformation /// NLP session /// March 2022</a:t>
            </a:r>
          </a:p>
        </p:txBody>
      </p:sp>
      <p:sp>
        <p:nvSpPr>
          <p:cNvPr id="13" name="Slide Number Placeholder 5"/>
          <p:cNvSpPr>
            <a:spLocks noGrp="1"/>
          </p:cNvSpPr>
          <p:nvPr>
            <p:ph type="sldNum" sz="quarter" idx="12"/>
          </p:nvPr>
        </p:nvSpPr>
        <p:spPr bwMode="gray">
          <a:xfrm>
            <a:off x="982663" y="6617933"/>
            <a:ext cx="392326" cy="108000"/>
          </a:xfrm>
        </p:spPr>
        <p:txBody>
          <a:bodyPr/>
          <a:lstStyle/>
          <a:p>
            <a:fld id="{EEAD9179-7A6B-4268-BEB2-F3B8EB06115B}" type="slidenum">
              <a:rPr lang="en-US" smtClean="0"/>
              <a:pPr/>
              <a:t>‹#›</a:t>
            </a:fld>
            <a:endParaRPr lang="en-US"/>
          </a:p>
        </p:txBody>
      </p:sp>
      <p:pic>
        <p:nvPicPr>
          <p:cNvPr id="9" name="Grafik 8">
            <a:extLst>
              <a:ext uri="{FF2B5EF4-FFF2-40B4-BE49-F238E27FC236}">
                <a16:creationId xmlns:a16="http://schemas.microsoft.com/office/drawing/2014/main" id="{13F30E09-3995-43C7-8FE1-39807FED922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732" y="6568603"/>
            <a:ext cx="938885" cy="193772"/>
          </a:xfrm>
          <a:prstGeom prst="rect">
            <a:avLst/>
          </a:prstGeom>
        </p:spPr>
      </p:pic>
    </p:spTree>
    <p:extLst>
      <p:ext uri="{BB962C8B-B14F-4D97-AF65-F5344CB8AC3E}">
        <p14:creationId xmlns:p14="http://schemas.microsoft.com/office/powerpoint/2010/main" val="18617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DT&amp;IT">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551657"/>
            <a:ext cx="10800000" cy="5933094"/>
          </a:xfrm>
        </p:spPr>
        <p:txBody>
          <a:bodyPr anchor="ctr"/>
          <a:lstStyle>
            <a:lvl1pPr marL="0" indent="0" algn="l">
              <a:buNone/>
              <a:defRPr sz="6600">
                <a:solidFill>
                  <a:srgbClr val="F8B233"/>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p>
        </p:txBody>
      </p:sp>
      <p:sp>
        <p:nvSpPr>
          <p:cNvPr id="2" name="Title 1"/>
          <p:cNvSpPr>
            <a:spLocks noGrp="1"/>
          </p:cNvSpPr>
          <p:nvPr>
            <p:ph type="title"/>
          </p:nvPr>
        </p:nvSpPr>
        <p:spPr/>
        <p:txBody>
          <a:bodyPr/>
          <a:lstStyle/>
          <a:p>
            <a:r>
              <a:rPr lang="en-US"/>
              <a:t>Click to edit Master title style</a:t>
            </a:r>
          </a:p>
        </p:txBody>
      </p:sp>
      <p:pic>
        <p:nvPicPr>
          <p:cNvPr id="7"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4"/>
          <p:cNvSpPr>
            <a:spLocks noGrp="1"/>
          </p:cNvSpPr>
          <p:nvPr>
            <p:ph type="ftr" sz="quarter" idx="11"/>
          </p:nvPr>
        </p:nvSpPr>
        <p:spPr bwMode="gray">
          <a:xfrm>
            <a:off x="1761492" y="6617933"/>
            <a:ext cx="8640000" cy="108000"/>
          </a:xfrm>
        </p:spPr>
        <p:txBody>
          <a:bodyPr/>
          <a:lstStyle/>
          <a:p>
            <a:r>
              <a:rPr lang="en-US"/>
              <a:t>/// Advanced Analytics and Digital Transformation /// NLP session /// March 2022</a:t>
            </a:r>
          </a:p>
        </p:txBody>
      </p:sp>
      <p:sp>
        <p:nvSpPr>
          <p:cNvPr id="13" name="Slide Number Placeholder 5"/>
          <p:cNvSpPr>
            <a:spLocks noGrp="1"/>
          </p:cNvSpPr>
          <p:nvPr>
            <p:ph type="sldNum" sz="quarter" idx="12"/>
          </p:nvPr>
        </p:nvSpPr>
        <p:spPr bwMode="gray">
          <a:xfrm>
            <a:off x="982663" y="6617933"/>
            <a:ext cx="392326" cy="108000"/>
          </a:xfrm>
        </p:spPr>
        <p:txBody>
          <a:bodyPr/>
          <a:lstStyle/>
          <a:p>
            <a:fld id="{EEAD9179-7A6B-4268-BEB2-F3B8EB06115B}" type="slidenum">
              <a:rPr lang="en-US" smtClean="0"/>
              <a:pPr/>
              <a:t>‹#›</a:t>
            </a:fld>
            <a:endParaRPr lang="en-US"/>
          </a:p>
        </p:txBody>
      </p:sp>
      <p:pic>
        <p:nvPicPr>
          <p:cNvPr id="10" name="Grafik 9">
            <a:extLst>
              <a:ext uri="{FF2B5EF4-FFF2-40B4-BE49-F238E27FC236}">
                <a16:creationId xmlns:a16="http://schemas.microsoft.com/office/drawing/2014/main" id="{C6C0A8F8-48FD-473F-A1BE-1A3C2EEB6B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732" y="6568603"/>
            <a:ext cx="938885" cy="193772"/>
          </a:xfrm>
          <a:prstGeom prst="rect">
            <a:avLst/>
          </a:prstGeom>
        </p:spPr>
      </p:pic>
    </p:spTree>
    <p:extLst>
      <p:ext uri="{BB962C8B-B14F-4D97-AF65-F5344CB8AC3E}">
        <p14:creationId xmlns:p14="http://schemas.microsoft.com/office/powerpoint/2010/main" val="3323426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nal Slide Blue DT&amp;IT">
    <p:spTree>
      <p:nvGrpSpPr>
        <p:cNvPr id="1" name=""/>
        <p:cNvGrpSpPr/>
        <p:nvPr/>
      </p:nvGrpSpPr>
      <p:grpSpPr>
        <a:xfrm>
          <a:off x="0" y="0"/>
          <a:ext cx="0" cy="0"/>
          <a:chOff x="0" y="0"/>
          <a:chExt cx="0" cy="0"/>
        </a:xfrm>
      </p:grpSpPr>
      <p:sp>
        <p:nvSpPr>
          <p:cNvPr id="16" name="Freeform 15"/>
          <p:cNvSpPr/>
          <p:nvPr/>
        </p:nvSpPr>
        <p:spPr>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chemeClr val="accent5">
                  <a:lumMod val="75000"/>
                </a:schemeClr>
              </a:gs>
              <a:gs pos="0">
                <a:schemeClr val="accent5">
                  <a:lumMod val="60000"/>
                  <a:lumOff val="40000"/>
                </a:schemeClr>
              </a:gs>
              <a:gs pos="72000">
                <a:schemeClr val="accent5">
                  <a:lumMod val="7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gray">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97D93521-E03D-4119-8AA7-C5D83C6B6406}" type="datetime1">
              <a:rPr lang="en-US" smtClean="0"/>
              <a:t>25/03/2022</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Advanced Analytics and Digital Transformation /// NLP session /// March 2022</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bg1"/>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gray">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pic>
        <p:nvPicPr>
          <p:cNvPr id="19" name="Grafik 18">
            <a:extLst>
              <a:ext uri="{FF2B5EF4-FFF2-40B4-BE49-F238E27FC236}">
                <a16:creationId xmlns:a16="http://schemas.microsoft.com/office/drawing/2014/main" id="{3A04BD57-6667-4420-B0C0-6033AE37616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398361" y="5717409"/>
            <a:ext cx="2644761" cy="545841"/>
          </a:xfrm>
          <a:prstGeom prst="rect">
            <a:avLst/>
          </a:prstGeom>
        </p:spPr>
      </p:pic>
    </p:spTree>
    <p:extLst>
      <p:ext uri="{BB962C8B-B14F-4D97-AF65-F5344CB8AC3E}">
        <p14:creationId xmlns:p14="http://schemas.microsoft.com/office/powerpoint/2010/main" val="235582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fld id="{330CECCF-4DB4-4E67-A907-E4ABCEB0B483}" type="datetime1">
              <a:rPr lang="en-US" smtClean="0"/>
              <a:t>25/03/2022</a:t>
            </a:fld>
            <a:endParaRPr lang="en-US"/>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Inhaltsplatzhalter 12"/>
          <p:cNvSpPr>
            <a:spLocks noGrp="1"/>
          </p:cNvSpPr>
          <p:nvPr>
            <p:ph sz="quarter" idx="17"/>
          </p:nvPr>
        </p:nvSpPr>
        <p:spPr>
          <a:xfrm>
            <a:off x="6559603"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
        <p:nvSpPr>
          <p:cNvPr id="18" name="Footer Placeholder 4">
            <a:extLst>
              <a:ext uri="{FF2B5EF4-FFF2-40B4-BE49-F238E27FC236}">
                <a16:creationId xmlns:a16="http://schemas.microsoft.com/office/drawing/2014/main" id="{533508BE-6BD2-4AF0-A63B-CAA1E48FB61D}"/>
              </a:ext>
            </a:extLst>
          </p:cNvPr>
          <p:cNvSpPr>
            <a:spLocks noGrp="1"/>
          </p:cNvSpPr>
          <p:nvPr>
            <p:ph type="ftr" sz="quarter" idx="11"/>
          </p:nvPr>
        </p:nvSpPr>
        <p:spPr bwMode="gray">
          <a:xfrm>
            <a:off x="1761492" y="6617933"/>
            <a:ext cx="8640000" cy="108000"/>
          </a:xfrm>
        </p:spPr>
        <p:txBody>
          <a:bodyPr/>
          <a:lstStyle/>
          <a:p>
            <a:r>
              <a:rPr lang="en-US"/>
              <a:t>/// Advanced Analytics and Digital Transformation /// NLP session /// March 2022</a:t>
            </a:r>
          </a:p>
        </p:txBody>
      </p:sp>
      <p:sp>
        <p:nvSpPr>
          <p:cNvPr id="19" name="Slide Number Placeholder 5">
            <a:extLst>
              <a:ext uri="{FF2B5EF4-FFF2-40B4-BE49-F238E27FC236}">
                <a16:creationId xmlns:a16="http://schemas.microsoft.com/office/drawing/2014/main" id="{09275505-6FAC-4AB0-A9F1-E7D9F013A4FC}"/>
              </a:ext>
            </a:extLst>
          </p:cNvPr>
          <p:cNvSpPr>
            <a:spLocks noGrp="1"/>
          </p:cNvSpPr>
          <p:nvPr>
            <p:ph type="sldNum" sz="quarter" idx="12"/>
          </p:nvPr>
        </p:nvSpPr>
        <p:spPr bwMode="gray">
          <a:xfrm>
            <a:off x="1165891" y="6617933"/>
            <a:ext cx="392326" cy="108000"/>
          </a:xfrm>
        </p:spPr>
        <p:txBody>
          <a:bodyPr/>
          <a:lstStyle/>
          <a:p>
            <a:fld id="{EEAD9179-7A6B-4268-BEB2-F3B8EB06115B}" type="slidenum">
              <a:rPr lang="en-US" smtClean="0"/>
              <a:t>‹#›</a:t>
            </a:fld>
            <a:endParaRPr lang="en-US"/>
          </a:p>
        </p:txBody>
      </p:sp>
      <p:pic>
        <p:nvPicPr>
          <p:cNvPr id="20" name="Grafik 14">
            <a:extLst>
              <a:ext uri="{FF2B5EF4-FFF2-40B4-BE49-F238E27FC236}">
                <a16:creationId xmlns:a16="http://schemas.microsoft.com/office/drawing/2014/main" id="{4DB0FB18-86F4-48E3-877D-CB4B4D033C7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3732" y="6568603"/>
            <a:ext cx="938885" cy="193772"/>
          </a:xfrm>
          <a:prstGeom prst="rect">
            <a:avLst/>
          </a:prstGeom>
        </p:spPr>
      </p:pic>
    </p:spTree>
    <p:extLst>
      <p:ext uri="{BB962C8B-B14F-4D97-AF65-F5344CB8AC3E}">
        <p14:creationId xmlns:p14="http://schemas.microsoft.com/office/powerpoint/2010/main" val="1847528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7" pos="742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amp; Picture DT&amp;IT">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2800A464-1099-4A5D-AEA4-681B478276DA}" type="datetime1">
              <a:rPr lang="en-US" smtClean="0"/>
              <a:t>25/03/2022</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Advanced Analytics and Digital Transformation /// NLP session /// March 2022</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bg1"/>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2"/>
          <p:cNvSpPr>
            <a:spLocks noGrp="1"/>
          </p:cNvSpPr>
          <p:nvPr>
            <p:ph type="pic" sz="quarter" idx="14"/>
          </p:nvPr>
        </p:nvSpPr>
        <p:spPr bwMode="gray">
          <a:xfrm>
            <a:off x="4077841"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a:solidFill>
            <a:schemeClr val="bg1"/>
          </a:solidFill>
        </p:spPr>
        <p:txBody>
          <a:bodyPr wrap="square" tIns="540000" anchor="ctr">
            <a:noAutofit/>
          </a:bodyPr>
          <a:lstStyle>
            <a:lvl1pPr algn="ctr">
              <a:defRPr/>
            </a:lvl1pPr>
          </a:lstStyle>
          <a:p>
            <a:r>
              <a:rPr lang="en-US"/>
              <a:t>Click icon to add picture</a:t>
            </a:r>
            <a:endParaRPr lang="de-DE"/>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9" name="Freihandform: Form 11">
            <a:extLst>
              <a:ext uri="{FF2B5EF4-FFF2-40B4-BE49-F238E27FC236}">
                <a16:creationId xmlns:a16="http://schemas.microsoft.com/office/drawing/2014/main" id="{076D71E0-338A-48E7-B245-F8933F256647}"/>
              </a:ext>
            </a:extLst>
          </p:cNvPr>
          <p:cNvSpPr/>
          <p:nvPr userDrawn="1"/>
        </p:nvSpPr>
        <p:spPr bwMode="gray">
          <a:xfrm>
            <a:off x="0" y="5410987"/>
            <a:ext cx="4392990" cy="1451727"/>
          </a:xfrm>
          <a:custGeom>
            <a:avLst/>
            <a:gdLst>
              <a:gd name="connsiteX0" fmla="*/ 0 w 4392891"/>
              <a:gd name="connsiteY0" fmla="*/ 1451727 h 1451727"/>
              <a:gd name="connsiteX1" fmla="*/ 4100660 w 4392891"/>
              <a:gd name="connsiteY1" fmla="*/ 1451727 h 1451727"/>
              <a:gd name="connsiteX2" fmla="*/ 4392891 w 4392891"/>
              <a:gd name="connsiteY2" fmla="*/ 0 h 1451727"/>
              <a:gd name="connsiteX3" fmla="*/ 9427 w 4392891"/>
              <a:gd name="connsiteY3" fmla="*/ 914400 h 1451727"/>
              <a:gd name="connsiteX4" fmla="*/ 0 w 4392891"/>
              <a:gd name="connsiteY4" fmla="*/ 1451727 h 1451727"/>
              <a:gd name="connsiteX0" fmla="*/ 99 w 4392990"/>
              <a:gd name="connsiteY0" fmla="*/ 1451727 h 1451727"/>
              <a:gd name="connsiteX1" fmla="*/ 4100759 w 4392990"/>
              <a:gd name="connsiteY1" fmla="*/ 1451727 h 1451727"/>
              <a:gd name="connsiteX2" fmla="*/ 4392990 w 4392990"/>
              <a:gd name="connsiteY2" fmla="*/ 0 h 1451727"/>
              <a:gd name="connsiteX3" fmla="*/ 0 w 4392990"/>
              <a:gd name="connsiteY3" fmla="*/ 914400 h 1451727"/>
              <a:gd name="connsiteX4" fmla="*/ 99 w 4392990"/>
              <a:gd name="connsiteY4" fmla="*/ 1451727 h 145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990" h="1451727">
                <a:moveTo>
                  <a:pt x="99" y="1451727"/>
                </a:moveTo>
                <a:lnTo>
                  <a:pt x="4100759" y="1451727"/>
                </a:lnTo>
                <a:lnTo>
                  <a:pt x="4392990" y="0"/>
                </a:lnTo>
                <a:lnTo>
                  <a:pt x="0" y="914400"/>
                </a:lnTo>
                <a:lnTo>
                  <a:pt x="99" y="145172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a:extLst>
              <a:ext uri="{FF2B5EF4-FFF2-40B4-BE49-F238E27FC236}">
                <a16:creationId xmlns:a16="http://schemas.microsoft.com/office/drawing/2014/main" id="{45C8A3E2-13F3-4163-AB79-6FD00F9494A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147599" y="6270703"/>
            <a:ext cx="1877565" cy="389724"/>
          </a:xfrm>
          <a:prstGeom prst="rect">
            <a:avLst/>
          </a:prstGeom>
        </p:spPr>
      </p:pic>
    </p:spTree>
    <p:extLst>
      <p:ext uri="{BB962C8B-B14F-4D97-AF65-F5344CB8AC3E}">
        <p14:creationId xmlns:p14="http://schemas.microsoft.com/office/powerpoint/2010/main" val="270307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slide &amp; Picture DT&amp;IT">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52DA5715-B71D-4E01-8264-A4EA7DCA92F4}" type="datetime1">
              <a:rPr lang="en-US" smtClean="0"/>
              <a:t>25/03/2022</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Advanced Analytics and Digital Transformation /// NLP session /// March 2022</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bg1"/>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2"/>
          <p:cNvSpPr>
            <a:spLocks noGrp="1"/>
          </p:cNvSpPr>
          <p:nvPr>
            <p:ph type="pic" sz="quarter" idx="14"/>
          </p:nvPr>
        </p:nvSpPr>
        <p:spPr bwMode="gray">
          <a:xfrm>
            <a:off x="4077841"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a:solidFill>
            <a:schemeClr val="bg1"/>
          </a:solidFill>
        </p:spPr>
        <p:txBody>
          <a:bodyPr wrap="square" tIns="540000" anchor="ctr">
            <a:noAutofit/>
          </a:bodyPr>
          <a:lstStyle>
            <a:lvl1pPr algn="ctr">
              <a:defRPr/>
            </a:lvl1pPr>
          </a:lstStyle>
          <a:p>
            <a:r>
              <a:rPr lang="en-US"/>
              <a:t>Click icon to add picture</a:t>
            </a:r>
            <a:endParaRPr lang="de-DE"/>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752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DT&amp;IT">
    <p:bg>
      <p:bgPr>
        <a:solidFill>
          <a:schemeClr val="accent5"/>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chemeClr val="accent5"/>
              </a:gs>
              <a:gs pos="50000">
                <a:schemeClr val="accent5"/>
              </a:gs>
              <a:gs pos="84000">
                <a:schemeClr val="accent5">
                  <a:lumMod val="5000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Arial"/>
              <a:cs typeface="Arial"/>
            </a:endParaRPr>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a:t>Click to edit Master title style</a:t>
            </a:r>
          </a:p>
        </p:txBody>
      </p:sp>
      <p:sp>
        <p:nvSpPr>
          <p:cNvPr id="3" name="Date Placeholder 2"/>
          <p:cNvSpPr>
            <a:spLocks noGrp="1"/>
          </p:cNvSpPr>
          <p:nvPr>
            <p:ph type="dt" sz="half" idx="10"/>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9CD45B-7957-4BC2-9DA9-DFB29211096B}" type="datetime1">
              <a:rPr kumimoji="0" lang="en-US" sz="700" b="0" i="0" u="none" strike="noStrike" kern="1200" cap="none" spc="0" normalizeH="0" baseline="0" noProof="0" smtClean="0">
                <a:ln>
                  <a:noFill/>
                </a:ln>
                <a:noFill/>
                <a:effectLst/>
                <a:uLnTx/>
                <a:uFillTx/>
                <a:latin typeface="Arial"/>
                <a:cs typeface="Arial"/>
              </a:rPr>
              <a:t>25/03/2022</a:t>
            </a:fld>
            <a:endParaRPr kumimoji="0" lang="en-US" sz="700" b="0" i="0" u="none" strike="noStrike" kern="1200" cap="none" spc="0" normalizeH="0" baseline="0" noProof="0">
              <a:ln>
                <a:noFill/>
              </a:ln>
              <a:noFill/>
              <a:effectLst/>
              <a:uLnTx/>
              <a:uFillTx/>
              <a:latin typeface="Arial"/>
              <a:cs typeface="Arial"/>
            </a:endParaRPr>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cs typeface="Arial"/>
              </a:rPr>
              <a:t>/// Advanced Analytics and Digital Transformation /// NLP session /// March 2022</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FFFFFF"/>
              </a:solidFill>
              <a:effectLst/>
              <a:uLnTx/>
              <a:uFillTx/>
              <a:latin typeface="Arial"/>
              <a:cs typeface="Arial"/>
            </a:endParaRPr>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bg1"/>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Arial"/>
              </a:endParaRPr>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Arial"/>
              </a:endParaRPr>
            </a:p>
          </p:txBody>
        </p:sp>
      </p:grpSp>
      <p:pic>
        <p:nvPicPr>
          <p:cNvPr id="2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a:cs typeface="Arial"/>
              </a:rPr>
              <a:t>Lo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a:cs typeface="Arial"/>
              </a:rPr>
              <a:t>Schutz</a:t>
            </a:r>
          </a:p>
        </p:txBody>
      </p:sp>
      <p:pic>
        <p:nvPicPr>
          <p:cNvPr id="15" name="Grafik 14">
            <a:extLst>
              <a:ext uri="{FF2B5EF4-FFF2-40B4-BE49-F238E27FC236}">
                <a16:creationId xmlns:a16="http://schemas.microsoft.com/office/drawing/2014/main" id="{5D4D4D5A-0753-4B64-B0C4-DF45B4F070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408421" y="4292601"/>
            <a:ext cx="4517570" cy="932362"/>
          </a:xfrm>
          <a:prstGeom prst="rect">
            <a:avLst/>
          </a:prstGeom>
        </p:spPr>
      </p:pic>
    </p:spTree>
    <p:extLst>
      <p:ext uri="{BB962C8B-B14F-4D97-AF65-F5344CB8AC3E}">
        <p14:creationId xmlns:p14="http://schemas.microsoft.com/office/powerpoint/2010/main" val="274784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DT&amp;I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el 7"/>
          <p:cNvSpPr>
            <a:spLocks noGrp="1"/>
          </p:cNvSpPr>
          <p:nvPr>
            <p:ph type="title" hasCustomPrompt="1"/>
          </p:nvPr>
        </p:nvSpPr>
        <p:spPr>
          <a:xfrm>
            <a:off x="1976765" y="403540"/>
            <a:ext cx="9624002" cy="864000"/>
          </a:xfrm>
        </p:spPr>
        <p:txBody>
          <a:bodyPr/>
          <a:lstStyle>
            <a:lvl1pPr>
              <a:defRPr/>
            </a:lvl1pPr>
          </a:lstStyle>
          <a:p>
            <a:r>
              <a:rPr lang="en-US"/>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7"/>
              </a:buBlip>
              <a:defRPr sz="2000"/>
            </a:lvl1pPr>
            <a:lvl2pPr marL="540000" indent="-270000">
              <a:spcBef>
                <a:spcPts val="600"/>
              </a:spcBef>
              <a:spcAft>
                <a:spcPts val="0"/>
              </a:spcAft>
              <a:buFontTx/>
              <a:buBlip>
                <a:blip r:embed="rId8"/>
              </a:buBlip>
              <a:defRPr sz="2000"/>
            </a:lvl2pPr>
            <a:lvl3pPr marL="810000" indent="-270000">
              <a:spcBef>
                <a:spcPts val="600"/>
              </a:spcBef>
              <a:spcAft>
                <a:spcPts val="0"/>
              </a:spcAft>
              <a:buFontTx/>
              <a:buBlip>
                <a:blip r:embed="rId9"/>
              </a:buBlip>
              <a:defRPr sz="2000"/>
            </a:lvl3pPr>
            <a:lvl4pPr marL="1080000" indent="-270000">
              <a:spcBef>
                <a:spcPts val="600"/>
              </a:spcBef>
              <a:spcAft>
                <a:spcPts val="0"/>
              </a:spcAft>
              <a:buFontTx/>
              <a:buBlip>
                <a:blip r:embed="rId10"/>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p:nvSpPr>
        <p:spPr bwMode="gray">
          <a:xfrm>
            <a:off x="0" y="0"/>
            <a:ext cx="974672" cy="1735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 descr="\\nas-mainz\Projekte_vertraulich\Bayer\17-0612_Fischer_CI-Redesign\vom Kunden\Bayer_Cross_2017_on-Screen_RGB_170630.wmf"/>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gray">
          <a:xfrm>
            <a:off x="701676" y="704850"/>
            <a:ext cx="720312"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graphicFrame>
        <p:nvGraphicFramePr>
          <p:cNvPr id="15" name="Object 2" hidden="1"/>
          <p:cNvGraphicFramePr>
            <a:graphicFrameLocks noChangeAspect="1"/>
          </p:cNvGraphicFramePr>
          <p:nvPr userDrawn="1">
            <p:custDataLst>
              <p:tags r:id="rId3"/>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2051" name="think-cell Folie" r:id="rId12" imgW="270" imgH="270" progId="TCLayout.ActiveDocument.1">
                  <p:embed/>
                </p:oleObj>
              </mc:Choice>
              <mc:Fallback>
                <p:oleObj name="think-cell Folie" r:id="rId12" imgW="270" imgH="270" progId="TCLayout.ActiveDocument.1">
                  <p:embed/>
                  <p:pic>
                    <p:nvPicPr>
                      <p:cNvPr id="15" name="Object 2" hidden="1"/>
                      <p:cNvPicPr/>
                      <p:nvPr/>
                    </p:nvPicPr>
                    <p:blipFill>
                      <a:blip r:embed="rId6"/>
                      <a:stretch>
                        <a:fillRect/>
                      </a:stretch>
                    </p:blipFill>
                    <p:spPr>
                      <a:xfrm>
                        <a:off x="1589" y="1589"/>
                        <a:ext cx="1588" cy="1587"/>
                      </a:xfrm>
                      <a:prstGeom prst="rect">
                        <a:avLst/>
                      </a:prstGeom>
                    </p:spPr>
                  </p:pic>
                </p:oleObj>
              </mc:Fallback>
            </mc:AlternateContent>
          </a:graphicData>
        </a:graphic>
      </p:graphicFrame>
      <p:pic>
        <p:nvPicPr>
          <p:cNvPr id="17" name="Grafik 16">
            <a:extLst>
              <a:ext uri="{FF2B5EF4-FFF2-40B4-BE49-F238E27FC236}">
                <a16:creationId xmlns:a16="http://schemas.microsoft.com/office/drawing/2014/main" id="{7DE90016-17EA-40E8-8723-5C2B926684E5}"/>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9436534" y="5812214"/>
            <a:ext cx="2345892" cy="486934"/>
          </a:xfrm>
          <a:prstGeom prst="rect">
            <a:avLst/>
          </a:prstGeom>
        </p:spPr>
      </p:pic>
      <p:sp>
        <p:nvSpPr>
          <p:cNvPr id="14" name="Footer Placeholder 4">
            <a:extLst>
              <a:ext uri="{FF2B5EF4-FFF2-40B4-BE49-F238E27FC236}">
                <a16:creationId xmlns:a16="http://schemas.microsoft.com/office/drawing/2014/main" id="{C9A86E14-C5E1-4AA4-8C04-BB1E7DF6733A}"/>
              </a:ext>
            </a:extLst>
          </p:cNvPr>
          <p:cNvSpPr>
            <a:spLocks noGrp="1"/>
          </p:cNvSpPr>
          <p:nvPr>
            <p:ph type="ftr" sz="quarter" idx="11"/>
          </p:nvPr>
        </p:nvSpPr>
        <p:spPr bwMode="gray">
          <a:xfrm>
            <a:off x="1761492" y="6617933"/>
            <a:ext cx="8640000" cy="108000"/>
          </a:xfrm>
        </p:spPr>
        <p:txBody>
          <a:bodyPr/>
          <a:lstStyle/>
          <a:p>
            <a:r>
              <a:rPr lang="en-US"/>
              <a:t>/// Advanced Analytics and Digital Transformation /// NLP session /// March 2022</a:t>
            </a:r>
          </a:p>
        </p:txBody>
      </p:sp>
      <p:sp>
        <p:nvSpPr>
          <p:cNvPr id="16" name="Slide Number Placeholder 5">
            <a:extLst>
              <a:ext uri="{FF2B5EF4-FFF2-40B4-BE49-F238E27FC236}">
                <a16:creationId xmlns:a16="http://schemas.microsoft.com/office/drawing/2014/main" id="{F915A7AD-91F0-4597-9BCE-EDC86AAA7B94}"/>
              </a:ext>
            </a:extLst>
          </p:cNvPr>
          <p:cNvSpPr>
            <a:spLocks noGrp="1"/>
          </p:cNvSpPr>
          <p:nvPr>
            <p:ph type="sldNum" sz="quarter" idx="12"/>
          </p:nvPr>
        </p:nvSpPr>
        <p:spPr bwMode="gray">
          <a:xfrm>
            <a:off x="982663" y="6617933"/>
            <a:ext cx="392326" cy="108000"/>
          </a:xfrm>
        </p:spPr>
        <p:txBody>
          <a:bodyPr/>
          <a:lstStyle/>
          <a:p>
            <a:fld id="{EEAD9179-7A6B-4268-BEB2-F3B8EB06115B}" type="slidenum">
              <a:rPr lang="en-US" smtClean="0"/>
              <a:t>‹#›</a:t>
            </a:fld>
            <a:endParaRPr lang="en-US"/>
          </a:p>
        </p:txBody>
      </p:sp>
      <p:pic>
        <p:nvPicPr>
          <p:cNvPr id="18" name="Grafik 14">
            <a:extLst>
              <a:ext uri="{FF2B5EF4-FFF2-40B4-BE49-F238E27FC236}">
                <a16:creationId xmlns:a16="http://schemas.microsoft.com/office/drawing/2014/main" id="{23805129-5FB8-4F47-94B0-BBDCCB2FC0B0}"/>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3732" y="6568603"/>
            <a:ext cx="938885" cy="193772"/>
          </a:xfrm>
          <a:prstGeom prst="rect">
            <a:avLst/>
          </a:prstGeom>
        </p:spPr>
      </p:pic>
    </p:spTree>
    <p:extLst>
      <p:ext uri="{BB962C8B-B14F-4D97-AF65-F5344CB8AC3E}">
        <p14:creationId xmlns:p14="http://schemas.microsoft.com/office/powerpoint/2010/main" val="1073261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DT&amp;I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5" name="Footer Placeholder 4"/>
          <p:cNvSpPr>
            <a:spLocks noGrp="1"/>
          </p:cNvSpPr>
          <p:nvPr>
            <p:ph type="ftr" sz="quarter" idx="11"/>
          </p:nvPr>
        </p:nvSpPr>
        <p:spPr bwMode="gray">
          <a:xfrm>
            <a:off x="1761492" y="6617933"/>
            <a:ext cx="8640000" cy="108000"/>
          </a:xfrm>
        </p:spPr>
        <p:txBody>
          <a:bodyPr/>
          <a:lstStyle/>
          <a:p>
            <a:r>
              <a:rPr lang="en-US"/>
              <a:t>/// Advanced Analytics and Digital Transformation /// NLP session /// March 2022</a:t>
            </a:r>
          </a:p>
        </p:txBody>
      </p:sp>
      <p:sp>
        <p:nvSpPr>
          <p:cNvPr id="6" name="Slide Number Placeholder 5"/>
          <p:cNvSpPr>
            <a:spLocks noGrp="1"/>
          </p:cNvSpPr>
          <p:nvPr>
            <p:ph type="sldNum" sz="quarter" idx="12"/>
          </p:nvPr>
        </p:nvSpPr>
        <p:spPr bwMode="gray">
          <a:xfrm>
            <a:off x="982663" y="6617933"/>
            <a:ext cx="392326" cy="108000"/>
          </a:xfrm>
        </p:spPr>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 14">
            <a:extLst>
              <a:ext uri="{FF2B5EF4-FFF2-40B4-BE49-F238E27FC236}">
                <a16:creationId xmlns:a16="http://schemas.microsoft.com/office/drawing/2014/main" id="{23230291-2807-4DB2-AA8D-1C01F21A63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732" y="6568603"/>
            <a:ext cx="938885" cy="193772"/>
          </a:xfrm>
          <a:prstGeom prst="rect">
            <a:avLst/>
          </a:prstGeom>
        </p:spPr>
      </p:pic>
    </p:spTree>
    <p:extLst>
      <p:ext uri="{BB962C8B-B14F-4D97-AF65-F5344CB8AC3E}">
        <p14:creationId xmlns:p14="http://schemas.microsoft.com/office/powerpoint/2010/main" val="42184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without Subheading DT&amp;I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5" name="Footer Placeholder 4"/>
          <p:cNvSpPr>
            <a:spLocks noGrp="1"/>
          </p:cNvSpPr>
          <p:nvPr>
            <p:ph type="ftr" sz="quarter" idx="11"/>
          </p:nvPr>
        </p:nvSpPr>
        <p:spPr bwMode="gray">
          <a:xfrm>
            <a:off x="1761492" y="6617933"/>
            <a:ext cx="8640000" cy="108000"/>
          </a:xfrm>
        </p:spPr>
        <p:txBody>
          <a:bodyPr/>
          <a:lstStyle/>
          <a:p>
            <a:r>
              <a:rPr lang="en-US"/>
              <a:t>/// Advanced Analytics and Digital Transformation /// NLP session /// March 2022</a:t>
            </a:r>
          </a:p>
        </p:txBody>
      </p:sp>
      <p:sp>
        <p:nvSpPr>
          <p:cNvPr id="6" name="Slide Number Placeholder 5"/>
          <p:cNvSpPr>
            <a:spLocks noGrp="1"/>
          </p:cNvSpPr>
          <p:nvPr>
            <p:ph type="sldNum" sz="quarter" idx="12"/>
          </p:nvPr>
        </p:nvSpPr>
        <p:spPr bwMode="gray">
          <a:xfrm>
            <a:off x="982663" y="6617933"/>
            <a:ext cx="392326" cy="108000"/>
          </a:xfrm>
        </p:spPr>
        <p:txBody>
          <a:bodyPr/>
          <a:lstStyle/>
          <a:p>
            <a:fld id="{EEAD9179-7A6B-4268-BEB2-F3B8EB06115B}" type="slidenum">
              <a:rPr lang="en-US" smtClean="0"/>
              <a:pPr/>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a:extLst>
              <a:ext uri="{FF2B5EF4-FFF2-40B4-BE49-F238E27FC236}">
                <a16:creationId xmlns:a16="http://schemas.microsoft.com/office/drawing/2014/main" id="{FF77F59C-B23D-4F0C-8617-6EBDF5E03D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732" y="6568603"/>
            <a:ext cx="938885" cy="193772"/>
          </a:xfrm>
          <a:prstGeom prst="rect">
            <a:avLst/>
          </a:prstGeom>
        </p:spPr>
      </p:pic>
    </p:spTree>
    <p:extLst>
      <p:ext uri="{BB962C8B-B14F-4D97-AF65-F5344CB8AC3E}">
        <p14:creationId xmlns:p14="http://schemas.microsoft.com/office/powerpoint/2010/main" val="297189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s DT&amp;I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778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11" name="Text Placeholder 10 (left)"/>
          <p:cNvSpPr>
            <a:spLocks noGrp="1"/>
          </p:cNvSpPr>
          <p:nvPr>
            <p:ph type="body" sz="quarter" idx="14"/>
          </p:nvPr>
        </p:nvSpPr>
        <p:spPr bwMode="gray">
          <a:xfrm>
            <a:off x="980283" y="1732750"/>
            <a:ext cx="5220000" cy="475200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right)"/>
          <p:cNvSpPr>
            <a:spLocks noGrp="1"/>
          </p:cNvSpPr>
          <p:nvPr>
            <p:ph type="body" sz="quarter" idx="15"/>
          </p:nvPr>
        </p:nvSpPr>
        <p:spPr bwMode="gray">
          <a:xfrm>
            <a:off x="6559603" y="1732750"/>
            <a:ext cx="5220000" cy="4752001"/>
          </a:xfrm>
        </p:spPr>
        <p:txBody>
          <a:bodyPr/>
          <a:lstStyle>
            <a:lvl1pP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
        <p:nvSpPr>
          <p:cNvPr id="15" name="Footer Placeholder 4"/>
          <p:cNvSpPr>
            <a:spLocks noGrp="1"/>
          </p:cNvSpPr>
          <p:nvPr>
            <p:ph type="ftr" sz="quarter" idx="11"/>
          </p:nvPr>
        </p:nvSpPr>
        <p:spPr bwMode="gray">
          <a:xfrm>
            <a:off x="1761492" y="6617933"/>
            <a:ext cx="8640000" cy="108000"/>
          </a:xfrm>
        </p:spPr>
        <p:txBody>
          <a:bodyPr/>
          <a:lstStyle/>
          <a:p>
            <a:r>
              <a:rPr lang="en-US"/>
              <a:t>/// Advanced Analytics and Digital Transformation /// NLP session /// March 2022</a:t>
            </a:r>
          </a:p>
        </p:txBody>
      </p:sp>
      <p:sp>
        <p:nvSpPr>
          <p:cNvPr id="16" name="Slide Number Placeholder 5"/>
          <p:cNvSpPr>
            <a:spLocks noGrp="1"/>
          </p:cNvSpPr>
          <p:nvPr>
            <p:ph type="sldNum" sz="quarter" idx="12"/>
          </p:nvPr>
        </p:nvSpPr>
        <p:spPr bwMode="gray">
          <a:xfrm>
            <a:off x="982663" y="6617933"/>
            <a:ext cx="392326" cy="108000"/>
          </a:xfrm>
        </p:spPr>
        <p:txBody>
          <a:bodyPr/>
          <a:lstStyle/>
          <a:p>
            <a:fld id="{EEAD9179-7A6B-4268-BEB2-F3B8EB06115B}" type="slidenum">
              <a:rPr lang="en-US" smtClean="0"/>
              <a:pPr/>
              <a:t>‹#›</a:t>
            </a:fld>
            <a:endParaRPr lang="en-US"/>
          </a:p>
        </p:txBody>
      </p:sp>
      <p:pic>
        <p:nvPicPr>
          <p:cNvPr id="14" name="Grafik 13">
            <a:extLst>
              <a:ext uri="{FF2B5EF4-FFF2-40B4-BE49-F238E27FC236}">
                <a16:creationId xmlns:a16="http://schemas.microsoft.com/office/drawing/2014/main" id="{4F9CDD13-7FF8-4D5F-B8BF-7F6522FB292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732" y="6568603"/>
            <a:ext cx="938885" cy="193772"/>
          </a:xfrm>
          <a:prstGeom prst="rect">
            <a:avLst/>
          </a:prstGeom>
        </p:spPr>
      </p:pic>
    </p:spTree>
    <p:extLst>
      <p:ext uri="{BB962C8B-B14F-4D97-AF65-F5344CB8AC3E}">
        <p14:creationId xmlns:p14="http://schemas.microsoft.com/office/powerpoint/2010/main" val="193375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2) &amp; Images (2) DT&amp;I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0282" y="1138299"/>
            <a:ext cx="1079943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11" name="Text Placeholder 10 (left)"/>
          <p:cNvSpPr>
            <a:spLocks noGrp="1"/>
          </p:cNvSpPr>
          <p:nvPr>
            <p:ph type="body" sz="quarter" idx="14"/>
          </p:nvPr>
        </p:nvSpPr>
        <p:spPr bwMode="gray">
          <a:xfrm>
            <a:off x="980282" y="3892749"/>
            <a:ext cx="522000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left)"/>
          <p:cNvSpPr>
            <a:spLocks noGrp="1"/>
          </p:cNvSpPr>
          <p:nvPr>
            <p:ph type="pic" sz="quarter" idx="16"/>
          </p:nvPr>
        </p:nvSpPr>
        <p:spPr bwMode="gray">
          <a:xfrm>
            <a:off x="980282" y="1732750"/>
            <a:ext cx="5220000" cy="1800000"/>
          </a:xfrm>
        </p:spPr>
        <p:txBody>
          <a:bodyPr tIns="540000" anchor="ctr"/>
          <a:lstStyle>
            <a:lvl1pPr algn="ctr">
              <a:defRPr/>
            </a:lvl1pPr>
          </a:lstStyle>
          <a:p>
            <a:r>
              <a:rPr lang="en-US"/>
              <a:t>Click icon to add picture</a:t>
            </a:r>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a:t>Click icon to add picture</a:t>
            </a:r>
          </a:p>
        </p:txBody>
      </p:sp>
      <p:pic>
        <p:nvPicPr>
          <p:cNvPr id="13"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
        <p:nvSpPr>
          <p:cNvPr id="19" name="Footer Placeholder 4"/>
          <p:cNvSpPr>
            <a:spLocks noGrp="1"/>
          </p:cNvSpPr>
          <p:nvPr>
            <p:ph type="ftr" sz="quarter" idx="11"/>
          </p:nvPr>
        </p:nvSpPr>
        <p:spPr bwMode="gray">
          <a:xfrm>
            <a:off x="1761492" y="6617933"/>
            <a:ext cx="8640000" cy="108000"/>
          </a:xfrm>
        </p:spPr>
        <p:txBody>
          <a:bodyPr/>
          <a:lstStyle/>
          <a:p>
            <a:r>
              <a:rPr lang="en-US"/>
              <a:t>/// Advanced Analytics and Digital Transformation /// NLP session /// March 2022</a:t>
            </a:r>
          </a:p>
        </p:txBody>
      </p:sp>
      <p:sp>
        <p:nvSpPr>
          <p:cNvPr id="20" name="Slide Number Placeholder 5"/>
          <p:cNvSpPr>
            <a:spLocks noGrp="1"/>
          </p:cNvSpPr>
          <p:nvPr>
            <p:ph type="sldNum" sz="quarter" idx="12"/>
          </p:nvPr>
        </p:nvSpPr>
        <p:spPr bwMode="gray">
          <a:xfrm>
            <a:off x="982663" y="6617933"/>
            <a:ext cx="392326" cy="108000"/>
          </a:xfrm>
        </p:spPr>
        <p:txBody>
          <a:bodyPr/>
          <a:lstStyle/>
          <a:p>
            <a:fld id="{EEAD9179-7A6B-4268-BEB2-F3B8EB06115B}" type="slidenum">
              <a:rPr lang="en-US" smtClean="0"/>
              <a:pPr/>
              <a:t>‹#›</a:t>
            </a:fld>
            <a:endParaRPr lang="en-US"/>
          </a:p>
        </p:txBody>
      </p:sp>
      <p:pic>
        <p:nvPicPr>
          <p:cNvPr id="18" name="Grafik 17">
            <a:extLst>
              <a:ext uri="{FF2B5EF4-FFF2-40B4-BE49-F238E27FC236}">
                <a16:creationId xmlns:a16="http://schemas.microsoft.com/office/drawing/2014/main" id="{AA3F543E-0B15-43E6-923E-36AE8ADE2C8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732" y="6568603"/>
            <a:ext cx="938885" cy="193772"/>
          </a:xfrm>
          <a:prstGeom prst="rect">
            <a:avLst/>
          </a:prstGeom>
        </p:spPr>
      </p:pic>
    </p:spTree>
    <p:extLst>
      <p:ext uri="{BB962C8B-B14F-4D97-AF65-F5344CB8AC3E}">
        <p14:creationId xmlns:p14="http://schemas.microsoft.com/office/powerpoint/2010/main" val="783038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27944059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673FC14F-6283-47C7-A173-AC8FAF638C52}" type="datetime1">
              <a:rPr lang="en-US" smtClean="0"/>
              <a:t>25/03/20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Advanced Analytics and Digital Transformation /// NLP session /// March 2022</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sp>
        <p:nvSpPr>
          <p:cNvPr id="8" name="MSIPCMContentMarking" descr="{&quot;HashCode&quot;:-242339457,&quot;Placement&quot;:&quot;Footer&quot;}">
            <a:extLst>
              <a:ext uri="{FF2B5EF4-FFF2-40B4-BE49-F238E27FC236}">
                <a16:creationId xmlns:a16="http://schemas.microsoft.com/office/drawing/2014/main" id="{61F76AF1-10AA-4ECB-A467-ED529FDE4CED}"/>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68" r:id="rId3"/>
    <p:sldLayoutId id="2147484267" r:id="rId4"/>
    <p:sldLayoutId id="2147484248" r:id="rId5"/>
    <p:sldLayoutId id="2147484249" r:id="rId6"/>
    <p:sldLayoutId id="2147484250" r:id="rId7"/>
    <p:sldLayoutId id="2147484251" r:id="rId8"/>
    <p:sldLayoutId id="2147484252" r:id="rId9"/>
    <p:sldLayoutId id="2147484253" r:id="rId10"/>
    <p:sldLayoutId id="2147484254" r:id="rId11"/>
    <p:sldLayoutId id="2147484264" r:id="rId12"/>
    <p:sldLayoutId id="214748426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19"/>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20"/>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21"/>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22"/>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22"/>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2"/>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2"/>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2"/>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6.jpeg"/><Relationship Id="rId4" Type="http://schemas.openxmlformats.org/officeDocument/2006/relationships/image" Target="../media/image8.svg"/></Relationships>
</file>

<file path=ppt/slides/_rels/slide1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75.svg"/></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75.svg"/></Relationships>
</file>

<file path=ppt/slides/_rels/slide12.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6.jpeg"/><Relationship Id="rId7"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png"/></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80.png"/><Relationship Id="rId7"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81.sv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82.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2.png"/><Relationship Id="rId7"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hyperlink" Target="https://huggingface.co/symanto/sn-xlm-roberta-base-snli-mnli-anli-xnli" TargetMode="External"/></Relationships>
</file>

<file path=ppt/slides/_rels/slide18.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hyperlink" Target="https://huggingface.co/symanto/sn-xlm-roberta-base-snli-mnli-anli-xnli" TargetMode="External"/><Relationship Id="rId18" Type="http://schemas.openxmlformats.org/officeDocument/2006/relationships/image" Target="../media/image4.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notesSlide" Target="../notesSlides/notesSlide16.xml"/><Relationship Id="rId17" Type="http://schemas.openxmlformats.org/officeDocument/2006/relationships/image" Target="../media/image3.png"/><Relationship Id="rId2" Type="http://schemas.openxmlformats.org/officeDocument/2006/relationships/tags" Target="../tags/tag15.xml"/><Relationship Id="rId16" Type="http://schemas.openxmlformats.org/officeDocument/2006/relationships/image" Target="../media/image2.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slideLayout" Target="../slideLayouts/slideLayout13.xml"/><Relationship Id="rId5" Type="http://schemas.openxmlformats.org/officeDocument/2006/relationships/tags" Target="../tags/tag18.xml"/><Relationship Id="rId15" Type="http://schemas.openxmlformats.org/officeDocument/2006/relationships/image" Target="../media/image87.svg"/><Relationship Id="rId10" Type="http://schemas.openxmlformats.org/officeDocument/2006/relationships/tags" Target="../tags/tag23.xml"/><Relationship Id="rId19" Type="http://schemas.openxmlformats.org/officeDocument/2006/relationships/image" Target="../media/image5.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8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117" Type="http://schemas.openxmlformats.org/officeDocument/2006/relationships/customXml" Target="../ink/ink109.xml"/><Relationship Id="rId21" Type="http://schemas.openxmlformats.org/officeDocument/2006/relationships/customXml" Target="../ink/ink60.xml"/><Relationship Id="rId42" Type="http://schemas.openxmlformats.org/officeDocument/2006/relationships/image" Target="../media/image113.png"/><Relationship Id="rId47" Type="http://schemas.openxmlformats.org/officeDocument/2006/relationships/customXml" Target="../ink/ink73.xml"/><Relationship Id="rId63" Type="http://schemas.openxmlformats.org/officeDocument/2006/relationships/customXml" Target="../ink/ink81.xml"/><Relationship Id="rId68" Type="http://schemas.openxmlformats.org/officeDocument/2006/relationships/image" Target="../media/image126.png"/><Relationship Id="rId84" Type="http://schemas.openxmlformats.org/officeDocument/2006/relationships/image" Target="../media/image134.png"/><Relationship Id="rId89" Type="http://schemas.openxmlformats.org/officeDocument/2006/relationships/customXml" Target="../ink/ink94.xml"/><Relationship Id="rId112" Type="http://schemas.openxmlformats.org/officeDocument/2006/relationships/image" Target="../media/image147.png"/><Relationship Id="rId133" Type="http://schemas.openxmlformats.org/officeDocument/2006/relationships/image" Target="../media/image157.png"/><Relationship Id="rId138" Type="http://schemas.openxmlformats.org/officeDocument/2006/relationships/customXml" Target="../ink/ink120.xml"/><Relationship Id="rId154" Type="http://schemas.openxmlformats.org/officeDocument/2006/relationships/image" Target="../media/image167.png"/><Relationship Id="rId159" Type="http://schemas.openxmlformats.org/officeDocument/2006/relationships/customXml" Target="../ink/ink131.xml"/><Relationship Id="rId175" Type="http://schemas.openxmlformats.org/officeDocument/2006/relationships/image" Target="../media/image177.png"/><Relationship Id="rId170" Type="http://schemas.openxmlformats.org/officeDocument/2006/relationships/customXml" Target="../ink/ink137.xml"/><Relationship Id="rId191" Type="http://schemas.openxmlformats.org/officeDocument/2006/relationships/image" Target="../media/image185.png"/><Relationship Id="rId196" Type="http://schemas.openxmlformats.org/officeDocument/2006/relationships/image" Target="../media/image187.png"/><Relationship Id="rId16" Type="http://schemas.openxmlformats.org/officeDocument/2006/relationships/image" Target="../media/image100.png"/><Relationship Id="rId107" Type="http://schemas.openxmlformats.org/officeDocument/2006/relationships/customXml" Target="../ink/ink104.xml"/><Relationship Id="rId11" Type="http://schemas.openxmlformats.org/officeDocument/2006/relationships/customXml" Target="../ink/ink55.xml"/><Relationship Id="rId32" Type="http://schemas.openxmlformats.org/officeDocument/2006/relationships/image" Target="../media/image108.png"/><Relationship Id="rId37" Type="http://schemas.openxmlformats.org/officeDocument/2006/relationships/customXml" Target="../ink/ink68.xml"/><Relationship Id="rId53" Type="http://schemas.openxmlformats.org/officeDocument/2006/relationships/customXml" Target="../ink/ink76.xml"/><Relationship Id="rId58" Type="http://schemas.openxmlformats.org/officeDocument/2006/relationships/image" Target="../media/image121.png"/><Relationship Id="rId74" Type="http://schemas.openxmlformats.org/officeDocument/2006/relationships/image" Target="../media/image129.png"/><Relationship Id="rId79" Type="http://schemas.openxmlformats.org/officeDocument/2006/relationships/customXml" Target="../ink/ink89.xml"/><Relationship Id="rId102" Type="http://schemas.openxmlformats.org/officeDocument/2006/relationships/customXml" Target="../ink/ink101.xml"/><Relationship Id="rId123" Type="http://schemas.openxmlformats.org/officeDocument/2006/relationships/image" Target="../media/image152.png"/><Relationship Id="rId128" Type="http://schemas.openxmlformats.org/officeDocument/2006/relationships/customXml" Target="../ink/ink115.xml"/><Relationship Id="rId144" Type="http://schemas.openxmlformats.org/officeDocument/2006/relationships/image" Target="../media/image162.png"/><Relationship Id="rId149" Type="http://schemas.openxmlformats.org/officeDocument/2006/relationships/customXml" Target="../ink/ink126.xml"/><Relationship Id="rId5" Type="http://schemas.openxmlformats.org/officeDocument/2006/relationships/customXml" Target="../ink/ink52.xml"/><Relationship Id="rId90" Type="http://schemas.openxmlformats.org/officeDocument/2006/relationships/image" Target="../media/image137.png"/><Relationship Id="rId95" Type="http://schemas.openxmlformats.org/officeDocument/2006/relationships/image" Target="../media/image139.png"/><Relationship Id="rId160" Type="http://schemas.openxmlformats.org/officeDocument/2006/relationships/image" Target="../media/image170.png"/><Relationship Id="rId165" Type="http://schemas.openxmlformats.org/officeDocument/2006/relationships/image" Target="../media/image172.png"/><Relationship Id="rId181" Type="http://schemas.openxmlformats.org/officeDocument/2006/relationships/image" Target="../media/image180.png"/><Relationship Id="rId186" Type="http://schemas.openxmlformats.org/officeDocument/2006/relationships/customXml" Target="../ink/ink145.xml"/><Relationship Id="rId22" Type="http://schemas.openxmlformats.org/officeDocument/2006/relationships/image" Target="../media/image103.png"/><Relationship Id="rId27" Type="http://schemas.openxmlformats.org/officeDocument/2006/relationships/customXml" Target="../ink/ink63.xml"/><Relationship Id="rId43" Type="http://schemas.openxmlformats.org/officeDocument/2006/relationships/customXml" Target="../ink/ink71.xml"/><Relationship Id="rId48" Type="http://schemas.openxmlformats.org/officeDocument/2006/relationships/image" Target="../media/image116.png"/><Relationship Id="rId64" Type="http://schemas.openxmlformats.org/officeDocument/2006/relationships/image" Target="../media/image124.png"/><Relationship Id="rId69" Type="http://schemas.openxmlformats.org/officeDocument/2006/relationships/customXml" Target="../ink/ink84.xml"/><Relationship Id="rId113" Type="http://schemas.openxmlformats.org/officeDocument/2006/relationships/customXml" Target="../ink/ink107.xml"/><Relationship Id="rId118" Type="http://schemas.openxmlformats.org/officeDocument/2006/relationships/image" Target="../media/image150.png"/><Relationship Id="rId134" Type="http://schemas.openxmlformats.org/officeDocument/2006/relationships/customXml" Target="../ink/ink118.xml"/><Relationship Id="rId139" Type="http://schemas.openxmlformats.org/officeDocument/2006/relationships/customXml" Target="../ink/ink121.xml"/><Relationship Id="rId80" Type="http://schemas.openxmlformats.org/officeDocument/2006/relationships/image" Target="../media/image132.png"/><Relationship Id="rId85" Type="http://schemas.openxmlformats.org/officeDocument/2006/relationships/customXml" Target="../ink/ink92.xml"/><Relationship Id="rId150" Type="http://schemas.openxmlformats.org/officeDocument/2006/relationships/image" Target="../media/image165.png"/><Relationship Id="rId155" Type="http://schemas.openxmlformats.org/officeDocument/2006/relationships/customXml" Target="../ink/ink129.xml"/><Relationship Id="rId171" Type="http://schemas.openxmlformats.org/officeDocument/2006/relationships/image" Target="../media/image175.png"/><Relationship Id="rId176" Type="http://schemas.openxmlformats.org/officeDocument/2006/relationships/customXml" Target="../ink/ink140.xml"/><Relationship Id="rId192" Type="http://schemas.openxmlformats.org/officeDocument/2006/relationships/customXml" Target="../ink/ink148.xml"/><Relationship Id="rId12" Type="http://schemas.openxmlformats.org/officeDocument/2006/relationships/image" Target="../media/image98.png"/><Relationship Id="rId17" Type="http://schemas.openxmlformats.org/officeDocument/2006/relationships/customXml" Target="../ink/ink58.xml"/><Relationship Id="rId33" Type="http://schemas.openxmlformats.org/officeDocument/2006/relationships/customXml" Target="../ink/ink66.xml"/><Relationship Id="rId38" Type="http://schemas.openxmlformats.org/officeDocument/2006/relationships/image" Target="../media/image111.png"/><Relationship Id="rId59" Type="http://schemas.openxmlformats.org/officeDocument/2006/relationships/customXml" Target="../ink/ink79.xml"/><Relationship Id="rId103" Type="http://schemas.openxmlformats.org/officeDocument/2006/relationships/image" Target="../media/image143.png"/><Relationship Id="rId108" Type="http://schemas.openxmlformats.org/officeDocument/2006/relationships/image" Target="../media/image145.png"/><Relationship Id="rId124" Type="http://schemas.openxmlformats.org/officeDocument/2006/relationships/customXml" Target="../ink/ink113.xml"/><Relationship Id="rId129" Type="http://schemas.openxmlformats.org/officeDocument/2006/relationships/image" Target="../media/image155.png"/><Relationship Id="rId54" Type="http://schemas.openxmlformats.org/officeDocument/2006/relationships/image" Target="../media/image119.png"/><Relationship Id="rId70" Type="http://schemas.openxmlformats.org/officeDocument/2006/relationships/image" Target="../media/image127.png"/><Relationship Id="rId75" Type="http://schemas.openxmlformats.org/officeDocument/2006/relationships/customXml" Target="../ink/ink87.xml"/><Relationship Id="rId91" Type="http://schemas.openxmlformats.org/officeDocument/2006/relationships/customXml" Target="../ink/ink95.xml"/><Relationship Id="rId96" Type="http://schemas.openxmlformats.org/officeDocument/2006/relationships/customXml" Target="../ink/ink98.xml"/><Relationship Id="rId140" Type="http://schemas.openxmlformats.org/officeDocument/2006/relationships/image" Target="../media/image160.png"/><Relationship Id="rId145" Type="http://schemas.openxmlformats.org/officeDocument/2006/relationships/customXml" Target="../ink/ink124.xml"/><Relationship Id="rId161" Type="http://schemas.openxmlformats.org/officeDocument/2006/relationships/customXml" Target="../ink/ink132.xml"/><Relationship Id="rId166" Type="http://schemas.openxmlformats.org/officeDocument/2006/relationships/customXml" Target="../ink/ink135.xml"/><Relationship Id="rId182" Type="http://schemas.openxmlformats.org/officeDocument/2006/relationships/customXml" Target="../ink/ink143.xml"/><Relationship Id="rId187" Type="http://schemas.openxmlformats.org/officeDocument/2006/relationships/image" Target="../media/image183.png"/><Relationship Id="rId1" Type="http://schemas.openxmlformats.org/officeDocument/2006/relationships/slideLayout" Target="../slideLayouts/slideLayout6.xml"/><Relationship Id="rId6" Type="http://schemas.openxmlformats.org/officeDocument/2006/relationships/image" Target="../media/image95.png"/><Relationship Id="rId23" Type="http://schemas.openxmlformats.org/officeDocument/2006/relationships/customXml" Target="../ink/ink61.xml"/><Relationship Id="rId28" Type="http://schemas.openxmlformats.org/officeDocument/2006/relationships/image" Target="../media/image106.png"/><Relationship Id="rId49" Type="http://schemas.openxmlformats.org/officeDocument/2006/relationships/customXml" Target="../ink/ink74.xml"/><Relationship Id="rId114" Type="http://schemas.openxmlformats.org/officeDocument/2006/relationships/image" Target="../media/image148.png"/><Relationship Id="rId119" Type="http://schemas.openxmlformats.org/officeDocument/2006/relationships/customXml" Target="../ink/ink110.xml"/><Relationship Id="rId44" Type="http://schemas.openxmlformats.org/officeDocument/2006/relationships/image" Target="../media/image114.png"/><Relationship Id="rId60" Type="http://schemas.openxmlformats.org/officeDocument/2006/relationships/image" Target="../media/image122.png"/><Relationship Id="rId65" Type="http://schemas.openxmlformats.org/officeDocument/2006/relationships/customXml" Target="../ink/ink82.xml"/><Relationship Id="rId81" Type="http://schemas.openxmlformats.org/officeDocument/2006/relationships/customXml" Target="../ink/ink90.xml"/><Relationship Id="rId86" Type="http://schemas.openxmlformats.org/officeDocument/2006/relationships/image" Target="../media/image135.png"/><Relationship Id="rId130" Type="http://schemas.openxmlformats.org/officeDocument/2006/relationships/customXml" Target="../ink/ink116.xml"/><Relationship Id="rId135" Type="http://schemas.openxmlformats.org/officeDocument/2006/relationships/image" Target="../media/image158.png"/><Relationship Id="rId151" Type="http://schemas.openxmlformats.org/officeDocument/2006/relationships/customXml" Target="../ink/ink127.xml"/><Relationship Id="rId156" Type="http://schemas.openxmlformats.org/officeDocument/2006/relationships/image" Target="../media/image168.png"/><Relationship Id="rId177" Type="http://schemas.openxmlformats.org/officeDocument/2006/relationships/image" Target="../media/image178.png"/><Relationship Id="rId172" Type="http://schemas.openxmlformats.org/officeDocument/2006/relationships/customXml" Target="../ink/ink138.xml"/><Relationship Id="rId193" Type="http://schemas.openxmlformats.org/officeDocument/2006/relationships/customXml" Target="../ink/ink149.xml"/><Relationship Id="rId13" Type="http://schemas.openxmlformats.org/officeDocument/2006/relationships/customXml" Target="../ink/ink56.xml"/><Relationship Id="rId18" Type="http://schemas.openxmlformats.org/officeDocument/2006/relationships/image" Target="../media/image101.png"/><Relationship Id="rId39" Type="http://schemas.openxmlformats.org/officeDocument/2006/relationships/customXml" Target="../ink/ink69.xml"/><Relationship Id="rId109" Type="http://schemas.openxmlformats.org/officeDocument/2006/relationships/customXml" Target="../ink/ink105.xml"/><Relationship Id="rId34" Type="http://schemas.openxmlformats.org/officeDocument/2006/relationships/image" Target="../media/image109.png"/><Relationship Id="rId50" Type="http://schemas.openxmlformats.org/officeDocument/2006/relationships/image" Target="../media/image117.png"/><Relationship Id="rId55" Type="http://schemas.openxmlformats.org/officeDocument/2006/relationships/customXml" Target="../ink/ink77.xml"/><Relationship Id="rId76" Type="http://schemas.openxmlformats.org/officeDocument/2006/relationships/image" Target="../media/image130.png"/><Relationship Id="rId97" Type="http://schemas.openxmlformats.org/officeDocument/2006/relationships/image" Target="../media/image140.png"/><Relationship Id="rId104" Type="http://schemas.openxmlformats.org/officeDocument/2006/relationships/customXml" Target="../ink/ink102.xml"/><Relationship Id="rId120" Type="http://schemas.openxmlformats.org/officeDocument/2006/relationships/image" Target="../media/image151.png"/><Relationship Id="rId125" Type="http://schemas.openxmlformats.org/officeDocument/2006/relationships/image" Target="../media/image153.png"/><Relationship Id="rId141" Type="http://schemas.openxmlformats.org/officeDocument/2006/relationships/customXml" Target="../ink/ink122.xml"/><Relationship Id="rId146" Type="http://schemas.openxmlformats.org/officeDocument/2006/relationships/image" Target="../media/image163.png"/><Relationship Id="rId167" Type="http://schemas.openxmlformats.org/officeDocument/2006/relationships/image" Target="../media/image173.png"/><Relationship Id="rId188" Type="http://schemas.openxmlformats.org/officeDocument/2006/relationships/customXml" Target="../ink/ink146.xml"/><Relationship Id="rId7" Type="http://schemas.openxmlformats.org/officeDocument/2006/relationships/customXml" Target="../ink/ink53.xml"/><Relationship Id="rId71" Type="http://schemas.openxmlformats.org/officeDocument/2006/relationships/customXml" Target="../ink/ink85.xml"/><Relationship Id="rId92" Type="http://schemas.openxmlformats.org/officeDocument/2006/relationships/image" Target="../media/image138.png"/><Relationship Id="rId162" Type="http://schemas.openxmlformats.org/officeDocument/2006/relationships/customXml" Target="../ink/ink133.xml"/><Relationship Id="rId183" Type="http://schemas.openxmlformats.org/officeDocument/2006/relationships/image" Target="../media/image181.png"/><Relationship Id="rId2" Type="http://schemas.openxmlformats.org/officeDocument/2006/relationships/image" Target="../media/image89.png"/><Relationship Id="rId29" Type="http://schemas.openxmlformats.org/officeDocument/2006/relationships/customXml" Target="../ink/ink64.xml"/><Relationship Id="rId24" Type="http://schemas.openxmlformats.org/officeDocument/2006/relationships/image" Target="../media/image104.png"/><Relationship Id="rId40" Type="http://schemas.openxmlformats.org/officeDocument/2006/relationships/image" Target="../media/image112.png"/><Relationship Id="rId45" Type="http://schemas.openxmlformats.org/officeDocument/2006/relationships/customXml" Target="../ink/ink72.xml"/><Relationship Id="rId66" Type="http://schemas.openxmlformats.org/officeDocument/2006/relationships/image" Target="../media/image125.png"/><Relationship Id="rId87" Type="http://schemas.openxmlformats.org/officeDocument/2006/relationships/customXml" Target="../ink/ink93.xml"/><Relationship Id="rId110" Type="http://schemas.openxmlformats.org/officeDocument/2006/relationships/image" Target="../media/image146.png"/><Relationship Id="rId115" Type="http://schemas.openxmlformats.org/officeDocument/2006/relationships/customXml" Target="../ink/ink108.xml"/><Relationship Id="rId131" Type="http://schemas.openxmlformats.org/officeDocument/2006/relationships/image" Target="../media/image156.png"/><Relationship Id="rId136" Type="http://schemas.openxmlformats.org/officeDocument/2006/relationships/customXml" Target="../ink/ink119.xml"/><Relationship Id="rId157" Type="http://schemas.openxmlformats.org/officeDocument/2006/relationships/customXml" Target="../ink/ink130.xml"/><Relationship Id="rId178" Type="http://schemas.openxmlformats.org/officeDocument/2006/relationships/customXml" Target="../ink/ink141.xml"/><Relationship Id="rId61" Type="http://schemas.openxmlformats.org/officeDocument/2006/relationships/customXml" Target="../ink/ink80.xml"/><Relationship Id="rId82" Type="http://schemas.openxmlformats.org/officeDocument/2006/relationships/image" Target="../media/image133.png"/><Relationship Id="rId152" Type="http://schemas.openxmlformats.org/officeDocument/2006/relationships/image" Target="../media/image166.png"/><Relationship Id="rId173" Type="http://schemas.openxmlformats.org/officeDocument/2006/relationships/image" Target="../media/image176.png"/><Relationship Id="rId194" Type="http://schemas.openxmlformats.org/officeDocument/2006/relationships/image" Target="../media/image186.png"/><Relationship Id="rId19" Type="http://schemas.openxmlformats.org/officeDocument/2006/relationships/customXml" Target="../ink/ink59.xml"/><Relationship Id="rId14" Type="http://schemas.openxmlformats.org/officeDocument/2006/relationships/image" Target="../media/image99.png"/><Relationship Id="rId30" Type="http://schemas.openxmlformats.org/officeDocument/2006/relationships/image" Target="../media/image107.png"/><Relationship Id="rId35" Type="http://schemas.openxmlformats.org/officeDocument/2006/relationships/customXml" Target="../ink/ink67.xml"/><Relationship Id="rId56" Type="http://schemas.openxmlformats.org/officeDocument/2006/relationships/image" Target="../media/image120.png"/><Relationship Id="rId77" Type="http://schemas.openxmlformats.org/officeDocument/2006/relationships/customXml" Target="../ink/ink88.xml"/><Relationship Id="rId100" Type="http://schemas.openxmlformats.org/officeDocument/2006/relationships/customXml" Target="../ink/ink100.xml"/><Relationship Id="rId105" Type="http://schemas.openxmlformats.org/officeDocument/2006/relationships/image" Target="../media/image144.png"/><Relationship Id="rId126" Type="http://schemas.openxmlformats.org/officeDocument/2006/relationships/customXml" Target="../ink/ink114.xml"/><Relationship Id="rId147" Type="http://schemas.openxmlformats.org/officeDocument/2006/relationships/customXml" Target="../ink/ink125.xml"/><Relationship Id="rId168" Type="http://schemas.openxmlformats.org/officeDocument/2006/relationships/customXml" Target="../ink/ink136.xml"/><Relationship Id="rId8" Type="http://schemas.openxmlformats.org/officeDocument/2006/relationships/image" Target="../media/image96.png"/><Relationship Id="rId51" Type="http://schemas.openxmlformats.org/officeDocument/2006/relationships/customXml" Target="../ink/ink75.xml"/><Relationship Id="rId72" Type="http://schemas.openxmlformats.org/officeDocument/2006/relationships/image" Target="../media/image128.png"/><Relationship Id="rId93" Type="http://schemas.openxmlformats.org/officeDocument/2006/relationships/customXml" Target="../ink/ink96.xml"/><Relationship Id="rId98" Type="http://schemas.openxmlformats.org/officeDocument/2006/relationships/customXml" Target="../ink/ink99.xml"/><Relationship Id="rId121" Type="http://schemas.openxmlformats.org/officeDocument/2006/relationships/customXml" Target="../ink/ink111.xml"/><Relationship Id="rId142" Type="http://schemas.openxmlformats.org/officeDocument/2006/relationships/image" Target="../media/image161.png"/><Relationship Id="rId163" Type="http://schemas.openxmlformats.org/officeDocument/2006/relationships/image" Target="../media/image171.png"/><Relationship Id="rId184" Type="http://schemas.openxmlformats.org/officeDocument/2006/relationships/customXml" Target="../ink/ink144.xml"/><Relationship Id="rId189" Type="http://schemas.openxmlformats.org/officeDocument/2006/relationships/image" Target="../media/image184.png"/><Relationship Id="rId3" Type="http://schemas.openxmlformats.org/officeDocument/2006/relationships/customXml" Target="../ink/ink51.xml"/><Relationship Id="rId25" Type="http://schemas.openxmlformats.org/officeDocument/2006/relationships/customXml" Target="../ink/ink62.xml"/><Relationship Id="rId46" Type="http://schemas.openxmlformats.org/officeDocument/2006/relationships/image" Target="../media/image115.png"/><Relationship Id="rId67" Type="http://schemas.openxmlformats.org/officeDocument/2006/relationships/customXml" Target="../ink/ink83.xml"/><Relationship Id="rId116" Type="http://schemas.openxmlformats.org/officeDocument/2006/relationships/image" Target="../media/image149.png"/><Relationship Id="rId137" Type="http://schemas.openxmlformats.org/officeDocument/2006/relationships/image" Target="../media/image159.png"/><Relationship Id="rId158" Type="http://schemas.openxmlformats.org/officeDocument/2006/relationships/image" Target="../media/image169.png"/><Relationship Id="rId20" Type="http://schemas.openxmlformats.org/officeDocument/2006/relationships/image" Target="../media/image102.png"/><Relationship Id="rId41" Type="http://schemas.openxmlformats.org/officeDocument/2006/relationships/customXml" Target="../ink/ink70.xml"/><Relationship Id="rId62" Type="http://schemas.openxmlformats.org/officeDocument/2006/relationships/image" Target="../media/image123.png"/><Relationship Id="rId83" Type="http://schemas.openxmlformats.org/officeDocument/2006/relationships/customXml" Target="../ink/ink91.xml"/><Relationship Id="rId88" Type="http://schemas.openxmlformats.org/officeDocument/2006/relationships/image" Target="../media/image136.png"/><Relationship Id="rId111" Type="http://schemas.openxmlformats.org/officeDocument/2006/relationships/customXml" Target="../ink/ink106.xml"/><Relationship Id="rId132" Type="http://schemas.openxmlformats.org/officeDocument/2006/relationships/customXml" Target="../ink/ink117.xml"/><Relationship Id="rId153" Type="http://schemas.openxmlformats.org/officeDocument/2006/relationships/customXml" Target="../ink/ink128.xml"/><Relationship Id="rId174" Type="http://schemas.openxmlformats.org/officeDocument/2006/relationships/customXml" Target="../ink/ink139.xml"/><Relationship Id="rId179" Type="http://schemas.openxmlformats.org/officeDocument/2006/relationships/image" Target="../media/image179.png"/><Relationship Id="rId195" Type="http://schemas.openxmlformats.org/officeDocument/2006/relationships/customXml" Target="../ink/ink150.xml"/><Relationship Id="rId190" Type="http://schemas.openxmlformats.org/officeDocument/2006/relationships/customXml" Target="../ink/ink147.xml"/><Relationship Id="rId15" Type="http://schemas.openxmlformats.org/officeDocument/2006/relationships/customXml" Target="../ink/ink57.xml"/><Relationship Id="rId36" Type="http://schemas.openxmlformats.org/officeDocument/2006/relationships/image" Target="../media/image110.png"/><Relationship Id="rId57" Type="http://schemas.openxmlformats.org/officeDocument/2006/relationships/customXml" Target="../ink/ink78.xml"/><Relationship Id="rId106" Type="http://schemas.openxmlformats.org/officeDocument/2006/relationships/customXml" Target="../ink/ink103.xml"/><Relationship Id="rId127" Type="http://schemas.openxmlformats.org/officeDocument/2006/relationships/image" Target="../media/image154.png"/><Relationship Id="rId10" Type="http://schemas.openxmlformats.org/officeDocument/2006/relationships/image" Target="../media/image97.png"/><Relationship Id="rId31" Type="http://schemas.openxmlformats.org/officeDocument/2006/relationships/customXml" Target="../ink/ink65.xml"/><Relationship Id="rId52" Type="http://schemas.openxmlformats.org/officeDocument/2006/relationships/image" Target="../media/image118.png"/><Relationship Id="rId73" Type="http://schemas.openxmlformats.org/officeDocument/2006/relationships/customXml" Target="../ink/ink86.xml"/><Relationship Id="rId78" Type="http://schemas.openxmlformats.org/officeDocument/2006/relationships/image" Target="../media/image131.png"/><Relationship Id="rId94" Type="http://schemas.openxmlformats.org/officeDocument/2006/relationships/customXml" Target="../ink/ink97.xml"/><Relationship Id="rId99" Type="http://schemas.openxmlformats.org/officeDocument/2006/relationships/image" Target="../media/image141.png"/><Relationship Id="rId101" Type="http://schemas.openxmlformats.org/officeDocument/2006/relationships/image" Target="../media/image142.png"/><Relationship Id="rId122" Type="http://schemas.openxmlformats.org/officeDocument/2006/relationships/customXml" Target="../ink/ink112.xml"/><Relationship Id="rId143" Type="http://schemas.openxmlformats.org/officeDocument/2006/relationships/customXml" Target="../ink/ink123.xml"/><Relationship Id="rId148" Type="http://schemas.openxmlformats.org/officeDocument/2006/relationships/image" Target="../media/image164.png"/><Relationship Id="rId164" Type="http://schemas.openxmlformats.org/officeDocument/2006/relationships/customXml" Target="../ink/ink134.xml"/><Relationship Id="rId169" Type="http://schemas.openxmlformats.org/officeDocument/2006/relationships/image" Target="../media/image174.png"/><Relationship Id="rId185" Type="http://schemas.openxmlformats.org/officeDocument/2006/relationships/image" Target="../media/image182.png"/><Relationship Id="rId4" Type="http://schemas.openxmlformats.org/officeDocument/2006/relationships/image" Target="../media/image94.png"/><Relationship Id="rId9" Type="http://schemas.openxmlformats.org/officeDocument/2006/relationships/customXml" Target="../ink/ink54.xml"/><Relationship Id="rId180" Type="http://schemas.openxmlformats.org/officeDocument/2006/relationships/customXml" Target="../ink/ink142.xml"/><Relationship Id="rId26" Type="http://schemas.openxmlformats.org/officeDocument/2006/relationships/image" Target="../media/image105.pn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image" Target="../media/image90.png"/><Relationship Id="rId5" Type="http://schemas.openxmlformats.org/officeDocument/2006/relationships/image" Target="../media/image5.png"/><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0.xml"/><Relationship Id="rId5" Type="http://schemas.openxmlformats.org/officeDocument/2006/relationships/image" Target="../media/image5.png"/><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4.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2.png"/><Relationship Id="rId5" Type="http://schemas.openxmlformats.org/officeDocument/2006/relationships/tags" Target="../tags/tag28.xml"/><Relationship Id="rId15" Type="http://schemas.openxmlformats.org/officeDocument/2006/relationships/image" Target="../media/image92.png"/><Relationship Id="rId10" Type="http://schemas.openxmlformats.org/officeDocument/2006/relationships/image" Target="../media/image91.png"/><Relationship Id="rId4" Type="http://schemas.openxmlformats.org/officeDocument/2006/relationships/tags" Target="../tags/tag27.xml"/><Relationship Id="rId9" Type="http://schemas.openxmlformats.org/officeDocument/2006/relationships/slideLayout" Target="../slideLayouts/slideLayout10.xml"/><Relationship Id="rId1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93.png"/><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27.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chart" Target="../charts/chart1.xml"/><Relationship Id="rId7" Type="http://schemas.openxmlformats.org/officeDocument/2006/relationships/image" Target="../media/image5.png"/><Relationship Id="rId2" Type="http://schemas.openxmlformats.org/officeDocument/2006/relationships/slideLayout" Target="../slideLayouts/slideLayout10.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0.xml"/><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8.jpeg"/></Relationships>
</file>

<file path=ppt/slides/_rels/slide30.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19.xml"/><Relationship Id="rId1" Type="http://schemas.openxmlformats.org/officeDocument/2006/relationships/slideLayout" Target="../slideLayouts/slideLayout10.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6" Type="http://schemas.openxmlformats.org/officeDocument/2006/relationships/customXml" Target="../ink/ink10.xml"/><Relationship Id="rId21" Type="http://schemas.openxmlformats.org/officeDocument/2006/relationships/image" Target="../media/image29.png"/><Relationship Id="rId42" Type="http://schemas.openxmlformats.org/officeDocument/2006/relationships/customXml" Target="../ink/ink18.xml"/><Relationship Id="rId47" Type="http://schemas.openxmlformats.org/officeDocument/2006/relationships/image" Target="../media/image42.png"/><Relationship Id="rId63" Type="http://schemas.openxmlformats.org/officeDocument/2006/relationships/image" Target="../media/image50.png"/><Relationship Id="rId68" Type="http://schemas.openxmlformats.org/officeDocument/2006/relationships/customXml" Target="../ink/ink31.xml"/><Relationship Id="rId84" Type="http://schemas.openxmlformats.org/officeDocument/2006/relationships/customXml" Target="../ink/ink39.xml"/><Relationship Id="rId89" Type="http://schemas.openxmlformats.org/officeDocument/2006/relationships/image" Target="../media/image63.png"/><Relationship Id="rId7" Type="http://schemas.openxmlformats.org/officeDocument/2006/relationships/image" Target="../media/image22.png"/><Relationship Id="rId71" Type="http://schemas.openxmlformats.org/officeDocument/2006/relationships/image" Target="../media/image54.png"/><Relationship Id="rId92" Type="http://schemas.openxmlformats.org/officeDocument/2006/relationships/customXml" Target="../ink/ink43.xml"/><Relationship Id="rId2" Type="http://schemas.openxmlformats.org/officeDocument/2006/relationships/slideLayout" Target="../slideLayouts/slideLayout10.xml"/><Relationship Id="rId16" Type="http://schemas.openxmlformats.org/officeDocument/2006/relationships/customXml" Target="../ink/ink5.xml"/><Relationship Id="rId29" Type="http://schemas.openxmlformats.org/officeDocument/2006/relationships/image" Target="../media/image33.png"/><Relationship Id="rId107" Type="http://schemas.openxmlformats.org/officeDocument/2006/relationships/image" Target="../media/image72.png"/><Relationship Id="rId11" Type="http://schemas.openxmlformats.org/officeDocument/2006/relationships/image" Target="../media/image24.png"/><Relationship Id="rId24" Type="http://schemas.openxmlformats.org/officeDocument/2006/relationships/customXml" Target="../ink/ink9.xml"/><Relationship Id="rId32" Type="http://schemas.openxmlformats.org/officeDocument/2006/relationships/customXml" Target="../ink/ink13.xml"/><Relationship Id="rId37" Type="http://schemas.openxmlformats.org/officeDocument/2006/relationships/image" Target="../media/image37.png"/><Relationship Id="rId40" Type="http://schemas.openxmlformats.org/officeDocument/2006/relationships/customXml" Target="../ink/ink17.xml"/><Relationship Id="rId45" Type="http://schemas.openxmlformats.org/officeDocument/2006/relationships/image" Target="../media/image41.png"/><Relationship Id="rId53" Type="http://schemas.openxmlformats.org/officeDocument/2006/relationships/image" Target="../media/image45.png"/><Relationship Id="rId58" Type="http://schemas.openxmlformats.org/officeDocument/2006/relationships/customXml" Target="../ink/ink26.xml"/><Relationship Id="rId66" Type="http://schemas.openxmlformats.org/officeDocument/2006/relationships/customXml" Target="../ink/ink30.xml"/><Relationship Id="rId74" Type="http://schemas.openxmlformats.org/officeDocument/2006/relationships/customXml" Target="../ink/ink34.xml"/><Relationship Id="rId79" Type="http://schemas.openxmlformats.org/officeDocument/2006/relationships/image" Target="../media/image58.png"/><Relationship Id="rId87" Type="http://schemas.openxmlformats.org/officeDocument/2006/relationships/image" Target="../media/image62.png"/><Relationship Id="rId102" Type="http://schemas.openxmlformats.org/officeDocument/2006/relationships/customXml" Target="../ink/ink48.xml"/><Relationship Id="rId5" Type="http://schemas.openxmlformats.org/officeDocument/2006/relationships/image" Target="../media/image20.png"/><Relationship Id="rId61" Type="http://schemas.openxmlformats.org/officeDocument/2006/relationships/image" Target="../media/image49.png"/><Relationship Id="rId82" Type="http://schemas.openxmlformats.org/officeDocument/2006/relationships/customXml" Target="../ink/ink38.xml"/><Relationship Id="rId90" Type="http://schemas.openxmlformats.org/officeDocument/2006/relationships/customXml" Target="../ink/ink42.xml"/><Relationship Id="rId95" Type="http://schemas.openxmlformats.org/officeDocument/2006/relationships/image" Target="../media/image66.png"/><Relationship Id="rId19" Type="http://schemas.openxmlformats.org/officeDocument/2006/relationships/image" Target="../media/image28.png"/><Relationship Id="rId14" Type="http://schemas.openxmlformats.org/officeDocument/2006/relationships/customXml" Target="../ink/ink4.xml"/><Relationship Id="rId22" Type="http://schemas.openxmlformats.org/officeDocument/2006/relationships/customXml" Target="../ink/ink8.xml"/><Relationship Id="rId27" Type="http://schemas.openxmlformats.org/officeDocument/2006/relationships/image" Target="../media/image32.png"/><Relationship Id="rId30" Type="http://schemas.openxmlformats.org/officeDocument/2006/relationships/customXml" Target="../ink/ink12.xml"/><Relationship Id="rId35" Type="http://schemas.openxmlformats.org/officeDocument/2006/relationships/image" Target="../media/image36.png"/><Relationship Id="rId43" Type="http://schemas.openxmlformats.org/officeDocument/2006/relationships/image" Target="../media/image40.png"/><Relationship Id="rId48" Type="http://schemas.openxmlformats.org/officeDocument/2006/relationships/customXml" Target="../ink/ink21.xml"/><Relationship Id="rId56" Type="http://schemas.openxmlformats.org/officeDocument/2006/relationships/customXml" Target="../ink/ink25.xml"/><Relationship Id="rId64" Type="http://schemas.openxmlformats.org/officeDocument/2006/relationships/customXml" Target="../ink/ink29.xml"/><Relationship Id="rId69" Type="http://schemas.openxmlformats.org/officeDocument/2006/relationships/image" Target="../media/image53.png"/><Relationship Id="rId77" Type="http://schemas.openxmlformats.org/officeDocument/2006/relationships/image" Target="../media/image57.png"/><Relationship Id="rId100" Type="http://schemas.openxmlformats.org/officeDocument/2006/relationships/customXml" Target="../ink/ink47.xml"/><Relationship Id="rId105" Type="http://schemas.openxmlformats.org/officeDocument/2006/relationships/image" Target="../media/image71.png"/><Relationship Id="rId8" Type="http://schemas.openxmlformats.org/officeDocument/2006/relationships/customXml" Target="../ink/ink1.xml"/><Relationship Id="rId51" Type="http://schemas.openxmlformats.org/officeDocument/2006/relationships/image" Target="../media/image44.png"/><Relationship Id="rId72" Type="http://schemas.openxmlformats.org/officeDocument/2006/relationships/customXml" Target="../ink/ink33.xml"/><Relationship Id="rId80" Type="http://schemas.openxmlformats.org/officeDocument/2006/relationships/customXml" Target="../ink/ink37.xml"/><Relationship Id="rId85" Type="http://schemas.openxmlformats.org/officeDocument/2006/relationships/image" Target="../media/image61.png"/><Relationship Id="rId93" Type="http://schemas.openxmlformats.org/officeDocument/2006/relationships/image" Target="../media/image65.png"/><Relationship Id="rId98" Type="http://schemas.openxmlformats.org/officeDocument/2006/relationships/customXml" Target="../ink/ink46.xml"/><Relationship Id="rId3" Type="http://schemas.openxmlformats.org/officeDocument/2006/relationships/notesSlide" Target="../notesSlides/notesSlide3.xml"/><Relationship Id="rId12" Type="http://schemas.openxmlformats.org/officeDocument/2006/relationships/customXml" Target="../ink/ink3.xml"/><Relationship Id="rId17" Type="http://schemas.openxmlformats.org/officeDocument/2006/relationships/image" Target="../media/image27.png"/><Relationship Id="rId25" Type="http://schemas.openxmlformats.org/officeDocument/2006/relationships/image" Target="../media/image31.png"/><Relationship Id="rId33" Type="http://schemas.openxmlformats.org/officeDocument/2006/relationships/image" Target="../media/image35.png"/><Relationship Id="rId38" Type="http://schemas.openxmlformats.org/officeDocument/2006/relationships/customXml" Target="../ink/ink16.xml"/><Relationship Id="rId46" Type="http://schemas.openxmlformats.org/officeDocument/2006/relationships/customXml" Target="../ink/ink20.xml"/><Relationship Id="rId59" Type="http://schemas.openxmlformats.org/officeDocument/2006/relationships/image" Target="../media/image48.png"/><Relationship Id="rId67" Type="http://schemas.openxmlformats.org/officeDocument/2006/relationships/image" Target="../media/image52.png"/><Relationship Id="rId103" Type="http://schemas.openxmlformats.org/officeDocument/2006/relationships/image" Target="../media/image70.png"/><Relationship Id="rId20" Type="http://schemas.openxmlformats.org/officeDocument/2006/relationships/customXml" Target="../ink/ink7.xml"/><Relationship Id="rId41" Type="http://schemas.openxmlformats.org/officeDocument/2006/relationships/image" Target="../media/image39.png"/><Relationship Id="rId54" Type="http://schemas.openxmlformats.org/officeDocument/2006/relationships/customXml" Target="../ink/ink24.xml"/><Relationship Id="rId62" Type="http://schemas.openxmlformats.org/officeDocument/2006/relationships/customXml" Target="../ink/ink28.xml"/><Relationship Id="rId70" Type="http://schemas.openxmlformats.org/officeDocument/2006/relationships/customXml" Target="../ink/ink32.xml"/><Relationship Id="rId75" Type="http://schemas.openxmlformats.org/officeDocument/2006/relationships/image" Target="../media/image56.png"/><Relationship Id="rId83" Type="http://schemas.openxmlformats.org/officeDocument/2006/relationships/image" Target="../media/image60.png"/><Relationship Id="rId88" Type="http://schemas.openxmlformats.org/officeDocument/2006/relationships/customXml" Target="../ink/ink41.xml"/><Relationship Id="rId91" Type="http://schemas.openxmlformats.org/officeDocument/2006/relationships/image" Target="../media/image64.png"/><Relationship Id="rId96" Type="http://schemas.openxmlformats.org/officeDocument/2006/relationships/customXml" Target="../ink/ink45.xml"/><Relationship Id="rId1" Type="http://schemas.openxmlformats.org/officeDocument/2006/relationships/tags" Target="../tags/tag7.xml"/><Relationship Id="rId6" Type="http://schemas.openxmlformats.org/officeDocument/2006/relationships/image" Target="../media/image21.png"/><Relationship Id="rId15" Type="http://schemas.openxmlformats.org/officeDocument/2006/relationships/image" Target="../media/image26.png"/><Relationship Id="rId23" Type="http://schemas.openxmlformats.org/officeDocument/2006/relationships/image" Target="../media/image30.png"/><Relationship Id="rId28" Type="http://schemas.openxmlformats.org/officeDocument/2006/relationships/customXml" Target="../ink/ink11.xml"/><Relationship Id="rId36" Type="http://schemas.openxmlformats.org/officeDocument/2006/relationships/customXml" Target="../ink/ink15.xml"/><Relationship Id="rId49" Type="http://schemas.openxmlformats.org/officeDocument/2006/relationships/image" Target="../media/image43.png"/><Relationship Id="rId57" Type="http://schemas.openxmlformats.org/officeDocument/2006/relationships/image" Target="../media/image47.png"/><Relationship Id="rId106" Type="http://schemas.openxmlformats.org/officeDocument/2006/relationships/customXml" Target="../ink/ink50.xml"/><Relationship Id="rId10" Type="http://schemas.openxmlformats.org/officeDocument/2006/relationships/customXml" Target="../ink/ink2.xml"/><Relationship Id="rId31" Type="http://schemas.openxmlformats.org/officeDocument/2006/relationships/image" Target="../media/image34.png"/><Relationship Id="rId44" Type="http://schemas.openxmlformats.org/officeDocument/2006/relationships/customXml" Target="../ink/ink19.xml"/><Relationship Id="rId52" Type="http://schemas.openxmlformats.org/officeDocument/2006/relationships/customXml" Target="../ink/ink23.xml"/><Relationship Id="rId60" Type="http://schemas.openxmlformats.org/officeDocument/2006/relationships/customXml" Target="../ink/ink27.xml"/><Relationship Id="rId65" Type="http://schemas.openxmlformats.org/officeDocument/2006/relationships/image" Target="../media/image51.png"/><Relationship Id="rId73" Type="http://schemas.openxmlformats.org/officeDocument/2006/relationships/image" Target="../media/image55.png"/><Relationship Id="rId78" Type="http://schemas.openxmlformats.org/officeDocument/2006/relationships/customXml" Target="../ink/ink36.xml"/><Relationship Id="rId81" Type="http://schemas.openxmlformats.org/officeDocument/2006/relationships/image" Target="../media/image59.png"/><Relationship Id="rId86" Type="http://schemas.openxmlformats.org/officeDocument/2006/relationships/customXml" Target="../ink/ink40.xml"/><Relationship Id="rId94" Type="http://schemas.openxmlformats.org/officeDocument/2006/relationships/customXml" Target="../ink/ink44.xml"/><Relationship Id="rId99" Type="http://schemas.openxmlformats.org/officeDocument/2006/relationships/image" Target="../media/image68.png"/><Relationship Id="rId101" Type="http://schemas.openxmlformats.org/officeDocument/2006/relationships/image" Target="../media/image69.png"/><Relationship Id="rId4" Type="http://schemas.openxmlformats.org/officeDocument/2006/relationships/image" Target="../media/image19.png"/><Relationship Id="rId9" Type="http://schemas.openxmlformats.org/officeDocument/2006/relationships/image" Target="../media/image23.png"/><Relationship Id="rId13" Type="http://schemas.openxmlformats.org/officeDocument/2006/relationships/image" Target="../media/image25.png"/><Relationship Id="rId18" Type="http://schemas.openxmlformats.org/officeDocument/2006/relationships/customXml" Target="../ink/ink6.xml"/><Relationship Id="rId39" Type="http://schemas.openxmlformats.org/officeDocument/2006/relationships/image" Target="../media/image38.png"/><Relationship Id="rId34" Type="http://schemas.openxmlformats.org/officeDocument/2006/relationships/customXml" Target="../ink/ink14.xml"/><Relationship Id="rId50" Type="http://schemas.openxmlformats.org/officeDocument/2006/relationships/customXml" Target="../ink/ink22.xml"/><Relationship Id="rId55" Type="http://schemas.openxmlformats.org/officeDocument/2006/relationships/image" Target="../media/image46.png"/><Relationship Id="rId76" Type="http://schemas.openxmlformats.org/officeDocument/2006/relationships/customXml" Target="../ink/ink35.xml"/><Relationship Id="rId97" Type="http://schemas.openxmlformats.org/officeDocument/2006/relationships/image" Target="../media/image67.png"/><Relationship Id="rId104" Type="http://schemas.openxmlformats.org/officeDocument/2006/relationships/customXml" Target="../ink/ink49.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73.png"/><Relationship Id="rId3" Type="http://schemas.openxmlformats.org/officeDocument/2006/relationships/tags" Target="../tags/tag10.xml"/><Relationship Id="rId7" Type="http://schemas.openxmlformats.org/officeDocument/2006/relationships/slideLayout" Target="../slideLayouts/slideLayout10.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4.png"/><Relationship Id="rId5" Type="http://schemas.openxmlformats.org/officeDocument/2006/relationships/tags" Target="../tags/tag12.xml"/><Relationship Id="rId10" Type="http://schemas.openxmlformats.org/officeDocument/2006/relationships/image" Target="../media/image3.png"/><Relationship Id="rId4" Type="http://schemas.openxmlformats.org/officeDocument/2006/relationships/tags" Target="../tags/tag11.xml"/><Relationship Id="rId9" Type="http://schemas.openxmlformats.org/officeDocument/2006/relationships/image" Target="../media/image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svg"/></Relationships>
</file>

<file path=ppt/slides/_rels/slide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7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de-DE" dirty="0"/>
              <a:t>Digital Transformation and Advanced Analytics </a:t>
            </a:r>
            <a:endParaRPr lang="en-US" dirty="0"/>
          </a:p>
        </p:txBody>
      </p:sp>
      <p:sp>
        <p:nvSpPr>
          <p:cNvPr id="3" name="Footer Placeholder 2"/>
          <p:cNvSpPr>
            <a:spLocks noGrp="1"/>
          </p:cNvSpPr>
          <p:nvPr>
            <p:ph type="ftr" sz="quarter" idx="11"/>
          </p:nvPr>
        </p:nvSpPr>
        <p:spPr bwMode="blackGray"/>
        <p:txBody>
          <a:bodyPr/>
          <a:lstStyle/>
          <a:p>
            <a:r>
              <a:rPr lang="en-US"/>
              <a:t>/// Advanced Analytics and Digital Transformation /// NLP session /// March 2022</a:t>
            </a:r>
          </a:p>
        </p:txBody>
      </p:sp>
      <p:sp>
        <p:nvSpPr>
          <p:cNvPr id="4" name="Slide Number Placeholder 3"/>
          <p:cNvSpPr>
            <a:spLocks noGrp="1"/>
          </p:cNvSpPr>
          <p:nvPr>
            <p:ph type="sldNum" sz="quarter" idx="12"/>
          </p:nvPr>
        </p:nvSpPr>
        <p:spPr bwMode="blackGray"/>
        <p:txBody>
          <a:bodyPr/>
          <a:lstStyle/>
          <a:p>
            <a:fld id="{EEAD9179-7A6B-4268-BEB2-F3B8EB06115B}" type="slidenum">
              <a:rPr lang="en-US" smtClean="0"/>
              <a:pPr/>
              <a:t>1</a:t>
            </a:fld>
            <a:endParaRPr lang="en-US"/>
          </a:p>
        </p:txBody>
      </p:sp>
      <p:sp>
        <p:nvSpPr>
          <p:cNvPr id="2" name="Title 1"/>
          <p:cNvSpPr>
            <a:spLocks noGrp="1"/>
          </p:cNvSpPr>
          <p:nvPr>
            <p:ph type="ctrTitle"/>
          </p:nvPr>
        </p:nvSpPr>
        <p:spPr>
          <a:xfrm>
            <a:off x="709560" y="2424948"/>
            <a:ext cx="4045320" cy="1440000"/>
          </a:xfrm>
        </p:spPr>
        <p:txBody>
          <a:bodyPr/>
          <a:lstStyle/>
          <a:p>
            <a:r>
              <a:rPr lang="de-DE" dirty="0">
                <a:solidFill>
                  <a:schemeClr val="tx2"/>
                </a:solidFill>
              </a:rPr>
              <a:t>Empowerment with Natural Language Processing (NLP)</a:t>
            </a:r>
            <a:endParaRPr lang="en-US" dirty="0">
              <a:solidFill>
                <a:schemeClr val="tx2"/>
              </a:solidFill>
            </a:endParaRPr>
          </a:p>
        </p:txBody>
      </p:sp>
      <p:sp>
        <p:nvSpPr>
          <p:cNvPr id="10" name="Textplatzhalter 9"/>
          <p:cNvSpPr>
            <a:spLocks noGrp="1"/>
          </p:cNvSpPr>
          <p:nvPr>
            <p:ph type="body" sz="quarter" idx="13"/>
          </p:nvPr>
        </p:nvSpPr>
        <p:spPr bwMode="blackGray">
          <a:xfrm>
            <a:off x="709365" y="4556741"/>
            <a:ext cx="3485855" cy="1440001"/>
          </a:xfrm>
        </p:spPr>
        <p:txBody>
          <a:bodyPr>
            <a:normAutofit fontScale="85000" lnSpcReduction="20000"/>
          </a:bodyPr>
          <a:lstStyle/>
          <a:p>
            <a:r>
              <a:rPr lang="de-DE" sz="1600" i="1">
                <a:solidFill>
                  <a:srgbClr val="FF3162"/>
                </a:solidFill>
              </a:rPr>
              <a:t> </a:t>
            </a:r>
          </a:p>
          <a:p>
            <a:r>
              <a:rPr lang="en-US" altLang="zh-CN" sz="1600" i="1"/>
              <a:t>Bozhu Bi, Principal </a:t>
            </a:r>
            <a:r>
              <a:rPr lang="de-DE" sz="1600" i="1"/>
              <a:t>Data Scientist</a:t>
            </a:r>
            <a:endParaRPr lang="en-US" altLang="zh-CN" sz="1600" i="1"/>
          </a:p>
          <a:p>
            <a:r>
              <a:rPr lang="en-US" altLang="zh-CN" sz="1600" i="1"/>
              <a:t>Danping Jia, Data Scientist</a:t>
            </a:r>
          </a:p>
          <a:p>
            <a:endParaRPr lang="en-US" altLang="zh-CN" sz="1600" i="1"/>
          </a:p>
          <a:p>
            <a:r>
              <a:rPr lang="de-DE" sz="1600" i="1">
                <a:solidFill>
                  <a:srgbClr val="FF3162"/>
                </a:solidFill>
              </a:rPr>
              <a:t>Decision Science China, DTIT</a:t>
            </a:r>
          </a:p>
          <a:p>
            <a:endParaRPr lang="en-US" altLang="zh-CN" sz="1600" i="1"/>
          </a:p>
          <a:p>
            <a:endParaRPr lang="de-DE" sz="1600"/>
          </a:p>
          <a:p>
            <a:r>
              <a:rPr lang="de-DE" sz="1600"/>
              <a:t>March. 2021</a:t>
            </a:r>
          </a:p>
        </p:txBody>
      </p:sp>
      <p:pic>
        <p:nvPicPr>
          <p:cNvPr id="12" name="Grafik 11">
            <a:extLst>
              <a:ext uri="{FF2B5EF4-FFF2-40B4-BE49-F238E27FC236}">
                <a16:creationId xmlns:a16="http://schemas.microsoft.com/office/drawing/2014/main" id="{6980858D-26DD-4949-A3BE-9F271D3ADB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2919" y="5651500"/>
            <a:ext cx="2715842" cy="563724"/>
          </a:xfrm>
          <a:prstGeom prst="rect">
            <a:avLst/>
          </a:prstGeom>
        </p:spPr>
      </p:pic>
      <p:pic>
        <p:nvPicPr>
          <p:cNvPr id="8" name="Picture Placeholder 7">
            <a:extLst>
              <a:ext uri="{FF2B5EF4-FFF2-40B4-BE49-F238E27FC236}">
                <a16:creationId xmlns:a16="http://schemas.microsoft.com/office/drawing/2014/main" id="{1C67F029-1D2F-4A36-8C38-40D2A66BF525}"/>
              </a:ext>
            </a:extLst>
          </p:cNvPr>
          <p:cNvPicPr>
            <a:picLocks noGrp="1" noChangeAspect="1"/>
          </p:cNvPicPr>
          <p:nvPr>
            <p:ph type="pic" sz="quarter" idx="14"/>
          </p:nvPr>
        </p:nvPicPr>
        <p:blipFill>
          <a:blip r:embed="rId5"/>
          <a:srcRect l="11580" r="11580"/>
          <a:stretch>
            <a:fillRect/>
          </a:stretch>
        </p:blipFill>
        <p:spPr/>
      </p:pic>
    </p:spTree>
    <p:extLst>
      <p:ext uri="{BB962C8B-B14F-4D97-AF65-F5344CB8AC3E}">
        <p14:creationId xmlns:p14="http://schemas.microsoft.com/office/powerpoint/2010/main" val="229317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1">
            <a:extLst>
              <a:ext uri="{FF2B5EF4-FFF2-40B4-BE49-F238E27FC236}">
                <a16:creationId xmlns:a16="http://schemas.microsoft.com/office/drawing/2014/main" id="{D80E3F28-A55B-4499-9B7C-9730F0C3CC6F}"/>
              </a:ext>
            </a:extLst>
          </p:cNvPr>
          <p:cNvSpPr>
            <a:spLocks noGrp="1"/>
          </p:cNvSpPr>
          <p:nvPr>
            <p:ph type="subTitle" idx="13"/>
          </p:nvPr>
        </p:nvSpPr>
        <p:spPr/>
        <p:txBody>
          <a:bodyPr/>
          <a:lstStyle/>
          <a:p>
            <a:endParaRPr lang="en-US"/>
          </a:p>
        </p:txBody>
      </p:sp>
      <p:sp>
        <p:nvSpPr>
          <p:cNvPr id="5" name="Titel 4"/>
          <p:cNvSpPr>
            <a:spLocks noGrp="1"/>
          </p:cNvSpPr>
          <p:nvPr>
            <p:ph type="title"/>
          </p:nvPr>
        </p:nvSpPr>
        <p:spPr bwMode="gray"/>
        <p:txBody>
          <a:bodyPr vert="horz" lIns="0" tIns="0" rIns="0" bIns="0" rtlCol="0" anchor="b">
            <a:normAutofit/>
          </a:bodyPr>
          <a:lstStyle/>
          <a:p>
            <a:r>
              <a:rPr lang="en-US" dirty="0"/>
              <a:t>Word tokenization: from sentence to words </a:t>
            </a:r>
          </a:p>
        </p:txBody>
      </p:sp>
      <p:sp>
        <p:nvSpPr>
          <p:cNvPr id="8" name="Footer Placeholder 7"/>
          <p:cNvSpPr>
            <a:spLocks noGrp="1"/>
          </p:cNvSpPr>
          <p:nvPr>
            <p:ph type="ftr" sz="quarter" idx="11"/>
          </p:nvPr>
        </p:nvSpPr>
        <p:spPr bwMode="gray">
          <a:xfrm>
            <a:off x="1858073"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1079244"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10</a:t>
            </a:fld>
            <a:endParaRPr lang="en-US">
              <a:solidFill>
                <a:srgbClr val="443247"/>
              </a:solidFill>
            </a:endParaRPr>
          </a:p>
        </p:txBody>
      </p:sp>
      <p:sp>
        <p:nvSpPr>
          <p:cNvPr id="45" name="Arrow: Right 44">
            <a:extLst>
              <a:ext uri="{FF2B5EF4-FFF2-40B4-BE49-F238E27FC236}">
                <a16:creationId xmlns:a16="http://schemas.microsoft.com/office/drawing/2014/main" id="{16754B9A-2EF0-4C2A-8153-B222780945B3}"/>
              </a:ext>
            </a:extLst>
          </p:cNvPr>
          <p:cNvSpPr/>
          <p:nvPr/>
        </p:nvSpPr>
        <p:spPr bwMode="gray">
          <a:xfrm>
            <a:off x="6984670" y="3100154"/>
            <a:ext cx="888883" cy="481345"/>
          </a:xfrm>
          <a:prstGeom prst="rightArrow">
            <a:avLst/>
          </a:prstGeom>
          <a:solidFill>
            <a:srgbClr val="443247"/>
          </a:solidFill>
          <a:ln>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graphicFrame>
        <p:nvGraphicFramePr>
          <p:cNvPr id="19" name="Table 3">
            <a:extLst>
              <a:ext uri="{FF2B5EF4-FFF2-40B4-BE49-F238E27FC236}">
                <a16:creationId xmlns:a16="http://schemas.microsoft.com/office/drawing/2014/main" id="{2690ABA3-C03C-4282-B4A0-680B1FECCF62}"/>
              </a:ext>
            </a:extLst>
          </p:cNvPr>
          <p:cNvGraphicFramePr>
            <a:graphicFrameLocks noGrp="1"/>
          </p:cNvGraphicFramePr>
          <p:nvPr>
            <p:extLst>
              <p:ext uri="{D42A27DB-BD31-4B8C-83A1-F6EECF244321}">
                <p14:modId xmlns:p14="http://schemas.microsoft.com/office/powerpoint/2010/main" val="883377753"/>
              </p:ext>
            </p:extLst>
          </p:nvPr>
        </p:nvGraphicFramePr>
        <p:xfrm>
          <a:off x="1384203" y="3226894"/>
          <a:ext cx="5426930" cy="518148"/>
        </p:xfrm>
        <a:graphic>
          <a:graphicData uri="http://schemas.openxmlformats.org/drawingml/2006/table">
            <a:tbl>
              <a:tblPr bandRow="1">
                <a:tableStyleId>{7E9639D4-E3E2-4D34-9284-5A2195B3D0D7}</a:tableStyleId>
              </a:tblPr>
              <a:tblGrid>
                <a:gridCol w="5426930">
                  <a:extLst>
                    <a:ext uri="{9D8B030D-6E8A-4147-A177-3AD203B41FA5}">
                      <a16:colId xmlns:a16="http://schemas.microsoft.com/office/drawing/2014/main" val="2933494112"/>
                    </a:ext>
                  </a:extLst>
                </a:gridCol>
              </a:tblGrid>
              <a:tr h="518093">
                <a:tc>
                  <a:txBody>
                    <a:bodyPr/>
                    <a:lstStyle/>
                    <a:p>
                      <a:r>
                        <a:rPr lang="zh-CN" altLang="en-US" sz="1400" b="1" kern="1200">
                          <a:solidFill>
                            <a:schemeClr val="tx1"/>
                          </a:solidFill>
                          <a:effectLst/>
                        </a:rPr>
                        <a:t>目的 评价地诺孕素（</a:t>
                      </a:r>
                      <a:r>
                        <a:rPr lang="en-US" altLang="zh-CN" sz="1400" b="1" kern="1200">
                          <a:solidFill>
                            <a:schemeClr val="tx1"/>
                          </a:solidFill>
                          <a:effectLst/>
                        </a:rPr>
                        <a:t>DNG</a:t>
                      </a:r>
                      <a:r>
                        <a:rPr lang="zh-CN" altLang="en-US" sz="1400" b="1" kern="1200">
                          <a:solidFill>
                            <a:schemeClr val="tx1"/>
                          </a:solidFill>
                          <a:effectLst/>
                        </a:rPr>
                        <a:t>）对于难治性子宫内膜异位症（内异症）疼痛的临床疗效和安全性</a:t>
                      </a:r>
                      <a:endParaRPr lang="en-US" sz="1000" b="1" i="0" kern="1200">
                        <a:solidFill>
                          <a:schemeClr val="tx1"/>
                        </a:solidFill>
                        <a:effectLst/>
                        <a:latin typeface="Tahoma" panose="020B0604030504040204" pitchFamily="34" charset="0"/>
                        <a:ea typeface="+mn-ea"/>
                        <a:cs typeface="+mn-cs"/>
                      </a:endParaRPr>
                    </a:p>
                  </a:txBody>
                  <a:tcPr marL="91428" marR="91428" marT="45714" marB="45714">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354594477"/>
                  </a:ext>
                </a:extLst>
              </a:tr>
            </a:tbl>
          </a:graphicData>
        </a:graphic>
      </p:graphicFrame>
      <p:graphicFrame>
        <p:nvGraphicFramePr>
          <p:cNvPr id="2" name="Table 3">
            <a:extLst>
              <a:ext uri="{FF2B5EF4-FFF2-40B4-BE49-F238E27FC236}">
                <a16:creationId xmlns:a16="http://schemas.microsoft.com/office/drawing/2014/main" id="{502C4A34-131C-4A25-8DA5-C9DD1F0594C2}"/>
              </a:ext>
            </a:extLst>
          </p:cNvPr>
          <p:cNvGraphicFramePr>
            <a:graphicFrameLocks noGrp="1"/>
          </p:cNvGraphicFramePr>
          <p:nvPr/>
        </p:nvGraphicFramePr>
        <p:xfrm>
          <a:off x="8092745" y="1431208"/>
          <a:ext cx="1330686" cy="4937544"/>
        </p:xfrm>
        <a:graphic>
          <a:graphicData uri="http://schemas.openxmlformats.org/drawingml/2006/table">
            <a:tbl>
              <a:tblPr bandRow="1">
                <a:tableStyleId>{7E9639D4-E3E2-4D34-9284-5A2195B3D0D7}</a:tableStyleId>
              </a:tblPr>
              <a:tblGrid>
                <a:gridCol w="1330686">
                  <a:extLst>
                    <a:ext uri="{9D8B030D-6E8A-4147-A177-3AD203B41FA5}">
                      <a16:colId xmlns:a16="http://schemas.microsoft.com/office/drawing/2014/main" val="209644703"/>
                    </a:ext>
                  </a:extLst>
                </a:gridCol>
              </a:tblGrid>
              <a:tr h="274284">
                <a:tc>
                  <a:txBody>
                    <a:bodyPr/>
                    <a:lstStyle/>
                    <a:p>
                      <a:pPr algn="ctr"/>
                      <a:r>
                        <a:rPr lang="zh-CN" altLang="en-US" sz="1200"/>
                        <a:t>目的</a:t>
                      </a:r>
                      <a:endParaRPr lang="en-US" sz="1200"/>
                    </a:p>
                  </a:txBody>
                  <a:tcPr marL="91428" marR="91428" marT="45714" marB="45714"/>
                </a:tc>
                <a:extLst>
                  <a:ext uri="{0D108BD9-81ED-4DB2-BD59-A6C34878D82A}">
                    <a16:rowId xmlns:a16="http://schemas.microsoft.com/office/drawing/2014/main" val="939006580"/>
                  </a:ext>
                </a:extLst>
              </a:tr>
              <a:tr h="274284">
                <a:tc>
                  <a:txBody>
                    <a:bodyPr/>
                    <a:lstStyle/>
                    <a:p>
                      <a:pPr algn="ctr"/>
                      <a:r>
                        <a:rPr lang="zh-CN" altLang="en-US" sz="1200"/>
                        <a:t>评价</a:t>
                      </a:r>
                      <a:endParaRPr lang="en-US" sz="1200"/>
                    </a:p>
                  </a:txBody>
                  <a:tcPr marL="91428" marR="91428" marT="45714" marB="45714"/>
                </a:tc>
                <a:extLst>
                  <a:ext uri="{0D108BD9-81ED-4DB2-BD59-A6C34878D82A}">
                    <a16:rowId xmlns:a16="http://schemas.microsoft.com/office/drawing/2014/main" val="417594047"/>
                  </a:ext>
                </a:extLst>
              </a:tr>
              <a:tr h="274284">
                <a:tc>
                  <a:txBody>
                    <a:bodyPr/>
                    <a:lstStyle/>
                    <a:p>
                      <a:pPr algn="ctr"/>
                      <a:r>
                        <a:rPr lang="zh-CN" altLang="en-US" sz="1200"/>
                        <a:t>地诺孕素</a:t>
                      </a:r>
                      <a:endParaRPr lang="en-US" sz="1200"/>
                    </a:p>
                  </a:txBody>
                  <a:tcPr marL="91428" marR="91428" marT="45714" marB="45714"/>
                </a:tc>
                <a:extLst>
                  <a:ext uri="{0D108BD9-81ED-4DB2-BD59-A6C34878D82A}">
                    <a16:rowId xmlns:a16="http://schemas.microsoft.com/office/drawing/2014/main" val="949254293"/>
                  </a:ext>
                </a:extLst>
              </a:tr>
              <a:tr h="274284">
                <a:tc>
                  <a:txBody>
                    <a:bodyPr/>
                    <a:lstStyle/>
                    <a:p>
                      <a:pPr algn="ctr"/>
                      <a:r>
                        <a:rPr lang="en-US" sz="1200"/>
                        <a:t>（</a:t>
                      </a:r>
                    </a:p>
                  </a:txBody>
                  <a:tcPr marL="91428" marR="91428" marT="45714" marB="45714"/>
                </a:tc>
                <a:extLst>
                  <a:ext uri="{0D108BD9-81ED-4DB2-BD59-A6C34878D82A}">
                    <a16:rowId xmlns:a16="http://schemas.microsoft.com/office/drawing/2014/main" val="3795320443"/>
                  </a:ext>
                </a:extLst>
              </a:tr>
              <a:tr h="274284">
                <a:tc>
                  <a:txBody>
                    <a:bodyPr/>
                    <a:lstStyle/>
                    <a:p>
                      <a:pPr algn="ctr"/>
                      <a:r>
                        <a:rPr lang="en-US" sz="1200"/>
                        <a:t>DNG</a:t>
                      </a:r>
                    </a:p>
                  </a:txBody>
                  <a:tcPr marL="91428" marR="91428" marT="45714" marB="45714"/>
                </a:tc>
                <a:extLst>
                  <a:ext uri="{0D108BD9-81ED-4DB2-BD59-A6C34878D82A}">
                    <a16:rowId xmlns:a16="http://schemas.microsoft.com/office/drawing/2014/main" val="1190618164"/>
                  </a:ext>
                </a:extLst>
              </a:tr>
              <a:tr h="274284">
                <a:tc>
                  <a:txBody>
                    <a:bodyPr/>
                    <a:lstStyle/>
                    <a:p>
                      <a:pPr algn="ctr"/>
                      <a:r>
                        <a:rPr lang="zh-CN" altLang="en-US" sz="1200"/>
                        <a:t>）</a:t>
                      </a:r>
                      <a:endParaRPr lang="en-US" sz="1200"/>
                    </a:p>
                  </a:txBody>
                  <a:tcPr marL="91428" marR="91428" marT="45714" marB="45714"/>
                </a:tc>
                <a:extLst>
                  <a:ext uri="{0D108BD9-81ED-4DB2-BD59-A6C34878D82A}">
                    <a16:rowId xmlns:a16="http://schemas.microsoft.com/office/drawing/2014/main" val="4081258808"/>
                  </a:ext>
                </a:extLst>
              </a:tr>
              <a:tr h="274284">
                <a:tc>
                  <a:txBody>
                    <a:bodyPr/>
                    <a:lstStyle/>
                    <a:p>
                      <a:pPr algn="ctr"/>
                      <a:r>
                        <a:rPr lang="zh-CN" altLang="en-US" sz="1200"/>
                        <a:t>对于</a:t>
                      </a:r>
                      <a:endParaRPr lang="en-US" sz="1200"/>
                    </a:p>
                  </a:txBody>
                  <a:tcPr marL="91428" marR="91428" marT="45714" marB="45714"/>
                </a:tc>
                <a:extLst>
                  <a:ext uri="{0D108BD9-81ED-4DB2-BD59-A6C34878D82A}">
                    <a16:rowId xmlns:a16="http://schemas.microsoft.com/office/drawing/2014/main" val="1661665165"/>
                  </a:ext>
                </a:extLst>
              </a:tr>
              <a:tr h="274284">
                <a:tc>
                  <a:txBody>
                    <a:bodyPr/>
                    <a:lstStyle/>
                    <a:p>
                      <a:pPr algn="ctr"/>
                      <a:r>
                        <a:rPr lang="zh-CN" altLang="en-US" sz="1200"/>
                        <a:t>难治性</a:t>
                      </a:r>
                      <a:endParaRPr lang="en-US" sz="1200"/>
                    </a:p>
                  </a:txBody>
                  <a:tcPr marL="91428" marR="91428" marT="45714" marB="45714"/>
                </a:tc>
                <a:extLst>
                  <a:ext uri="{0D108BD9-81ED-4DB2-BD59-A6C34878D82A}">
                    <a16:rowId xmlns:a16="http://schemas.microsoft.com/office/drawing/2014/main" val="1740961047"/>
                  </a:ext>
                </a:extLst>
              </a:tr>
              <a:tr h="274284">
                <a:tc>
                  <a:txBody>
                    <a:bodyPr/>
                    <a:lstStyle/>
                    <a:p>
                      <a:pPr algn="ctr"/>
                      <a:r>
                        <a:rPr lang="zh-CN" altLang="en-US" sz="1200"/>
                        <a:t>子宫内膜异位症</a:t>
                      </a:r>
                      <a:endParaRPr lang="en-US" sz="1200"/>
                    </a:p>
                  </a:txBody>
                  <a:tcPr marL="91428" marR="91428" marT="45714" marB="45714"/>
                </a:tc>
                <a:extLst>
                  <a:ext uri="{0D108BD9-81ED-4DB2-BD59-A6C34878D82A}">
                    <a16:rowId xmlns:a16="http://schemas.microsoft.com/office/drawing/2014/main" val="4009392884"/>
                  </a:ext>
                </a:extLst>
              </a:tr>
              <a:tr h="274284">
                <a:tc>
                  <a:txBody>
                    <a:bodyPr/>
                    <a:lstStyle/>
                    <a:p>
                      <a:pPr algn="ctr"/>
                      <a:r>
                        <a:rPr lang="zh-CN" altLang="en-US" sz="1200"/>
                        <a:t>（</a:t>
                      </a:r>
                      <a:endParaRPr lang="en-US" sz="1200"/>
                    </a:p>
                  </a:txBody>
                  <a:tcPr marL="91428" marR="91428" marT="45714" marB="45714"/>
                </a:tc>
                <a:extLst>
                  <a:ext uri="{0D108BD9-81ED-4DB2-BD59-A6C34878D82A}">
                    <a16:rowId xmlns:a16="http://schemas.microsoft.com/office/drawing/2014/main" val="131279313"/>
                  </a:ext>
                </a:extLst>
              </a:tr>
              <a:tr h="274284">
                <a:tc>
                  <a:txBody>
                    <a:bodyPr/>
                    <a:lstStyle/>
                    <a:p>
                      <a:pPr algn="ctr"/>
                      <a:r>
                        <a:rPr lang="zh-CN" altLang="en-US" sz="1200"/>
                        <a:t>内异症</a:t>
                      </a:r>
                      <a:endParaRPr lang="en-US" sz="1200"/>
                    </a:p>
                  </a:txBody>
                  <a:tcPr marL="91428" marR="91428" marT="45714" marB="45714"/>
                </a:tc>
                <a:extLst>
                  <a:ext uri="{0D108BD9-81ED-4DB2-BD59-A6C34878D82A}">
                    <a16:rowId xmlns:a16="http://schemas.microsoft.com/office/drawing/2014/main" val="2733372880"/>
                  </a:ext>
                </a:extLst>
              </a:tr>
              <a:tr h="274284">
                <a:tc>
                  <a:txBody>
                    <a:bodyPr/>
                    <a:lstStyle/>
                    <a:p>
                      <a:pPr algn="ctr"/>
                      <a:r>
                        <a:rPr lang="zh-CN" altLang="en-US" sz="1200"/>
                        <a:t>）</a:t>
                      </a:r>
                      <a:endParaRPr lang="en-US" sz="1200"/>
                    </a:p>
                  </a:txBody>
                  <a:tcPr marL="91428" marR="91428" marT="45714" marB="45714"/>
                </a:tc>
                <a:extLst>
                  <a:ext uri="{0D108BD9-81ED-4DB2-BD59-A6C34878D82A}">
                    <a16:rowId xmlns:a16="http://schemas.microsoft.com/office/drawing/2014/main" val="1831204364"/>
                  </a:ext>
                </a:extLst>
              </a:tr>
              <a:tr h="274284">
                <a:tc>
                  <a:txBody>
                    <a:bodyPr/>
                    <a:lstStyle/>
                    <a:p>
                      <a:pPr algn="ctr"/>
                      <a:r>
                        <a:rPr lang="zh-CN" altLang="en-US" sz="1200"/>
                        <a:t>疼痛</a:t>
                      </a:r>
                      <a:endParaRPr lang="en-US" sz="1200"/>
                    </a:p>
                  </a:txBody>
                  <a:tcPr marL="91428" marR="91428" marT="45714" marB="45714"/>
                </a:tc>
                <a:extLst>
                  <a:ext uri="{0D108BD9-81ED-4DB2-BD59-A6C34878D82A}">
                    <a16:rowId xmlns:a16="http://schemas.microsoft.com/office/drawing/2014/main" val="2155363146"/>
                  </a:ext>
                </a:extLst>
              </a:tr>
              <a:tr h="274284">
                <a:tc>
                  <a:txBody>
                    <a:bodyPr/>
                    <a:lstStyle/>
                    <a:p>
                      <a:pPr algn="ctr"/>
                      <a:r>
                        <a:rPr lang="zh-CN" altLang="en-US" sz="1200"/>
                        <a:t>的</a:t>
                      </a:r>
                      <a:endParaRPr lang="en-US" sz="1200"/>
                    </a:p>
                  </a:txBody>
                  <a:tcPr marL="91428" marR="91428" marT="45714" marB="45714"/>
                </a:tc>
                <a:extLst>
                  <a:ext uri="{0D108BD9-81ED-4DB2-BD59-A6C34878D82A}">
                    <a16:rowId xmlns:a16="http://schemas.microsoft.com/office/drawing/2014/main" val="3377792028"/>
                  </a:ext>
                </a:extLst>
              </a:tr>
              <a:tr h="274284">
                <a:tc>
                  <a:txBody>
                    <a:bodyPr/>
                    <a:lstStyle/>
                    <a:p>
                      <a:pPr algn="ctr"/>
                      <a:r>
                        <a:rPr lang="zh-CN" altLang="en-US" sz="1200"/>
                        <a:t>临床</a:t>
                      </a:r>
                      <a:endParaRPr lang="en-US" sz="1200"/>
                    </a:p>
                  </a:txBody>
                  <a:tcPr marL="91428" marR="91428" marT="45714" marB="45714"/>
                </a:tc>
                <a:extLst>
                  <a:ext uri="{0D108BD9-81ED-4DB2-BD59-A6C34878D82A}">
                    <a16:rowId xmlns:a16="http://schemas.microsoft.com/office/drawing/2014/main" val="615231188"/>
                  </a:ext>
                </a:extLst>
              </a:tr>
              <a:tr h="274284">
                <a:tc>
                  <a:txBody>
                    <a:bodyPr/>
                    <a:lstStyle/>
                    <a:p>
                      <a:pPr algn="ctr"/>
                      <a:r>
                        <a:rPr lang="zh-CN" altLang="en-US" sz="1200"/>
                        <a:t>疗效</a:t>
                      </a:r>
                      <a:endParaRPr lang="en-US" sz="1200"/>
                    </a:p>
                  </a:txBody>
                  <a:tcPr marL="91428" marR="91428" marT="45714" marB="45714"/>
                </a:tc>
                <a:extLst>
                  <a:ext uri="{0D108BD9-81ED-4DB2-BD59-A6C34878D82A}">
                    <a16:rowId xmlns:a16="http://schemas.microsoft.com/office/drawing/2014/main" val="1157345881"/>
                  </a:ext>
                </a:extLst>
              </a:tr>
              <a:tr h="274284">
                <a:tc>
                  <a:txBody>
                    <a:bodyPr/>
                    <a:lstStyle/>
                    <a:p>
                      <a:pPr algn="ctr"/>
                      <a:r>
                        <a:rPr lang="zh-CN" altLang="en-US" sz="1200"/>
                        <a:t>和</a:t>
                      </a:r>
                      <a:endParaRPr lang="en-US" sz="1200"/>
                    </a:p>
                  </a:txBody>
                  <a:tcPr marL="91428" marR="91428" marT="45714" marB="45714"/>
                </a:tc>
                <a:extLst>
                  <a:ext uri="{0D108BD9-81ED-4DB2-BD59-A6C34878D82A}">
                    <a16:rowId xmlns:a16="http://schemas.microsoft.com/office/drawing/2014/main" val="130950315"/>
                  </a:ext>
                </a:extLst>
              </a:tr>
              <a:tr h="274284">
                <a:tc>
                  <a:txBody>
                    <a:bodyPr/>
                    <a:lstStyle/>
                    <a:p>
                      <a:pPr algn="ctr"/>
                      <a:r>
                        <a:rPr lang="zh-CN" altLang="en-US" sz="1200"/>
                        <a:t>安全性</a:t>
                      </a:r>
                      <a:endParaRPr lang="en-US" sz="1200"/>
                    </a:p>
                  </a:txBody>
                  <a:tcPr marL="91428" marR="91428" marT="45714" marB="45714"/>
                </a:tc>
                <a:extLst>
                  <a:ext uri="{0D108BD9-81ED-4DB2-BD59-A6C34878D82A}">
                    <a16:rowId xmlns:a16="http://schemas.microsoft.com/office/drawing/2014/main" val="3986667901"/>
                  </a:ext>
                </a:extLst>
              </a:tr>
            </a:tbl>
          </a:graphicData>
        </a:graphic>
      </p:graphicFrame>
      <p:cxnSp>
        <p:nvCxnSpPr>
          <p:cNvPr id="22" name="Straight Connector 21">
            <a:extLst>
              <a:ext uri="{FF2B5EF4-FFF2-40B4-BE49-F238E27FC236}">
                <a16:creationId xmlns:a16="http://schemas.microsoft.com/office/drawing/2014/main" id="{CF2512E4-76F1-4E2B-B8C8-1C401AE836F1}"/>
              </a:ext>
            </a:extLst>
          </p:cNvPr>
          <p:cNvCxnSpPr>
            <a:cxnSpLocks/>
          </p:cNvCxnSpPr>
          <p:nvPr/>
        </p:nvCxnSpPr>
        <p:spPr bwMode="gray">
          <a:xfrm>
            <a:off x="1853606" y="325405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3" name="Straight Connector 22">
            <a:extLst>
              <a:ext uri="{FF2B5EF4-FFF2-40B4-BE49-F238E27FC236}">
                <a16:creationId xmlns:a16="http://schemas.microsoft.com/office/drawing/2014/main" id="{ACDAFDC5-477A-485C-8306-FDD91AA29EBD}"/>
              </a:ext>
            </a:extLst>
          </p:cNvPr>
          <p:cNvCxnSpPr>
            <a:cxnSpLocks/>
          </p:cNvCxnSpPr>
          <p:nvPr/>
        </p:nvCxnSpPr>
        <p:spPr bwMode="gray">
          <a:xfrm>
            <a:off x="2224751" y="3244998"/>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4" name="Straight Connector 23">
            <a:extLst>
              <a:ext uri="{FF2B5EF4-FFF2-40B4-BE49-F238E27FC236}">
                <a16:creationId xmlns:a16="http://schemas.microsoft.com/office/drawing/2014/main" id="{EF5F8EBA-E2B7-4AB8-BAA2-2FF38AB939A4}"/>
              </a:ext>
            </a:extLst>
          </p:cNvPr>
          <p:cNvCxnSpPr>
            <a:cxnSpLocks/>
          </p:cNvCxnSpPr>
          <p:nvPr/>
        </p:nvCxnSpPr>
        <p:spPr bwMode="gray">
          <a:xfrm>
            <a:off x="2983634" y="32631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5" name="Straight Connector 24">
            <a:extLst>
              <a:ext uri="{FF2B5EF4-FFF2-40B4-BE49-F238E27FC236}">
                <a16:creationId xmlns:a16="http://schemas.microsoft.com/office/drawing/2014/main" id="{04609F7F-4315-43D6-8A69-FD8D320C4439}"/>
              </a:ext>
            </a:extLst>
          </p:cNvPr>
          <p:cNvCxnSpPr>
            <a:cxnSpLocks/>
          </p:cNvCxnSpPr>
          <p:nvPr/>
        </p:nvCxnSpPr>
        <p:spPr bwMode="gray">
          <a:xfrm>
            <a:off x="3101315" y="32631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3" name="Straight Connector 32">
            <a:extLst>
              <a:ext uri="{FF2B5EF4-FFF2-40B4-BE49-F238E27FC236}">
                <a16:creationId xmlns:a16="http://schemas.microsoft.com/office/drawing/2014/main" id="{1FABBE30-403E-4848-9D6C-CC42DF484460}"/>
              </a:ext>
            </a:extLst>
          </p:cNvPr>
          <p:cNvCxnSpPr>
            <a:cxnSpLocks/>
          </p:cNvCxnSpPr>
          <p:nvPr/>
        </p:nvCxnSpPr>
        <p:spPr bwMode="gray">
          <a:xfrm>
            <a:off x="3508668" y="325405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4" name="Straight Connector 33">
            <a:extLst>
              <a:ext uri="{FF2B5EF4-FFF2-40B4-BE49-F238E27FC236}">
                <a16:creationId xmlns:a16="http://schemas.microsoft.com/office/drawing/2014/main" id="{F280F994-D424-4583-9EEA-DFDFFC611915}"/>
              </a:ext>
            </a:extLst>
          </p:cNvPr>
          <p:cNvCxnSpPr>
            <a:cxnSpLocks/>
          </p:cNvCxnSpPr>
          <p:nvPr/>
        </p:nvCxnSpPr>
        <p:spPr bwMode="gray">
          <a:xfrm>
            <a:off x="3644452" y="32631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5" name="Straight Connector 34">
            <a:extLst>
              <a:ext uri="{FF2B5EF4-FFF2-40B4-BE49-F238E27FC236}">
                <a16:creationId xmlns:a16="http://schemas.microsoft.com/office/drawing/2014/main" id="{3C4DBBD3-87DD-4B54-8FA7-E7AE70A96206}"/>
              </a:ext>
            </a:extLst>
          </p:cNvPr>
          <p:cNvCxnSpPr>
            <a:cxnSpLocks/>
          </p:cNvCxnSpPr>
          <p:nvPr/>
        </p:nvCxnSpPr>
        <p:spPr bwMode="gray">
          <a:xfrm>
            <a:off x="4042752" y="325405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6" name="Straight Connector 35">
            <a:extLst>
              <a:ext uri="{FF2B5EF4-FFF2-40B4-BE49-F238E27FC236}">
                <a16:creationId xmlns:a16="http://schemas.microsoft.com/office/drawing/2014/main" id="{F2B8A601-719A-42DA-AB74-AD099F2DE6E9}"/>
              </a:ext>
            </a:extLst>
          </p:cNvPr>
          <p:cNvCxnSpPr>
            <a:cxnSpLocks/>
          </p:cNvCxnSpPr>
          <p:nvPr/>
        </p:nvCxnSpPr>
        <p:spPr bwMode="gray">
          <a:xfrm>
            <a:off x="4594940" y="325405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7" name="Straight Connector 36">
            <a:extLst>
              <a:ext uri="{FF2B5EF4-FFF2-40B4-BE49-F238E27FC236}">
                <a16:creationId xmlns:a16="http://schemas.microsoft.com/office/drawing/2014/main" id="{B4F73E1F-4DC6-47CF-A6E4-C9601D83528C}"/>
              </a:ext>
            </a:extLst>
          </p:cNvPr>
          <p:cNvCxnSpPr>
            <a:cxnSpLocks/>
          </p:cNvCxnSpPr>
          <p:nvPr/>
        </p:nvCxnSpPr>
        <p:spPr bwMode="gray">
          <a:xfrm>
            <a:off x="5880363" y="325405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8" name="Straight Connector 37">
            <a:extLst>
              <a:ext uri="{FF2B5EF4-FFF2-40B4-BE49-F238E27FC236}">
                <a16:creationId xmlns:a16="http://schemas.microsoft.com/office/drawing/2014/main" id="{18EF5A43-9DE3-4624-A789-584291FF780E}"/>
              </a:ext>
            </a:extLst>
          </p:cNvPr>
          <p:cNvCxnSpPr>
            <a:cxnSpLocks/>
          </p:cNvCxnSpPr>
          <p:nvPr/>
        </p:nvCxnSpPr>
        <p:spPr bwMode="gray">
          <a:xfrm>
            <a:off x="6016151" y="32631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9" name="Straight Connector 38">
            <a:extLst>
              <a:ext uri="{FF2B5EF4-FFF2-40B4-BE49-F238E27FC236}">
                <a16:creationId xmlns:a16="http://schemas.microsoft.com/office/drawing/2014/main" id="{7CC6EEC6-0E4D-4CB4-ACF7-95D8838BA0AF}"/>
              </a:ext>
            </a:extLst>
          </p:cNvPr>
          <p:cNvCxnSpPr>
            <a:cxnSpLocks/>
          </p:cNvCxnSpPr>
          <p:nvPr/>
        </p:nvCxnSpPr>
        <p:spPr bwMode="gray">
          <a:xfrm>
            <a:off x="6541183" y="32631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0" name="Straight Connector 39">
            <a:extLst>
              <a:ext uri="{FF2B5EF4-FFF2-40B4-BE49-F238E27FC236}">
                <a16:creationId xmlns:a16="http://schemas.microsoft.com/office/drawing/2014/main" id="{001DD2C1-262A-4624-827F-96ACA50C56ED}"/>
              </a:ext>
            </a:extLst>
          </p:cNvPr>
          <p:cNvCxnSpPr>
            <a:cxnSpLocks/>
          </p:cNvCxnSpPr>
          <p:nvPr/>
        </p:nvCxnSpPr>
        <p:spPr bwMode="gray">
          <a:xfrm>
            <a:off x="6667913" y="32631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1" name="Straight Connector 40">
            <a:extLst>
              <a:ext uri="{FF2B5EF4-FFF2-40B4-BE49-F238E27FC236}">
                <a16:creationId xmlns:a16="http://schemas.microsoft.com/office/drawing/2014/main" id="{F39D5B49-F296-4EC6-8036-25F144ABBEF4}"/>
              </a:ext>
            </a:extLst>
          </p:cNvPr>
          <p:cNvCxnSpPr>
            <a:cxnSpLocks/>
          </p:cNvCxnSpPr>
          <p:nvPr/>
        </p:nvCxnSpPr>
        <p:spPr bwMode="gray">
          <a:xfrm>
            <a:off x="1823394" y="34780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2" name="Straight Connector 41">
            <a:extLst>
              <a:ext uri="{FF2B5EF4-FFF2-40B4-BE49-F238E27FC236}">
                <a16:creationId xmlns:a16="http://schemas.microsoft.com/office/drawing/2014/main" id="{E03D6DA3-34B4-46B3-A614-EE65F7270B18}"/>
              </a:ext>
            </a:extLst>
          </p:cNvPr>
          <p:cNvCxnSpPr>
            <a:cxnSpLocks/>
          </p:cNvCxnSpPr>
          <p:nvPr/>
        </p:nvCxnSpPr>
        <p:spPr bwMode="gray">
          <a:xfrm>
            <a:off x="1996932" y="34780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3" name="Straight Connector 42">
            <a:extLst>
              <a:ext uri="{FF2B5EF4-FFF2-40B4-BE49-F238E27FC236}">
                <a16:creationId xmlns:a16="http://schemas.microsoft.com/office/drawing/2014/main" id="{B68F0928-41DB-44C3-94AE-0938572B8056}"/>
              </a:ext>
            </a:extLst>
          </p:cNvPr>
          <p:cNvCxnSpPr>
            <a:cxnSpLocks/>
          </p:cNvCxnSpPr>
          <p:nvPr/>
        </p:nvCxnSpPr>
        <p:spPr bwMode="gray">
          <a:xfrm>
            <a:off x="2359023" y="34780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4" name="Straight Connector 43">
            <a:extLst>
              <a:ext uri="{FF2B5EF4-FFF2-40B4-BE49-F238E27FC236}">
                <a16:creationId xmlns:a16="http://schemas.microsoft.com/office/drawing/2014/main" id="{90D13872-D895-4705-BCD5-73C082E73110}"/>
              </a:ext>
            </a:extLst>
          </p:cNvPr>
          <p:cNvCxnSpPr>
            <a:cxnSpLocks/>
          </p:cNvCxnSpPr>
          <p:nvPr/>
        </p:nvCxnSpPr>
        <p:spPr bwMode="gray">
          <a:xfrm>
            <a:off x="2703011" y="34780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6" name="Straight Connector 45">
            <a:extLst>
              <a:ext uri="{FF2B5EF4-FFF2-40B4-BE49-F238E27FC236}">
                <a16:creationId xmlns:a16="http://schemas.microsoft.com/office/drawing/2014/main" id="{96B28C19-85F1-491C-B1EC-5DAF61E666BF}"/>
              </a:ext>
            </a:extLst>
          </p:cNvPr>
          <p:cNvCxnSpPr>
            <a:cxnSpLocks/>
          </p:cNvCxnSpPr>
          <p:nvPr/>
        </p:nvCxnSpPr>
        <p:spPr bwMode="gray">
          <a:xfrm>
            <a:off x="2902161" y="347800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7" name="Straight Connector 46">
            <a:extLst>
              <a:ext uri="{FF2B5EF4-FFF2-40B4-BE49-F238E27FC236}">
                <a16:creationId xmlns:a16="http://schemas.microsoft.com/office/drawing/2014/main" id="{4A630281-AF5A-4575-8CAE-7A76DBDCD639}"/>
              </a:ext>
            </a:extLst>
          </p:cNvPr>
          <p:cNvCxnSpPr>
            <a:cxnSpLocks/>
          </p:cNvCxnSpPr>
          <p:nvPr/>
        </p:nvCxnSpPr>
        <p:spPr bwMode="gray">
          <a:xfrm>
            <a:off x="3453244" y="3499412"/>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grpSp>
        <p:nvGrpSpPr>
          <p:cNvPr id="27" name="Group 26">
            <a:extLst>
              <a:ext uri="{FF2B5EF4-FFF2-40B4-BE49-F238E27FC236}">
                <a16:creationId xmlns:a16="http://schemas.microsoft.com/office/drawing/2014/main" id="{E2888EB5-3A13-493C-9657-AB79A49AD58E}"/>
              </a:ext>
            </a:extLst>
          </p:cNvPr>
          <p:cNvGrpSpPr/>
          <p:nvPr/>
        </p:nvGrpSpPr>
        <p:grpSpPr>
          <a:xfrm>
            <a:off x="8495106" y="-8203"/>
            <a:ext cx="563328" cy="563328"/>
            <a:chOff x="7649686" y="2791782"/>
            <a:chExt cx="563328" cy="563328"/>
          </a:xfrm>
        </p:grpSpPr>
        <p:pic>
          <p:nvPicPr>
            <p:cNvPr id="28" name="Graphic 27" descr="Document outline">
              <a:extLst>
                <a:ext uri="{FF2B5EF4-FFF2-40B4-BE49-F238E27FC236}">
                  <a16:creationId xmlns:a16="http://schemas.microsoft.com/office/drawing/2014/main" id="{3A90E2E3-BE2E-4E81-999D-4D7FF6447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9686" y="2791782"/>
              <a:ext cx="563328" cy="563328"/>
            </a:xfrm>
            <a:prstGeom prst="rect">
              <a:avLst/>
            </a:prstGeom>
          </p:spPr>
        </p:pic>
        <p:sp>
          <p:nvSpPr>
            <p:cNvPr id="29" name="Rectangle 28">
              <a:extLst>
                <a:ext uri="{FF2B5EF4-FFF2-40B4-BE49-F238E27FC236}">
                  <a16:creationId xmlns:a16="http://schemas.microsoft.com/office/drawing/2014/main" id="{0861A981-3AD2-4CDE-BA7D-1EB835A12661}"/>
                </a:ext>
              </a:extLst>
            </p:cNvPr>
            <p:cNvSpPr/>
            <p:nvPr/>
          </p:nvSpPr>
          <p:spPr bwMode="gray">
            <a:xfrm>
              <a:off x="7803387" y="3028265"/>
              <a:ext cx="255926" cy="45719"/>
            </a:xfrm>
            <a:prstGeom prst="rect">
              <a:avLst/>
            </a:prstGeom>
            <a:noFill/>
            <a:ln w="19050">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3953F89D-7CDF-45A7-BFDB-B87634377EA1}"/>
              </a:ext>
            </a:extLst>
          </p:cNvPr>
          <p:cNvGrpSpPr/>
          <p:nvPr/>
        </p:nvGrpSpPr>
        <p:grpSpPr>
          <a:xfrm>
            <a:off x="9287312" y="213929"/>
            <a:ext cx="583548" cy="119064"/>
            <a:chOff x="9252602" y="2936080"/>
            <a:chExt cx="583548" cy="119064"/>
          </a:xfrm>
        </p:grpSpPr>
        <p:grpSp>
          <p:nvGrpSpPr>
            <p:cNvPr id="31" name="Group 30">
              <a:extLst>
                <a:ext uri="{FF2B5EF4-FFF2-40B4-BE49-F238E27FC236}">
                  <a16:creationId xmlns:a16="http://schemas.microsoft.com/office/drawing/2014/main" id="{B28FF456-6FEA-4D5B-B272-E300A603868F}"/>
                </a:ext>
              </a:extLst>
            </p:cNvPr>
            <p:cNvGrpSpPr/>
            <p:nvPr/>
          </p:nvGrpSpPr>
          <p:grpSpPr>
            <a:xfrm>
              <a:off x="9252602" y="2936080"/>
              <a:ext cx="497972" cy="119064"/>
              <a:chOff x="9453765" y="2960328"/>
              <a:chExt cx="497972" cy="119064"/>
            </a:xfrm>
          </p:grpSpPr>
          <p:sp>
            <p:nvSpPr>
              <p:cNvPr id="49" name="Rectangle 48">
                <a:extLst>
                  <a:ext uri="{FF2B5EF4-FFF2-40B4-BE49-F238E27FC236}">
                    <a16:creationId xmlns:a16="http://schemas.microsoft.com/office/drawing/2014/main" id="{88C39311-20CF-454B-930E-D0459B7DDC31}"/>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3862083D-DD5E-4E37-B4F5-159EBFCDB161}"/>
                  </a:ext>
                </a:extLst>
              </p:cNvPr>
              <p:cNvCxnSpPr>
                <a:cxnSpLocks/>
              </p:cNvCxnSpPr>
              <p:nvPr/>
            </p:nvCxnSpPr>
            <p:spPr bwMode="gray">
              <a:xfrm>
                <a:off x="9639300"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51" name="Straight Connector 50">
                <a:extLst>
                  <a:ext uri="{FF2B5EF4-FFF2-40B4-BE49-F238E27FC236}">
                    <a16:creationId xmlns:a16="http://schemas.microsoft.com/office/drawing/2014/main" id="{D1AEEFB2-168A-4163-8B8D-C19EF48F4897}"/>
                  </a:ext>
                </a:extLst>
              </p:cNvPr>
              <p:cNvCxnSpPr>
                <a:cxnSpLocks/>
              </p:cNvCxnSpPr>
              <p:nvPr/>
            </p:nvCxnSpPr>
            <p:spPr bwMode="gray">
              <a:xfrm>
                <a:off x="9951737"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grpSp>
        <p:sp>
          <p:nvSpPr>
            <p:cNvPr id="32" name="Rectangle 31">
              <a:extLst>
                <a:ext uri="{FF2B5EF4-FFF2-40B4-BE49-F238E27FC236}">
                  <a16:creationId xmlns:a16="http://schemas.microsoft.com/office/drawing/2014/main" id="{3A10779D-2A02-4237-A0D3-7B28DEE17325}"/>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4D5CC986-A9B8-4BC5-A751-AE09FD231E1E}"/>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 name="Group 51">
            <a:extLst>
              <a:ext uri="{FF2B5EF4-FFF2-40B4-BE49-F238E27FC236}">
                <a16:creationId xmlns:a16="http://schemas.microsoft.com/office/drawing/2014/main" id="{7A2F7FB4-D9CF-4AC9-A195-B119E66CEF78}"/>
              </a:ext>
            </a:extLst>
          </p:cNvPr>
          <p:cNvGrpSpPr/>
          <p:nvPr/>
        </p:nvGrpSpPr>
        <p:grpSpPr>
          <a:xfrm>
            <a:off x="10171709" y="213929"/>
            <a:ext cx="583548" cy="119064"/>
            <a:chOff x="9252602" y="2936080"/>
            <a:chExt cx="583548" cy="119064"/>
          </a:xfrm>
        </p:grpSpPr>
        <p:grpSp>
          <p:nvGrpSpPr>
            <p:cNvPr id="53" name="Group 52">
              <a:extLst>
                <a:ext uri="{FF2B5EF4-FFF2-40B4-BE49-F238E27FC236}">
                  <a16:creationId xmlns:a16="http://schemas.microsoft.com/office/drawing/2014/main" id="{EE68E602-41A4-47D2-9AFB-454F1CDA131E}"/>
                </a:ext>
              </a:extLst>
            </p:cNvPr>
            <p:cNvGrpSpPr/>
            <p:nvPr/>
          </p:nvGrpSpPr>
          <p:grpSpPr>
            <a:xfrm>
              <a:off x="9252602" y="2936080"/>
              <a:ext cx="497972" cy="119064"/>
              <a:chOff x="9453765" y="2960328"/>
              <a:chExt cx="497972" cy="119064"/>
            </a:xfrm>
          </p:grpSpPr>
          <p:sp>
            <p:nvSpPr>
              <p:cNvPr id="56" name="Rectangle 55">
                <a:extLst>
                  <a:ext uri="{FF2B5EF4-FFF2-40B4-BE49-F238E27FC236}">
                    <a16:creationId xmlns:a16="http://schemas.microsoft.com/office/drawing/2014/main" id="{8B57C1ED-C12D-470A-88BC-82DF93C6B320}"/>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71B91B4E-A873-4075-AE3D-6CE92D0165A9}"/>
                  </a:ext>
                </a:extLst>
              </p:cNvPr>
              <p:cNvCxnSpPr>
                <a:cxnSpLocks/>
              </p:cNvCxnSpPr>
              <p:nvPr/>
            </p:nvCxnSpPr>
            <p:spPr bwMode="gray">
              <a:xfrm>
                <a:off x="9639300"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cxnSp>
            <p:nvCxnSpPr>
              <p:cNvPr id="58" name="Straight Connector 57">
                <a:extLst>
                  <a:ext uri="{FF2B5EF4-FFF2-40B4-BE49-F238E27FC236}">
                    <a16:creationId xmlns:a16="http://schemas.microsoft.com/office/drawing/2014/main" id="{76372A8C-BCF4-4AA2-AE48-8403AF0DC707}"/>
                  </a:ext>
                </a:extLst>
              </p:cNvPr>
              <p:cNvCxnSpPr>
                <a:cxnSpLocks/>
              </p:cNvCxnSpPr>
              <p:nvPr/>
            </p:nvCxnSpPr>
            <p:spPr bwMode="gray">
              <a:xfrm>
                <a:off x="9951737"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grpSp>
        <p:sp>
          <p:nvSpPr>
            <p:cNvPr id="54" name="Rectangle 53">
              <a:extLst>
                <a:ext uri="{FF2B5EF4-FFF2-40B4-BE49-F238E27FC236}">
                  <a16:creationId xmlns:a16="http://schemas.microsoft.com/office/drawing/2014/main" id="{8BAD1507-7260-4EF5-B965-7334C6062064}"/>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B1755433-3C2C-469E-9293-1B6494FC4809}"/>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9206383C-3A0F-400B-90A7-0114D3749E07}"/>
              </a:ext>
            </a:extLst>
          </p:cNvPr>
          <p:cNvGrpSpPr/>
          <p:nvPr/>
        </p:nvGrpSpPr>
        <p:grpSpPr>
          <a:xfrm>
            <a:off x="10220568" y="181294"/>
            <a:ext cx="102202" cy="194364"/>
            <a:chOff x="11265694" y="3243264"/>
            <a:chExt cx="88106" cy="83344"/>
          </a:xfrm>
        </p:grpSpPr>
        <p:cxnSp>
          <p:nvCxnSpPr>
            <p:cNvPr id="60" name="Straight Connector 59">
              <a:extLst>
                <a:ext uri="{FF2B5EF4-FFF2-40B4-BE49-F238E27FC236}">
                  <a16:creationId xmlns:a16="http://schemas.microsoft.com/office/drawing/2014/main" id="{F624F9FF-6FD6-4912-9AEC-B031807A05AD}"/>
                </a:ext>
              </a:extLst>
            </p:cNvPr>
            <p:cNvCxnSpPr>
              <a:cxnSpLocks/>
            </p:cNvCxnSpPr>
            <p:nvPr/>
          </p:nvCxnSpPr>
          <p:spPr bwMode="gray">
            <a:xfrm>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61" name="Straight Connector 60">
              <a:extLst>
                <a:ext uri="{FF2B5EF4-FFF2-40B4-BE49-F238E27FC236}">
                  <a16:creationId xmlns:a16="http://schemas.microsoft.com/office/drawing/2014/main" id="{F37A71FD-B63F-446E-A8DE-29AEB095EA71}"/>
                </a:ext>
              </a:extLst>
            </p:cNvPr>
            <p:cNvCxnSpPr>
              <a:cxnSpLocks/>
            </p:cNvCxnSpPr>
            <p:nvPr/>
          </p:nvCxnSpPr>
          <p:spPr bwMode="gray">
            <a:xfrm flipV="1">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grpSp>
      <p:grpSp>
        <p:nvGrpSpPr>
          <p:cNvPr id="62" name="Group 61">
            <a:extLst>
              <a:ext uri="{FF2B5EF4-FFF2-40B4-BE49-F238E27FC236}">
                <a16:creationId xmlns:a16="http://schemas.microsoft.com/office/drawing/2014/main" id="{FC69A414-483A-488F-89DB-9ECCFBC13759}"/>
              </a:ext>
            </a:extLst>
          </p:cNvPr>
          <p:cNvGrpSpPr/>
          <p:nvPr/>
        </p:nvGrpSpPr>
        <p:grpSpPr>
          <a:xfrm>
            <a:off x="10947419" y="121406"/>
            <a:ext cx="1176925" cy="304109"/>
            <a:chOff x="7530052" y="5001373"/>
            <a:chExt cx="1176925" cy="304109"/>
          </a:xfrm>
        </p:grpSpPr>
        <p:sp>
          <p:nvSpPr>
            <p:cNvPr id="63" name="Rectangle 62">
              <a:extLst>
                <a:ext uri="{FF2B5EF4-FFF2-40B4-BE49-F238E27FC236}">
                  <a16:creationId xmlns:a16="http://schemas.microsoft.com/office/drawing/2014/main" id="{CF9CA3F1-A799-43AE-B4CE-F26C7FF24F1C}"/>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dirty="0">
                  <a:ln w="0"/>
                  <a:solidFill>
                    <a:schemeClr val="tx1"/>
                  </a:solidFill>
                  <a:effectLst>
                    <a:outerShdw blurRad="38100" dist="19050" dir="2700000" algn="tl" rotWithShape="0">
                      <a:schemeClr val="dk1">
                        <a:alpha val="40000"/>
                      </a:schemeClr>
                    </a:outerShdw>
                  </a:effectLst>
                </a:rPr>
                <a:t>text  》numbers</a:t>
              </a:r>
              <a:endParaRPr lang="en-US" sz="1100" b="0" cap="none" spc="0" dirty="0">
                <a:ln w="0"/>
                <a:solidFill>
                  <a:schemeClr val="tx1"/>
                </a:solidFill>
                <a:effectLst>
                  <a:outerShdw blurRad="38100" dist="19050" dir="2700000" algn="tl" rotWithShape="0">
                    <a:schemeClr val="dk1">
                      <a:alpha val="40000"/>
                    </a:schemeClr>
                  </a:outerShdw>
                </a:effectLst>
              </a:endParaRPr>
            </a:p>
          </p:txBody>
        </p:sp>
        <p:sp>
          <p:nvSpPr>
            <p:cNvPr id="64" name="Flowchart: Connector 63">
              <a:extLst>
                <a:ext uri="{FF2B5EF4-FFF2-40B4-BE49-F238E27FC236}">
                  <a16:creationId xmlns:a16="http://schemas.microsoft.com/office/drawing/2014/main" id="{C12AEA66-15C5-4B48-9E99-3BEB27A70799}"/>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lowchart: Connector 64">
              <a:extLst>
                <a:ext uri="{FF2B5EF4-FFF2-40B4-BE49-F238E27FC236}">
                  <a16:creationId xmlns:a16="http://schemas.microsoft.com/office/drawing/2014/main" id="{6BC40AC8-2FF5-4CD8-AA03-BD7C2B67FAE1}"/>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66" name="Straight Arrow Connector 65">
            <a:extLst>
              <a:ext uri="{FF2B5EF4-FFF2-40B4-BE49-F238E27FC236}">
                <a16:creationId xmlns:a16="http://schemas.microsoft.com/office/drawing/2014/main" id="{C2C59CE6-63F2-4FE7-AD5E-402F5F03EF7E}"/>
              </a:ext>
            </a:extLst>
          </p:cNvPr>
          <p:cNvCxnSpPr>
            <a:cxnSpLocks/>
          </p:cNvCxnSpPr>
          <p:nvPr/>
        </p:nvCxnSpPr>
        <p:spPr bwMode="gray">
          <a:xfrm>
            <a:off x="9058434" y="273461"/>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AF17CA3-20AF-43AF-91F5-BE0676E2C8A1}"/>
              </a:ext>
            </a:extLst>
          </p:cNvPr>
          <p:cNvCxnSpPr>
            <a:cxnSpLocks/>
          </p:cNvCxnSpPr>
          <p:nvPr/>
        </p:nvCxnSpPr>
        <p:spPr bwMode="gray">
          <a:xfrm>
            <a:off x="9928014" y="273461"/>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D9DB2CA7-DC2A-4C71-BF52-6FF82782050F}"/>
              </a:ext>
            </a:extLst>
          </p:cNvPr>
          <p:cNvCxnSpPr>
            <a:cxnSpLocks/>
          </p:cNvCxnSpPr>
          <p:nvPr/>
        </p:nvCxnSpPr>
        <p:spPr bwMode="gray">
          <a:xfrm>
            <a:off x="10771065" y="271834"/>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887D88F9-24EF-4CC0-8464-AD8A28FC6DED}"/>
              </a:ext>
            </a:extLst>
          </p:cNvPr>
          <p:cNvSpPr/>
          <p:nvPr/>
        </p:nvSpPr>
        <p:spPr bwMode="gray">
          <a:xfrm>
            <a:off x="8753167" y="32034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a:t>
            </a:r>
          </a:p>
        </p:txBody>
      </p:sp>
      <p:sp>
        <p:nvSpPr>
          <p:cNvPr id="70" name="Rectangle 69">
            <a:extLst>
              <a:ext uri="{FF2B5EF4-FFF2-40B4-BE49-F238E27FC236}">
                <a16:creationId xmlns:a16="http://schemas.microsoft.com/office/drawing/2014/main" id="{AAC5A0D1-8EB5-442D-BC5A-F0A77E01DFF0}"/>
              </a:ext>
            </a:extLst>
          </p:cNvPr>
          <p:cNvSpPr/>
          <p:nvPr/>
        </p:nvSpPr>
        <p:spPr bwMode="gray">
          <a:xfrm>
            <a:off x="10167892" y="-8203"/>
            <a:ext cx="2022521" cy="596814"/>
          </a:xfrm>
          <a:prstGeom prst="rect">
            <a:avLst/>
          </a:prstGeom>
          <a:solidFill>
            <a:schemeClr val="bg1">
              <a:lumMod val="7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3BADC5AA-5A94-4B19-B46C-BE78927E2926}"/>
              </a:ext>
            </a:extLst>
          </p:cNvPr>
          <p:cNvSpPr/>
          <p:nvPr/>
        </p:nvSpPr>
        <p:spPr bwMode="gray">
          <a:xfrm>
            <a:off x="9764232" y="32311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2</a:t>
            </a:r>
          </a:p>
        </p:txBody>
      </p:sp>
    </p:spTree>
    <p:extLst>
      <p:ext uri="{BB962C8B-B14F-4D97-AF65-F5344CB8AC3E}">
        <p14:creationId xmlns:p14="http://schemas.microsoft.com/office/powerpoint/2010/main" val="351247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1">
            <a:extLst>
              <a:ext uri="{FF2B5EF4-FFF2-40B4-BE49-F238E27FC236}">
                <a16:creationId xmlns:a16="http://schemas.microsoft.com/office/drawing/2014/main" id="{D80E3F28-A55B-4499-9B7C-9730F0C3CC6F}"/>
              </a:ext>
            </a:extLst>
          </p:cNvPr>
          <p:cNvSpPr>
            <a:spLocks noGrp="1"/>
          </p:cNvSpPr>
          <p:nvPr>
            <p:ph type="subTitle" idx="13"/>
          </p:nvPr>
        </p:nvSpPr>
        <p:spPr/>
        <p:txBody>
          <a:bodyPr/>
          <a:lstStyle/>
          <a:p>
            <a:r>
              <a:rPr lang="en-US" dirty="0"/>
              <a:t>Stop words can be customized according to specific domain and specific task.</a:t>
            </a:r>
          </a:p>
        </p:txBody>
      </p:sp>
      <p:sp>
        <p:nvSpPr>
          <p:cNvPr id="5" name="Titel 4"/>
          <p:cNvSpPr>
            <a:spLocks noGrp="1"/>
          </p:cNvSpPr>
          <p:nvPr>
            <p:ph type="title"/>
          </p:nvPr>
        </p:nvSpPr>
        <p:spPr bwMode="gray">
          <a:xfrm>
            <a:off x="981821" y="181938"/>
            <a:ext cx="11208592" cy="864000"/>
          </a:xfrm>
        </p:spPr>
        <p:txBody>
          <a:bodyPr vert="horz" lIns="0" tIns="0" rIns="0" bIns="0" rtlCol="0" anchor="b">
            <a:normAutofit/>
          </a:bodyPr>
          <a:lstStyle/>
          <a:p>
            <a:r>
              <a:rPr lang="en-US" altLang="zh-CN" dirty="0"/>
              <a:t>Remove meaningless words</a:t>
            </a:r>
            <a:r>
              <a:rPr lang="en-US" dirty="0"/>
              <a:t> </a:t>
            </a:r>
            <a:br>
              <a:rPr lang="en-US" dirty="0"/>
            </a:br>
            <a:r>
              <a:rPr lang="en-US" dirty="0"/>
              <a:t>including punctuations, numbers, stop words</a:t>
            </a:r>
          </a:p>
        </p:txBody>
      </p:sp>
      <p:sp>
        <p:nvSpPr>
          <p:cNvPr id="8" name="Footer Placeholder 7"/>
          <p:cNvSpPr>
            <a:spLocks noGrp="1"/>
          </p:cNvSpPr>
          <p:nvPr>
            <p:ph type="ftr" sz="quarter" idx="11"/>
          </p:nvPr>
        </p:nvSpPr>
        <p:spPr bwMode="gray">
          <a:xfrm>
            <a:off x="1860497"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1081668"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11</a:t>
            </a:fld>
            <a:endParaRPr lang="en-US">
              <a:solidFill>
                <a:srgbClr val="443247"/>
              </a:solidFill>
            </a:endParaRPr>
          </a:p>
        </p:txBody>
      </p:sp>
      <p:sp>
        <p:nvSpPr>
          <p:cNvPr id="45" name="Arrow: Right 44">
            <a:extLst>
              <a:ext uri="{FF2B5EF4-FFF2-40B4-BE49-F238E27FC236}">
                <a16:creationId xmlns:a16="http://schemas.microsoft.com/office/drawing/2014/main" id="{16754B9A-2EF0-4C2A-8153-B222780945B3}"/>
              </a:ext>
            </a:extLst>
          </p:cNvPr>
          <p:cNvSpPr/>
          <p:nvPr/>
        </p:nvSpPr>
        <p:spPr bwMode="gray">
          <a:xfrm>
            <a:off x="5911919" y="3248631"/>
            <a:ext cx="650245" cy="481345"/>
          </a:xfrm>
          <a:prstGeom prst="rightArrow">
            <a:avLst/>
          </a:prstGeom>
          <a:solidFill>
            <a:srgbClr val="443247"/>
          </a:solidFill>
          <a:ln>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graphicFrame>
        <p:nvGraphicFramePr>
          <p:cNvPr id="19" name="Table 3">
            <a:extLst>
              <a:ext uri="{FF2B5EF4-FFF2-40B4-BE49-F238E27FC236}">
                <a16:creationId xmlns:a16="http://schemas.microsoft.com/office/drawing/2014/main" id="{2690ABA3-C03C-4282-B4A0-680B1FECCF62}"/>
              </a:ext>
            </a:extLst>
          </p:cNvPr>
          <p:cNvGraphicFramePr>
            <a:graphicFrameLocks noGrp="1"/>
          </p:cNvGraphicFramePr>
          <p:nvPr>
            <p:extLst>
              <p:ext uri="{D42A27DB-BD31-4B8C-83A1-F6EECF244321}">
                <p14:modId xmlns:p14="http://schemas.microsoft.com/office/powerpoint/2010/main" val="33795320"/>
              </p:ext>
            </p:extLst>
          </p:nvPr>
        </p:nvGraphicFramePr>
        <p:xfrm>
          <a:off x="275263" y="3284023"/>
          <a:ext cx="5426930" cy="518148"/>
        </p:xfrm>
        <a:graphic>
          <a:graphicData uri="http://schemas.openxmlformats.org/drawingml/2006/table">
            <a:tbl>
              <a:tblPr bandRow="1">
                <a:tableStyleId>{7E9639D4-E3E2-4D34-9284-5A2195B3D0D7}</a:tableStyleId>
              </a:tblPr>
              <a:tblGrid>
                <a:gridCol w="5426930">
                  <a:extLst>
                    <a:ext uri="{9D8B030D-6E8A-4147-A177-3AD203B41FA5}">
                      <a16:colId xmlns:a16="http://schemas.microsoft.com/office/drawing/2014/main" val="2933494112"/>
                    </a:ext>
                  </a:extLst>
                </a:gridCol>
              </a:tblGrid>
              <a:tr h="518093">
                <a:tc>
                  <a:txBody>
                    <a:bodyPr/>
                    <a:lstStyle/>
                    <a:p>
                      <a:r>
                        <a:rPr lang="zh-CN" altLang="en-US" sz="1400" b="1" kern="1200">
                          <a:solidFill>
                            <a:schemeClr val="tx1"/>
                          </a:solidFill>
                          <a:effectLst/>
                        </a:rPr>
                        <a:t>目的 评价地诺孕素（</a:t>
                      </a:r>
                      <a:r>
                        <a:rPr lang="en-US" altLang="zh-CN" sz="1400" b="1" kern="1200">
                          <a:solidFill>
                            <a:schemeClr val="tx1"/>
                          </a:solidFill>
                          <a:effectLst/>
                        </a:rPr>
                        <a:t>DNG</a:t>
                      </a:r>
                      <a:r>
                        <a:rPr lang="zh-CN" altLang="en-US" sz="1400" b="1" kern="1200">
                          <a:solidFill>
                            <a:schemeClr val="tx1"/>
                          </a:solidFill>
                          <a:effectLst/>
                        </a:rPr>
                        <a:t>）对于难治性子宫内膜异位症（内异症）疼痛的临床疗效和安全性</a:t>
                      </a:r>
                      <a:endParaRPr lang="en-US" sz="1000" b="1" i="0" kern="1200">
                        <a:solidFill>
                          <a:schemeClr val="tx1"/>
                        </a:solidFill>
                        <a:effectLst/>
                        <a:latin typeface="Tahoma" panose="020B0604030504040204" pitchFamily="34" charset="0"/>
                        <a:ea typeface="+mn-ea"/>
                        <a:cs typeface="+mn-cs"/>
                      </a:endParaRPr>
                    </a:p>
                  </a:txBody>
                  <a:tcPr marL="91428" marR="91428" marT="45714" marB="45714">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354594477"/>
                  </a:ext>
                </a:extLst>
              </a:tr>
            </a:tbl>
          </a:graphicData>
        </a:graphic>
      </p:graphicFrame>
      <p:graphicFrame>
        <p:nvGraphicFramePr>
          <p:cNvPr id="2" name="Table 3">
            <a:extLst>
              <a:ext uri="{FF2B5EF4-FFF2-40B4-BE49-F238E27FC236}">
                <a16:creationId xmlns:a16="http://schemas.microsoft.com/office/drawing/2014/main" id="{502C4A34-131C-4A25-8DA5-C9DD1F0594C2}"/>
              </a:ext>
            </a:extLst>
          </p:cNvPr>
          <p:cNvGraphicFramePr>
            <a:graphicFrameLocks noGrp="1"/>
          </p:cNvGraphicFramePr>
          <p:nvPr/>
        </p:nvGraphicFramePr>
        <p:xfrm>
          <a:off x="6815114" y="1555805"/>
          <a:ext cx="1330686" cy="4937544"/>
        </p:xfrm>
        <a:graphic>
          <a:graphicData uri="http://schemas.openxmlformats.org/drawingml/2006/table">
            <a:tbl>
              <a:tblPr bandRow="1">
                <a:tableStyleId>{7E9639D4-E3E2-4D34-9284-5A2195B3D0D7}</a:tableStyleId>
              </a:tblPr>
              <a:tblGrid>
                <a:gridCol w="1330686">
                  <a:extLst>
                    <a:ext uri="{9D8B030D-6E8A-4147-A177-3AD203B41FA5}">
                      <a16:colId xmlns:a16="http://schemas.microsoft.com/office/drawing/2014/main" val="209644703"/>
                    </a:ext>
                  </a:extLst>
                </a:gridCol>
              </a:tblGrid>
              <a:tr h="274284">
                <a:tc>
                  <a:txBody>
                    <a:bodyPr/>
                    <a:lstStyle/>
                    <a:p>
                      <a:pPr algn="ctr"/>
                      <a:r>
                        <a:rPr lang="zh-CN" altLang="en-US" sz="1200"/>
                        <a:t>目的</a:t>
                      </a:r>
                      <a:endParaRPr lang="en-US" sz="1200"/>
                    </a:p>
                  </a:txBody>
                  <a:tcPr marL="91428" marR="91428" marT="45714" marB="45714"/>
                </a:tc>
                <a:extLst>
                  <a:ext uri="{0D108BD9-81ED-4DB2-BD59-A6C34878D82A}">
                    <a16:rowId xmlns:a16="http://schemas.microsoft.com/office/drawing/2014/main" val="939006580"/>
                  </a:ext>
                </a:extLst>
              </a:tr>
              <a:tr h="274284">
                <a:tc>
                  <a:txBody>
                    <a:bodyPr/>
                    <a:lstStyle/>
                    <a:p>
                      <a:pPr algn="ctr"/>
                      <a:r>
                        <a:rPr lang="zh-CN" altLang="en-US" sz="1200"/>
                        <a:t>评价</a:t>
                      </a:r>
                      <a:endParaRPr lang="en-US" sz="1200"/>
                    </a:p>
                  </a:txBody>
                  <a:tcPr marL="91428" marR="91428" marT="45714" marB="45714"/>
                </a:tc>
                <a:extLst>
                  <a:ext uri="{0D108BD9-81ED-4DB2-BD59-A6C34878D82A}">
                    <a16:rowId xmlns:a16="http://schemas.microsoft.com/office/drawing/2014/main" val="417594047"/>
                  </a:ext>
                </a:extLst>
              </a:tr>
              <a:tr h="274284">
                <a:tc>
                  <a:txBody>
                    <a:bodyPr/>
                    <a:lstStyle/>
                    <a:p>
                      <a:pPr algn="ctr"/>
                      <a:r>
                        <a:rPr lang="zh-CN" altLang="en-US" sz="1200"/>
                        <a:t>地诺孕素</a:t>
                      </a:r>
                      <a:endParaRPr lang="en-US" sz="1200"/>
                    </a:p>
                  </a:txBody>
                  <a:tcPr marL="91428" marR="91428" marT="45714" marB="45714"/>
                </a:tc>
                <a:extLst>
                  <a:ext uri="{0D108BD9-81ED-4DB2-BD59-A6C34878D82A}">
                    <a16:rowId xmlns:a16="http://schemas.microsoft.com/office/drawing/2014/main" val="949254293"/>
                  </a:ext>
                </a:extLst>
              </a:tr>
              <a:tr h="274284">
                <a:tc>
                  <a:txBody>
                    <a:bodyPr/>
                    <a:lstStyle/>
                    <a:p>
                      <a:pPr algn="ctr"/>
                      <a:r>
                        <a:rPr lang="en-US" sz="1200">
                          <a:effectLst/>
                        </a:rPr>
                        <a:t>（</a:t>
                      </a:r>
                    </a:p>
                  </a:txBody>
                  <a:tcPr marL="91428" marR="91428" marT="45714" marB="45714"/>
                </a:tc>
                <a:extLst>
                  <a:ext uri="{0D108BD9-81ED-4DB2-BD59-A6C34878D82A}">
                    <a16:rowId xmlns:a16="http://schemas.microsoft.com/office/drawing/2014/main" val="3795320443"/>
                  </a:ext>
                </a:extLst>
              </a:tr>
              <a:tr h="274284">
                <a:tc>
                  <a:txBody>
                    <a:bodyPr/>
                    <a:lstStyle/>
                    <a:p>
                      <a:pPr algn="ctr"/>
                      <a:r>
                        <a:rPr lang="en-US" sz="1200"/>
                        <a:t>DNG</a:t>
                      </a:r>
                    </a:p>
                  </a:txBody>
                  <a:tcPr marL="91428" marR="91428" marT="45714" marB="45714"/>
                </a:tc>
                <a:extLst>
                  <a:ext uri="{0D108BD9-81ED-4DB2-BD59-A6C34878D82A}">
                    <a16:rowId xmlns:a16="http://schemas.microsoft.com/office/drawing/2014/main" val="1190618164"/>
                  </a:ext>
                </a:extLst>
              </a:tr>
              <a:tr h="274284">
                <a:tc>
                  <a:txBody>
                    <a:bodyPr/>
                    <a:lstStyle/>
                    <a:p>
                      <a:pPr algn="ctr"/>
                      <a:r>
                        <a:rPr lang="zh-CN" altLang="en-US" sz="1200"/>
                        <a:t>）</a:t>
                      </a:r>
                      <a:endParaRPr lang="en-US" sz="1200"/>
                    </a:p>
                  </a:txBody>
                  <a:tcPr marL="91428" marR="91428" marT="45714" marB="45714"/>
                </a:tc>
                <a:extLst>
                  <a:ext uri="{0D108BD9-81ED-4DB2-BD59-A6C34878D82A}">
                    <a16:rowId xmlns:a16="http://schemas.microsoft.com/office/drawing/2014/main" val="4081258808"/>
                  </a:ext>
                </a:extLst>
              </a:tr>
              <a:tr h="274284">
                <a:tc>
                  <a:txBody>
                    <a:bodyPr/>
                    <a:lstStyle/>
                    <a:p>
                      <a:pPr algn="ctr"/>
                      <a:r>
                        <a:rPr lang="zh-CN" altLang="en-US" sz="1200"/>
                        <a:t>对于</a:t>
                      </a:r>
                      <a:endParaRPr lang="en-US" sz="1200"/>
                    </a:p>
                  </a:txBody>
                  <a:tcPr marL="91428" marR="91428" marT="45714" marB="45714"/>
                </a:tc>
                <a:extLst>
                  <a:ext uri="{0D108BD9-81ED-4DB2-BD59-A6C34878D82A}">
                    <a16:rowId xmlns:a16="http://schemas.microsoft.com/office/drawing/2014/main" val="1661665165"/>
                  </a:ext>
                </a:extLst>
              </a:tr>
              <a:tr h="274284">
                <a:tc>
                  <a:txBody>
                    <a:bodyPr/>
                    <a:lstStyle/>
                    <a:p>
                      <a:pPr algn="ctr"/>
                      <a:r>
                        <a:rPr lang="zh-CN" altLang="en-US" sz="1200"/>
                        <a:t>难治性</a:t>
                      </a:r>
                      <a:endParaRPr lang="en-US" sz="1200"/>
                    </a:p>
                  </a:txBody>
                  <a:tcPr marL="91428" marR="91428" marT="45714" marB="45714"/>
                </a:tc>
                <a:extLst>
                  <a:ext uri="{0D108BD9-81ED-4DB2-BD59-A6C34878D82A}">
                    <a16:rowId xmlns:a16="http://schemas.microsoft.com/office/drawing/2014/main" val="1740961047"/>
                  </a:ext>
                </a:extLst>
              </a:tr>
              <a:tr h="274284">
                <a:tc>
                  <a:txBody>
                    <a:bodyPr/>
                    <a:lstStyle/>
                    <a:p>
                      <a:pPr algn="ctr"/>
                      <a:r>
                        <a:rPr lang="zh-CN" altLang="en-US" sz="1200"/>
                        <a:t>子宫内膜异位症</a:t>
                      </a:r>
                      <a:endParaRPr lang="en-US" sz="1200"/>
                    </a:p>
                  </a:txBody>
                  <a:tcPr marL="91428" marR="91428" marT="45714" marB="45714"/>
                </a:tc>
                <a:extLst>
                  <a:ext uri="{0D108BD9-81ED-4DB2-BD59-A6C34878D82A}">
                    <a16:rowId xmlns:a16="http://schemas.microsoft.com/office/drawing/2014/main" val="4009392884"/>
                  </a:ext>
                </a:extLst>
              </a:tr>
              <a:tr h="274284">
                <a:tc>
                  <a:txBody>
                    <a:bodyPr/>
                    <a:lstStyle/>
                    <a:p>
                      <a:pPr algn="ctr"/>
                      <a:r>
                        <a:rPr lang="zh-CN" altLang="en-US" sz="1200"/>
                        <a:t>（</a:t>
                      </a:r>
                      <a:endParaRPr lang="en-US" sz="1200"/>
                    </a:p>
                  </a:txBody>
                  <a:tcPr marL="91428" marR="91428" marT="45714" marB="45714"/>
                </a:tc>
                <a:extLst>
                  <a:ext uri="{0D108BD9-81ED-4DB2-BD59-A6C34878D82A}">
                    <a16:rowId xmlns:a16="http://schemas.microsoft.com/office/drawing/2014/main" val="131279313"/>
                  </a:ext>
                </a:extLst>
              </a:tr>
              <a:tr h="274284">
                <a:tc>
                  <a:txBody>
                    <a:bodyPr/>
                    <a:lstStyle/>
                    <a:p>
                      <a:pPr algn="ctr"/>
                      <a:r>
                        <a:rPr lang="zh-CN" altLang="en-US" sz="1200"/>
                        <a:t>内异症</a:t>
                      </a:r>
                      <a:endParaRPr lang="en-US" sz="1200"/>
                    </a:p>
                  </a:txBody>
                  <a:tcPr marL="91428" marR="91428" marT="45714" marB="45714"/>
                </a:tc>
                <a:extLst>
                  <a:ext uri="{0D108BD9-81ED-4DB2-BD59-A6C34878D82A}">
                    <a16:rowId xmlns:a16="http://schemas.microsoft.com/office/drawing/2014/main" val="2733372880"/>
                  </a:ext>
                </a:extLst>
              </a:tr>
              <a:tr h="274284">
                <a:tc>
                  <a:txBody>
                    <a:bodyPr/>
                    <a:lstStyle/>
                    <a:p>
                      <a:pPr algn="ctr"/>
                      <a:r>
                        <a:rPr lang="zh-CN" altLang="en-US" sz="1200"/>
                        <a:t>）</a:t>
                      </a:r>
                      <a:endParaRPr lang="en-US" sz="1200"/>
                    </a:p>
                  </a:txBody>
                  <a:tcPr marL="91428" marR="91428" marT="45714" marB="45714"/>
                </a:tc>
                <a:extLst>
                  <a:ext uri="{0D108BD9-81ED-4DB2-BD59-A6C34878D82A}">
                    <a16:rowId xmlns:a16="http://schemas.microsoft.com/office/drawing/2014/main" val="1831204364"/>
                  </a:ext>
                </a:extLst>
              </a:tr>
              <a:tr h="274284">
                <a:tc>
                  <a:txBody>
                    <a:bodyPr/>
                    <a:lstStyle/>
                    <a:p>
                      <a:pPr algn="ctr"/>
                      <a:r>
                        <a:rPr lang="zh-CN" altLang="en-US" sz="1200"/>
                        <a:t>疼痛</a:t>
                      </a:r>
                      <a:endParaRPr lang="en-US" sz="1200"/>
                    </a:p>
                  </a:txBody>
                  <a:tcPr marL="91428" marR="91428" marT="45714" marB="45714"/>
                </a:tc>
                <a:extLst>
                  <a:ext uri="{0D108BD9-81ED-4DB2-BD59-A6C34878D82A}">
                    <a16:rowId xmlns:a16="http://schemas.microsoft.com/office/drawing/2014/main" val="2155363146"/>
                  </a:ext>
                </a:extLst>
              </a:tr>
              <a:tr h="274284">
                <a:tc>
                  <a:txBody>
                    <a:bodyPr/>
                    <a:lstStyle/>
                    <a:p>
                      <a:pPr algn="ctr"/>
                      <a:r>
                        <a:rPr lang="zh-CN" altLang="en-US" sz="1200"/>
                        <a:t>的</a:t>
                      </a:r>
                      <a:endParaRPr lang="en-US" sz="1200"/>
                    </a:p>
                  </a:txBody>
                  <a:tcPr marL="91428" marR="91428" marT="45714" marB="45714"/>
                </a:tc>
                <a:extLst>
                  <a:ext uri="{0D108BD9-81ED-4DB2-BD59-A6C34878D82A}">
                    <a16:rowId xmlns:a16="http://schemas.microsoft.com/office/drawing/2014/main" val="3377792028"/>
                  </a:ext>
                </a:extLst>
              </a:tr>
              <a:tr h="274284">
                <a:tc>
                  <a:txBody>
                    <a:bodyPr/>
                    <a:lstStyle/>
                    <a:p>
                      <a:pPr algn="ctr"/>
                      <a:r>
                        <a:rPr lang="zh-CN" altLang="en-US" sz="1200"/>
                        <a:t>临床</a:t>
                      </a:r>
                      <a:endParaRPr lang="en-US" sz="1200"/>
                    </a:p>
                  </a:txBody>
                  <a:tcPr marL="91428" marR="91428" marT="45714" marB="45714"/>
                </a:tc>
                <a:extLst>
                  <a:ext uri="{0D108BD9-81ED-4DB2-BD59-A6C34878D82A}">
                    <a16:rowId xmlns:a16="http://schemas.microsoft.com/office/drawing/2014/main" val="615231188"/>
                  </a:ext>
                </a:extLst>
              </a:tr>
              <a:tr h="274284">
                <a:tc>
                  <a:txBody>
                    <a:bodyPr/>
                    <a:lstStyle/>
                    <a:p>
                      <a:pPr algn="ctr"/>
                      <a:r>
                        <a:rPr lang="zh-CN" altLang="en-US" sz="1200"/>
                        <a:t>疗效</a:t>
                      </a:r>
                      <a:endParaRPr lang="en-US" sz="1200"/>
                    </a:p>
                  </a:txBody>
                  <a:tcPr marL="91428" marR="91428" marT="45714" marB="45714"/>
                </a:tc>
                <a:extLst>
                  <a:ext uri="{0D108BD9-81ED-4DB2-BD59-A6C34878D82A}">
                    <a16:rowId xmlns:a16="http://schemas.microsoft.com/office/drawing/2014/main" val="1157345881"/>
                  </a:ext>
                </a:extLst>
              </a:tr>
              <a:tr h="274284">
                <a:tc>
                  <a:txBody>
                    <a:bodyPr/>
                    <a:lstStyle/>
                    <a:p>
                      <a:pPr algn="ctr"/>
                      <a:r>
                        <a:rPr lang="zh-CN" altLang="en-US" sz="1200"/>
                        <a:t>和</a:t>
                      </a:r>
                      <a:endParaRPr lang="en-US" sz="1200"/>
                    </a:p>
                  </a:txBody>
                  <a:tcPr marL="91428" marR="91428" marT="45714" marB="45714"/>
                </a:tc>
                <a:extLst>
                  <a:ext uri="{0D108BD9-81ED-4DB2-BD59-A6C34878D82A}">
                    <a16:rowId xmlns:a16="http://schemas.microsoft.com/office/drawing/2014/main" val="130950315"/>
                  </a:ext>
                </a:extLst>
              </a:tr>
              <a:tr h="274284">
                <a:tc>
                  <a:txBody>
                    <a:bodyPr/>
                    <a:lstStyle/>
                    <a:p>
                      <a:pPr algn="ctr"/>
                      <a:r>
                        <a:rPr lang="zh-CN" altLang="en-US" sz="1200"/>
                        <a:t>安全性</a:t>
                      </a:r>
                      <a:endParaRPr lang="en-US" sz="1200"/>
                    </a:p>
                  </a:txBody>
                  <a:tcPr marL="91428" marR="91428" marT="45714" marB="45714"/>
                </a:tc>
                <a:extLst>
                  <a:ext uri="{0D108BD9-81ED-4DB2-BD59-A6C34878D82A}">
                    <a16:rowId xmlns:a16="http://schemas.microsoft.com/office/drawing/2014/main" val="3986667901"/>
                  </a:ext>
                </a:extLst>
              </a:tr>
            </a:tbl>
          </a:graphicData>
        </a:graphic>
      </p:graphicFrame>
      <p:cxnSp>
        <p:nvCxnSpPr>
          <p:cNvPr id="22" name="Straight Connector 21">
            <a:extLst>
              <a:ext uri="{FF2B5EF4-FFF2-40B4-BE49-F238E27FC236}">
                <a16:creationId xmlns:a16="http://schemas.microsoft.com/office/drawing/2014/main" id="{CF2512E4-76F1-4E2B-B8C8-1C401AE836F1}"/>
              </a:ext>
            </a:extLst>
          </p:cNvPr>
          <p:cNvCxnSpPr>
            <a:cxnSpLocks/>
          </p:cNvCxnSpPr>
          <p:nvPr/>
        </p:nvCxnSpPr>
        <p:spPr bwMode="gray">
          <a:xfrm>
            <a:off x="744666" y="3302126"/>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3" name="Straight Connector 22">
            <a:extLst>
              <a:ext uri="{FF2B5EF4-FFF2-40B4-BE49-F238E27FC236}">
                <a16:creationId xmlns:a16="http://schemas.microsoft.com/office/drawing/2014/main" id="{ACDAFDC5-477A-485C-8306-FDD91AA29EBD}"/>
              </a:ext>
            </a:extLst>
          </p:cNvPr>
          <p:cNvCxnSpPr>
            <a:cxnSpLocks/>
          </p:cNvCxnSpPr>
          <p:nvPr/>
        </p:nvCxnSpPr>
        <p:spPr bwMode="gray">
          <a:xfrm>
            <a:off x="1115811" y="3302126"/>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4" name="Straight Connector 23">
            <a:extLst>
              <a:ext uri="{FF2B5EF4-FFF2-40B4-BE49-F238E27FC236}">
                <a16:creationId xmlns:a16="http://schemas.microsoft.com/office/drawing/2014/main" id="{EF5F8EBA-E2B7-4AB8-BAA2-2FF38AB939A4}"/>
              </a:ext>
            </a:extLst>
          </p:cNvPr>
          <p:cNvCxnSpPr>
            <a:cxnSpLocks/>
          </p:cNvCxnSpPr>
          <p:nvPr/>
        </p:nvCxnSpPr>
        <p:spPr bwMode="gray">
          <a:xfrm>
            <a:off x="1874694" y="33202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5" name="Straight Connector 24">
            <a:extLst>
              <a:ext uri="{FF2B5EF4-FFF2-40B4-BE49-F238E27FC236}">
                <a16:creationId xmlns:a16="http://schemas.microsoft.com/office/drawing/2014/main" id="{04609F7F-4315-43D6-8A69-FD8D320C4439}"/>
              </a:ext>
            </a:extLst>
          </p:cNvPr>
          <p:cNvCxnSpPr>
            <a:cxnSpLocks/>
          </p:cNvCxnSpPr>
          <p:nvPr/>
        </p:nvCxnSpPr>
        <p:spPr bwMode="gray">
          <a:xfrm>
            <a:off x="1992375" y="33202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3" name="Straight Connector 32">
            <a:extLst>
              <a:ext uri="{FF2B5EF4-FFF2-40B4-BE49-F238E27FC236}">
                <a16:creationId xmlns:a16="http://schemas.microsoft.com/office/drawing/2014/main" id="{1FABBE30-403E-4848-9D6C-CC42DF484460}"/>
              </a:ext>
            </a:extLst>
          </p:cNvPr>
          <p:cNvCxnSpPr>
            <a:cxnSpLocks/>
          </p:cNvCxnSpPr>
          <p:nvPr/>
        </p:nvCxnSpPr>
        <p:spPr bwMode="gray">
          <a:xfrm>
            <a:off x="2399728" y="3311178"/>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4" name="Straight Connector 33">
            <a:extLst>
              <a:ext uri="{FF2B5EF4-FFF2-40B4-BE49-F238E27FC236}">
                <a16:creationId xmlns:a16="http://schemas.microsoft.com/office/drawing/2014/main" id="{F280F994-D424-4583-9EEA-DFDFFC611915}"/>
              </a:ext>
            </a:extLst>
          </p:cNvPr>
          <p:cNvCxnSpPr>
            <a:cxnSpLocks/>
          </p:cNvCxnSpPr>
          <p:nvPr/>
        </p:nvCxnSpPr>
        <p:spPr bwMode="gray">
          <a:xfrm>
            <a:off x="2535512" y="33202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5" name="Straight Connector 34">
            <a:extLst>
              <a:ext uri="{FF2B5EF4-FFF2-40B4-BE49-F238E27FC236}">
                <a16:creationId xmlns:a16="http://schemas.microsoft.com/office/drawing/2014/main" id="{3C4DBBD3-87DD-4B54-8FA7-E7AE70A96206}"/>
              </a:ext>
            </a:extLst>
          </p:cNvPr>
          <p:cNvCxnSpPr>
            <a:cxnSpLocks/>
          </p:cNvCxnSpPr>
          <p:nvPr/>
        </p:nvCxnSpPr>
        <p:spPr bwMode="gray">
          <a:xfrm>
            <a:off x="2933812" y="3311178"/>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6" name="Straight Connector 35">
            <a:extLst>
              <a:ext uri="{FF2B5EF4-FFF2-40B4-BE49-F238E27FC236}">
                <a16:creationId xmlns:a16="http://schemas.microsoft.com/office/drawing/2014/main" id="{F2B8A601-719A-42DA-AB74-AD099F2DE6E9}"/>
              </a:ext>
            </a:extLst>
          </p:cNvPr>
          <p:cNvCxnSpPr>
            <a:cxnSpLocks/>
          </p:cNvCxnSpPr>
          <p:nvPr/>
        </p:nvCxnSpPr>
        <p:spPr bwMode="gray">
          <a:xfrm>
            <a:off x="3486000" y="3311178"/>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7" name="Straight Connector 36">
            <a:extLst>
              <a:ext uri="{FF2B5EF4-FFF2-40B4-BE49-F238E27FC236}">
                <a16:creationId xmlns:a16="http://schemas.microsoft.com/office/drawing/2014/main" id="{B4F73E1F-4DC6-47CF-A6E4-C9601D83528C}"/>
              </a:ext>
            </a:extLst>
          </p:cNvPr>
          <p:cNvCxnSpPr>
            <a:cxnSpLocks/>
          </p:cNvCxnSpPr>
          <p:nvPr/>
        </p:nvCxnSpPr>
        <p:spPr bwMode="gray">
          <a:xfrm>
            <a:off x="4771423" y="3311178"/>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8" name="Straight Connector 37">
            <a:extLst>
              <a:ext uri="{FF2B5EF4-FFF2-40B4-BE49-F238E27FC236}">
                <a16:creationId xmlns:a16="http://schemas.microsoft.com/office/drawing/2014/main" id="{18EF5A43-9DE3-4624-A789-584291FF780E}"/>
              </a:ext>
            </a:extLst>
          </p:cNvPr>
          <p:cNvCxnSpPr>
            <a:cxnSpLocks/>
          </p:cNvCxnSpPr>
          <p:nvPr/>
        </p:nvCxnSpPr>
        <p:spPr bwMode="gray">
          <a:xfrm>
            <a:off x="4907211" y="33202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9" name="Straight Connector 38">
            <a:extLst>
              <a:ext uri="{FF2B5EF4-FFF2-40B4-BE49-F238E27FC236}">
                <a16:creationId xmlns:a16="http://schemas.microsoft.com/office/drawing/2014/main" id="{7CC6EEC6-0E4D-4CB4-ACF7-95D8838BA0AF}"/>
              </a:ext>
            </a:extLst>
          </p:cNvPr>
          <p:cNvCxnSpPr>
            <a:cxnSpLocks/>
          </p:cNvCxnSpPr>
          <p:nvPr/>
        </p:nvCxnSpPr>
        <p:spPr bwMode="gray">
          <a:xfrm>
            <a:off x="5432243" y="33202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0" name="Straight Connector 39">
            <a:extLst>
              <a:ext uri="{FF2B5EF4-FFF2-40B4-BE49-F238E27FC236}">
                <a16:creationId xmlns:a16="http://schemas.microsoft.com/office/drawing/2014/main" id="{001DD2C1-262A-4624-827F-96ACA50C56ED}"/>
              </a:ext>
            </a:extLst>
          </p:cNvPr>
          <p:cNvCxnSpPr>
            <a:cxnSpLocks/>
          </p:cNvCxnSpPr>
          <p:nvPr/>
        </p:nvCxnSpPr>
        <p:spPr bwMode="gray">
          <a:xfrm>
            <a:off x="5558973" y="33202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1" name="Straight Connector 40">
            <a:extLst>
              <a:ext uri="{FF2B5EF4-FFF2-40B4-BE49-F238E27FC236}">
                <a16:creationId xmlns:a16="http://schemas.microsoft.com/office/drawing/2014/main" id="{F39D5B49-F296-4EC6-8036-25F144ABBEF4}"/>
              </a:ext>
            </a:extLst>
          </p:cNvPr>
          <p:cNvCxnSpPr>
            <a:cxnSpLocks/>
          </p:cNvCxnSpPr>
          <p:nvPr/>
        </p:nvCxnSpPr>
        <p:spPr bwMode="gray">
          <a:xfrm>
            <a:off x="714454" y="35351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2" name="Straight Connector 41">
            <a:extLst>
              <a:ext uri="{FF2B5EF4-FFF2-40B4-BE49-F238E27FC236}">
                <a16:creationId xmlns:a16="http://schemas.microsoft.com/office/drawing/2014/main" id="{E03D6DA3-34B4-46B3-A614-EE65F7270B18}"/>
              </a:ext>
            </a:extLst>
          </p:cNvPr>
          <p:cNvCxnSpPr>
            <a:cxnSpLocks/>
          </p:cNvCxnSpPr>
          <p:nvPr/>
        </p:nvCxnSpPr>
        <p:spPr bwMode="gray">
          <a:xfrm>
            <a:off x="887992" y="35351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3" name="Straight Connector 42">
            <a:extLst>
              <a:ext uri="{FF2B5EF4-FFF2-40B4-BE49-F238E27FC236}">
                <a16:creationId xmlns:a16="http://schemas.microsoft.com/office/drawing/2014/main" id="{B68F0928-41DB-44C3-94AE-0938572B8056}"/>
              </a:ext>
            </a:extLst>
          </p:cNvPr>
          <p:cNvCxnSpPr>
            <a:cxnSpLocks/>
          </p:cNvCxnSpPr>
          <p:nvPr/>
        </p:nvCxnSpPr>
        <p:spPr bwMode="gray">
          <a:xfrm>
            <a:off x="1250083" y="35351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4" name="Straight Connector 43">
            <a:extLst>
              <a:ext uri="{FF2B5EF4-FFF2-40B4-BE49-F238E27FC236}">
                <a16:creationId xmlns:a16="http://schemas.microsoft.com/office/drawing/2014/main" id="{90D13872-D895-4705-BCD5-73C082E73110}"/>
              </a:ext>
            </a:extLst>
          </p:cNvPr>
          <p:cNvCxnSpPr>
            <a:cxnSpLocks/>
          </p:cNvCxnSpPr>
          <p:nvPr/>
        </p:nvCxnSpPr>
        <p:spPr bwMode="gray">
          <a:xfrm>
            <a:off x="1594071" y="35351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6" name="Straight Connector 45">
            <a:extLst>
              <a:ext uri="{FF2B5EF4-FFF2-40B4-BE49-F238E27FC236}">
                <a16:creationId xmlns:a16="http://schemas.microsoft.com/office/drawing/2014/main" id="{96B28C19-85F1-491C-B1EC-5DAF61E666BF}"/>
              </a:ext>
            </a:extLst>
          </p:cNvPr>
          <p:cNvCxnSpPr>
            <a:cxnSpLocks/>
          </p:cNvCxnSpPr>
          <p:nvPr/>
        </p:nvCxnSpPr>
        <p:spPr bwMode="gray">
          <a:xfrm>
            <a:off x="1793221" y="353513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47" name="Straight Connector 46">
            <a:extLst>
              <a:ext uri="{FF2B5EF4-FFF2-40B4-BE49-F238E27FC236}">
                <a16:creationId xmlns:a16="http://schemas.microsoft.com/office/drawing/2014/main" id="{4A630281-AF5A-4575-8CAE-7A76DBDCD639}"/>
              </a:ext>
            </a:extLst>
          </p:cNvPr>
          <p:cNvCxnSpPr>
            <a:cxnSpLocks/>
          </p:cNvCxnSpPr>
          <p:nvPr/>
        </p:nvCxnSpPr>
        <p:spPr bwMode="gray">
          <a:xfrm>
            <a:off x="2344304" y="3556540"/>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9" name="Arrow: Right 28">
            <a:extLst>
              <a:ext uri="{FF2B5EF4-FFF2-40B4-BE49-F238E27FC236}">
                <a16:creationId xmlns:a16="http://schemas.microsoft.com/office/drawing/2014/main" id="{41CE6408-2D20-4864-914F-41B2FBA48D50}"/>
              </a:ext>
            </a:extLst>
          </p:cNvPr>
          <p:cNvSpPr/>
          <p:nvPr/>
        </p:nvSpPr>
        <p:spPr bwMode="gray">
          <a:xfrm>
            <a:off x="8305551" y="3251060"/>
            <a:ext cx="674822" cy="481345"/>
          </a:xfrm>
          <a:prstGeom prst="rightArrow">
            <a:avLst/>
          </a:prstGeom>
          <a:solidFill>
            <a:srgbClr val="443247"/>
          </a:solidFill>
          <a:ln>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graphicFrame>
        <p:nvGraphicFramePr>
          <p:cNvPr id="30" name="Table 3">
            <a:extLst>
              <a:ext uri="{FF2B5EF4-FFF2-40B4-BE49-F238E27FC236}">
                <a16:creationId xmlns:a16="http://schemas.microsoft.com/office/drawing/2014/main" id="{77E7698D-2CDB-4998-9466-EA161FD42532}"/>
              </a:ext>
            </a:extLst>
          </p:cNvPr>
          <p:cNvGraphicFramePr>
            <a:graphicFrameLocks noGrp="1"/>
          </p:cNvGraphicFramePr>
          <p:nvPr/>
        </p:nvGraphicFramePr>
        <p:xfrm>
          <a:off x="9140125" y="2157835"/>
          <a:ext cx="1330686" cy="3017388"/>
        </p:xfrm>
        <a:graphic>
          <a:graphicData uri="http://schemas.openxmlformats.org/drawingml/2006/table">
            <a:tbl>
              <a:tblPr bandRow="1">
                <a:tableStyleId>{7E9639D4-E3E2-4D34-9284-5A2195B3D0D7}</a:tableStyleId>
              </a:tblPr>
              <a:tblGrid>
                <a:gridCol w="1330686">
                  <a:extLst>
                    <a:ext uri="{9D8B030D-6E8A-4147-A177-3AD203B41FA5}">
                      <a16:colId xmlns:a16="http://schemas.microsoft.com/office/drawing/2014/main" val="209644703"/>
                    </a:ext>
                  </a:extLst>
                </a:gridCol>
              </a:tblGrid>
              <a:tr h="274284">
                <a:tc>
                  <a:txBody>
                    <a:bodyPr/>
                    <a:lstStyle/>
                    <a:p>
                      <a:pPr algn="ctr"/>
                      <a:r>
                        <a:rPr lang="zh-CN" altLang="en-US" sz="1200"/>
                        <a:t>目的</a:t>
                      </a:r>
                      <a:endParaRPr lang="en-US" sz="1200"/>
                    </a:p>
                  </a:txBody>
                  <a:tcPr marL="91428" marR="91428" marT="45714" marB="45714"/>
                </a:tc>
                <a:extLst>
                  <a:ext uri="{0D108BD9-81ED-4DB2-BD59-A6C34878D82A}">
                    <a16:rowId xmlns:a16="http://schemas.microsoft.com/office/drawing/2014/main" val="939006580"/>
                  </a:ext>
                </a:extLst>
              </a:tr>
              <a:tr h="274284">
                <a:tc>
                  <a:txBody>
                    <a:bodyPr/>
                    <a:lstStyle/>
                    <a:p>
                      <a:pPr algn="ctr"/>
                      <a:r>
                        <a:rPr lang="zh-CN" altLang="en-US" sz="1200"/>
                        <a:t>评价</a:t>
                      </a:r>
                      <a:endParaRPr lang="en-US" sz="1200"/>
                    </a:p>
                  </a:txBody>
                  <a:tcPr marL="91428" marR="91428" marT="45714" marB="45714"/>
                </a:tc>
                <a:extLst>
                  <a:ext uri="{0D108BD9-81ED-4DB2-BD59-A6C34878D82A}">
                    <a16:rowId xmlns:a16="http://schemas.microsoft.com/office/drawing/2014/main" val="417594047"/>
                  </a:ext>
                </a:extLst>
              </a:tr>
              <a:tr h="274284">
                <a:tc>
                  <a:txBody>
                    <a:bodyPr/>
                    <a:lstStyle/>
                    <a:p>
                      <a:pPr algn="ctr"/>
                      <a:r>
                        <a:rPr lang="zh-CN" altLang="en-US" sz="1200"/>
                        <a:t>地诺孕素</a:t>
                      </a:r>
                      <a:endParaRPr lang="en-US" sz="1200"/>
                    </a:p>
                  </a:txBody>
                  <a:tcPr marL="91428" marR="91428" marT="45714" marB="45714"/>
                </a:tc>
                <a:extLst>
                  <a:ext uri="{0D108BD9-81ED-4DB2-BD59-A6C34878D82A}">
                    <a16:rowId xmlns:a16="http://schemas.microsoft.com/office/drawing/2014/main" val="949254293"/>
                  </a:ext>
                </a:extLst>
              </a:tr>
              <a:tr h="274284">
                <a:tc>
                  <a:txBody>
                    <a:bodyPr/>
                    <a:lstStyle/>
                    <a:p>
                      <a:pPr algn="ctr"/>
                      <a:r>
                        <a:rPr lang="en-US" sz="1200"/>
                        <a:t>DNG</a:t>
                      </a:r>
                    </a:p>
                  </a:txBody>
                  <a:tcPr marL="91428" marR="91428" marT="45714" marB="45714"/>
                </a:tc>
                <a:extLst>
                  <a:ext uri="{0D108BD9-81ED-4DB2-BD59-A6C34878D82A}">
                    <a16:rowId xmlns:a16="http://schemas.microsoft.com/office/drawing/2014/main" val="1190618164"/>
                  </a:ext>
                </a:extLst>
              </a:tr>
              <a:tr h="274284">
                <a:tc>
                  <a:txBody>
                    <a:bodyPr/>
                    <a:lstStyle/>
                    <a:p>
                      <a:pPr algn="ctr"/>
                      <a:r>
                        <a:rPr lang="zh-CN" altLang="en-US" sz="1200"/>
                        <a:t>难治性</a:t>
                      </a:r>
                      <a:endParaRPr lang="en-US" sz="1200"/>
                    </a:p>
                  </a:txBody>
                  <a:tcPr marL="91428" marR="91428" marT="45714" marB="45714"/>
                </a:tc>
                <a:extLst>
                  <a:ext uri="{0D108BD9-81ED-4DB2-BD59-A6C34878D82A}">
                    <a16:rowId xmlns:a16="http://schemas.microsoft.com/office/drawing/2014/main" val="1740961047"/>
                  </a:ext>
                </a:extLst>
              </a:tr>
              <a:tr h="274284">
                <a:tc>
                  <a:txBody>
                    <a:bodyPr/>
                    <a:lstStyle/>
                    <a:p>
                      <a:pPr algn="ctr"/>
                      <a:r>
                        <a:rPr lang="zh-CN" altLang="en-US" sz="1200"/>
                        <a:t>子宫内膜异位症</a:t>
                      </a:r>
                      <a:endParaRPr lang="en-US" sz="1200"/>
                    </a:p>
                  </a:txBody>
                  <a:tcPr marL="91428" marR="91428" marT="45714" marB="45714"/>
                </a:tc>
                <a:extLst>
                  <a:ext uri="{0D108BD9-81ED-4DB2-BD59-A6C34878D82A}">
                    <a16:rowId xmlns:a16="http://schemas.microsoft.com/office/drawing/2014/main" val="4009392884"/>
                  </a:ext>
                </a:extLst>
              </a:tr>
              <a:tr h="274284">
                <a:tc>
                  <a:txBody>
                    <a:bodyPr/>
                    <a:lstStyle/>
                    <a:p>
                      <a:pPr algn="ctr"/>
                      <a:r>
                        <a:rPr lang="zh-CN" altLang="en-US" sz="1200"/>
                        <a:t>内异症</a:t>
                      </a:r>
                      <a:endParaRPr lang="en-US" sz="1200"/>
                    </a:p>
                  </a:txBody>
                  <a:tcPr marL="91428" marR="91428" marT="45714" marB="45714"/>
                </a:tc>
                <a:extLst>
                  <a:ext uri="{0D108BD9-81ED-4DB2-BD59-A6C34878D82A}">
                    <a16:rowId xmlns:a16="http://schemas.microsoft.com/office/drawing/2014/main" val="2733372880"/>
                  </a:ext>
                </a:extLst>
              </a:tr>
              <a:tr h="274284">
                <a:tc>
                  <a:txBody>
                    <a:bodyPr/>
                    <a:lstStyle/>
                    <a:p>
                      <a:pPr algn="ctr"/>
                      <a:r>
                        <a:rPr lang="zh-CN" altLang="en-US" sz="1200"/>
                        <a:t>疼痛</a:t>
                      </a:r>
                      <a:endParaRPr lang="en-US" sz="1200"/>
                    </a:p>
                  </a:txBody>
                  <a:tcPr marL="91428" marR="91428" marT="45714" marB="45714"/>
                </a:tc>
                <a:extLst>
                  <a:ext uri="{0D108BD9-81ED-4DB2-BD59-A6C34878D82A}">
                    <a16:rowId xmlns:a16="http://schemas.microsoft.com/office/drawing/2014/main" val="2155363146"/>
                  </a:ext>
                </a:extLst>
              </a:tr>
              <a:tr h="274284">
                <a:tc>
                  <a:txBody>
                    <a:bodyPr/>
                    <a:lstStyle/>
                    <a:p>
                      <a:pPr algn="ctr"/>
                      <a:r>
                        <a:rPr lang="zh-CN" altLang="en-US" sz="1200"/>
                        <a:t>临床</a:t>
                      </a:r>
                      <a:endParaRPr lang="en-US" sz="1200"/>
                    </a:p>
                  </a:txBody>
                  <a:tcPr marL="91428" marR="91428" marT="45714" marB="45714"/>
                </a:tc>
                <a:extLst>
                  <a:ext uri="{0D108BD9-81ED-4DB2-BD59-A6C34878D82A}">
                    <a16:rowId xmlns:a16="http://schemas.microsoft.com/office/drawing/2014/main" val="615231188"/>
                  </a:ext>
                </a:extLst>
              </a:tr>
              <a:tr h="274284">
                <a:tc>
                  <a:txBody>
                    <a:bodyPr/>
                    <a:lstStyle/>
                    <a:p>
                      <a:pPr algn="ctr"/>
                      <a:r>
                        <a:rPr lang="zh-CN" altLang="en-US" sz="1200"/>
                        <a:t>疗效</a:t>
                      </a:r>
                      <a:endParaRPr lang="en-US" sz="1200"/>
                    </a:p>
                  </a:txBody>
                  <a:tcPr marL="91428" marR="91428" marT="45714" marB="45714"/>
                </a:tc>
                <a:extLst>
                  <a:ext uri="{0D108BD9-81ED-4DB2-BD59-A6C34878D82A}">
                    <a16:rowId xmlns:a16="http://schemas.microsoft.com/office/drawing/2014/main" val="1157345881"/>
                  </a:ext>
                </a:extLst>
              </a:tr>
              <a:tr h="274284">
                <a:tc>
                  <a:txBody>
                    <a:bodyPr/>
                    <a:lstStyle/>
                    <a:p>
                      <a:pPr algn="ctr"/>
                      <a:r>
                        <a:rPr lang="zh-CN" altLang="en-US" sz="1200"/>
                        <a:t>安全性</a:t>
                      </a:r>
                      <a:endParaRPr lang="en-US" sz="1200"/>
                    </a:p>
                  </a:txBody>
                  <a:tcPr marL="91428" marR="91428" marT="45714" marB="45714"/>
                </a:tc>
                <a:extLst>
                  <a:ext uri="{0D108BD9-81ED-4DB2-BD59-A6C34878D82A}">
                    <a16:rowId xmlns:a16="http://schemas.microsoft.com/office/drawing/2014/main" val="3986667901"/>
                  </a:ext>
                </a:extLst>
              </a:tr>
            </a:tbl>
          </a:graphicData>
        </a:graphic>
      </p:graphicFrame>
      <p:sp>
        <p:nvSpPr>
          <p:cNvPr id="3" name="Multiplication Sign 2">
            <a:extLst>
              <a:ext uri="{FF2B5EF4-FFF2-40B4-BE49-F238E27FC236}">
                <a16:creationId xmlns:a16="http://schemas.microsoft.com/office/drawing/2014/main" id="{176E0A53-F1DE-4ED9-8220-ED864E6F0EC4}"/>
              </a:ext>
            </a:extLst>
          </p:cNvPr>
          <p:cNvSpPr/>
          <p:nvPr/>
        </p:nvSpPr>
        <p:spPr bwMode="gray">
          <a:xfrm>
            <a:off x="6526916" y="2431136"/>
            <a:ext cx="953540" cy="251967"/>
          </a:xfrm>
          <a:prstGeom prst="mathMultiply">
            <a:avLst/>
          </a:prstGeom>
          <a:solidFill>
            <a:srgbClr val="C00000">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32" name="Multiplication Sign 31">
            <a:extLst>
              <a:ext uri="{FF2B5EF4-FFF2-40B4-BE49-F238E27FC236}">
                <a16:creationId xmlns:a16="http://schemas.microsoft.com/office/drawing/2014/main" id="{43516DC8-0EDE-4047-8F84-EDEF70FF3A87}"/>
              </a:ext>
            </a:extLst>
          </p:cNvPr>
          <p:cNvSpPr/>
          <p:nvPr/>
        </p:nvSpPr>
        <p:spPr bwMode="gray">
          <a:xfrm>
            <a:off x="6526916" y="2912304"/>
            <a:ext cx="953540" cy="251967"/>
          </a:xfrm>
          <a:prstGeom prst="mathMultiply">
            <a:avLst/>
          </a:prstGeom>
          <a:solidFill>
            <a:srgbClr val="C00000">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48" name="Multiplication Sign 47">
            <a:extLst>
              <a:ext uri="{FF2B5EF4-FFF2-40B4-BE49-F238E27FC236}">
                <a16:creationId xmlns:a16="http://schemas.microsoft.com/office/drawing/2014/main" id="{D0CF5D2D-E6F3-4037-A484-D5515DA1518D}"/>
              </a:ext>
            </a:extLst>
          </p:cNvPr>
          <p:cNvSpPr/>
          <p:nvPr/>
        </p:nvSpPr>
        <p:spPr bwMode="gray">
          <a:xfrm>
            <a:off x="6526916" y="3205826"/>
            <a:ext cx="953540" cy="251967"/>
          </a:xfrm>
          <a:prstGeom prst="mathMultiply">
            <a:avLst/>
          </a:prstGeom>
          <a:solidFill>
            <a:srgbClr val="C00000">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49" name="Multiplication Sign 48">
            <a:extLst>
              <a:ext uri="{FF2B5EF4-FFF2-40B4-BE49-F238E27FC236}">
                <a16:creationId xmlns:a16="http://schemas.microsoft.com/office/drawing/2014/main" id="{F6270936-0C06-4099-A20C-29260D4FE9D1}"/>
              </a:ext>
            </a:extLst>
          </p:cNvPr>
          <p:cNvSpPr/>
          <p:nvPr/>
        </p:nvSpPr>
        <p:spPr bwMode="gray">
          <a:xfrm>
            <a:off x="6526916" y="4031372"/>
            <a:ext cx="953540" cy="251967"/>
          </a:xfrm>
          <a:prstGeom prst="mathMultiply">
            <a:avLst/>
          </a:prstGeom>
          <a:solidFill>
            <a:srgbClr val="C00000">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50" name="Multiplication Sign 49">
            <a:extLst>
              <a:ext uri="{FF2B5EF4-FFF2-40B4-BE49-F238E27FC236}">
                <a16:creationId xmlns:a16="http://schemas.microsoft.com/office/drawing/2014/main" id="{60E2A8DD-79D9-46F2-BBF7-92C218AAAA45}"/>
              </a:ext>
            </a:extLst>
          </p:cNvPr>
          <p:cNvSpPr/>
          <p:nvPr/>
        </p:nvSpPr>
        <p:spPr bwMode="gray">
          <a:xfrm>
            <a:off x="6488516" y="4573115"/>
            <a:ext cx="953540" cy="251967"/>
          </a:xfrm>
          <a:prstGeom prst="mathMultiply">
            <a:avLst/>
          </a:prstGeom>
          <a:solidFill>
            <a:srgbClr val="C00000">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51" name="Multiplication Sign 50">
            <a:extLst>
              <a:ext uri="{FF2B5EF4-FFF2-40B4-BE49-F238E27FC236}">
                <a16:creationId xmlns:a16="http://schemas.microsoft.com/office/drawing/2014/main" id="{A09BB669-61FD-492A-8FFA-964494DD5CA4}"/>
              </a:ext>
            </a:extLst>
          </p:cNvPr>
          <p:cNvSpPr/>
          <p:nvPr/>
        </p:nvSpPr>
        <p:spPr bwMode="gray">
          <a:xfrm>
            <a:off x="6526916" y="5103263"/>
            <a:ext cx="953540" cy="251967"/>
          </a:xfrm>
          <a:prstGeom prst="mathMultiply">
            <a:avLst/>
          </a:prstGeom>
          <a:solidFill>
            <a:srgbClr val="C00000">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52" name="Multiplication Sign 51">
            <a:extLst>
              <a:ext uri="{FF2B5EF4-FFF2-40B4-BE49-F238E27FC236}">
                <a16:creationId xmlns:a16="http://schemas.microsoft.com/office/drawing/2014/main" id="{E9A55B1B-ABDC-4233-B9E3-FDEABE718CF9}"/>
              </a:ext>
            </a:extLst>
          </p:cNvPr>
          <p:cNvSpPr/>
          <p:nvPr/>
        </p:nvSpPr>
        <p:spPr bwMode="gray">
          <a:xfrm>
            <a:off x="6510460" y="5995566"/>
            <a:ext cx="953540" cy="251967"/>
          </a:xfrm>
          <a:prstGeom prst="mathMultiply">
            <a:avLst/>
          </a:prstGeom>
          <a:solidFill>
            <a:srgbClr val="C00000">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grpSp>
        <p:nvGrpSpPr>
          <p:cNvPr id="53" name="Group 52">
            <a:extLst>
              <a:ext uri="{FF2B5EF4-FFF2-40B4-BE49-F238E27FC236}">
                <a16:creationId xmlns:a16="http://schemas.microsoft.com/office/drawing/2014/main" id="{2D10B574-DEA0-4A44-B8B8-948A471506C0}"/>
              </a:ext>
            </a:extLst>
          </p:cNvPr>
          <p:cNvGrpSpPr/>
          <p:nvPr/>
        </p:nvGrpSpPr>
        <p:grpSpPr>
          <a:xfrm>
            <a:off x="8495106" y="-8203"/>
            <a:ext cx="563328" cy="563328"/>
            <a:chOff x="7649686" y="2791782"/>
            <a:chExt cx="563328" cy="563328"/>
          </a:xfrm>
        </p:grpSpPr>
        <p:pic>
          <p:nvPicPr>
            <p:cNvPr id="54" name="Graphic 53" descr="Document outline">
              <a:extLst>
                <a:ext uri="{FF2B5EF4-FFF2-40B4-BE49-F238E27FC236}">
                  <a16:creationId xmlns:a16="http://schemas.microsoft.com/office/drawing/2014/main" id="{102E82FC-970F-4BD1-8E21-152098C86E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9686" y="2791782"/>
              <a:ext cx="563328" cy="563328"/>
            </a:xfrm>
            <a:prstGeom prst="rect">
              <a:avLst/>
            </a:prstGeom>
          </p:spPr>
        </p:pic>
        <p:sp>
          <p:nvSpPr>
            <p:cNvPr id="55" name="Rectangle 54">
              <a:extLst>
                <a:ext uri="{FF2B5EF4-FFF2-40B4-BE49-F238E27FC236}">
                  <a16:creationId xmlns:a16="http://schemas.microsoft.com/office/drawing/2014/main" id="{8F6F7872-7779-4FD2-A100-B4B1B6AEBA33}"/>
                </a:ext>
              </a:extLst>
            </p:cNvPr>
            <p:cNvSpPr/>
            <p:nvPr/>
          </p:nvSpPr>
          <p:spPr bwMode="gray">
            <a:xfrm>
              <a:off x="7803387" y="3028265"/>
              <a:ext cx="255926" cy="45719"/>
            </a:xfrm>
            <a:prstGeom prst="rect">
              <a:avLst/>
            </a:prstGeom>
            <a:noFill/>
            <a:ln w="19050">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 name="Group 55">
            <a:extLst>
              <a:ext uri="{FF2B5EF4-FFF2-40B4-BE49-F238E27FC236}">
                <a16:creationId xmlns:a16="http://schemas.microsoft.com/office/drawing/2014/main" id="{FB7603D0-E068-41D6-B202-576D52F4DC6D}"/>
              </a:ext>
            </a:extLst>
          </p:cNvPr>
          <p:cNvGrpSpPr/>
          <p:nvPr/>
        </p:nvGrpSpPr>
        <p:grpSpPr>
          <a:xfrm>
            <a:off x="9287312" y="213929"/>
            <a:ext cx="583548" cy="119064"/>
            <a:chOff x="9252602" y="2936080"/>
            <a:chExt cx="583548" cy="119064"/>
          </a:xfrm>
        </p:grpSpPr>
        <p:grpSp>
          <p:nvGrpSpPr>
            <p:cNvPr id="57" name="Group 56">
              <a:extLst>
                <a:ext uri="{FF2B5EF4-FFF2-40B4-BE49-F238E27FC236}">
                  <a16:creationId xmlns:a16="http://schemas.microsoft.com/office/drawing/2014/main" id="{4BCE1A35-3D88-41C9-B833-0367DAEFC4A1}"/>
                </a:ext>
              </a:extLst>
            </p:cNvPr>
            <p:cNvGrpSpPr/>
            <p:nvPr/>
          </p:nvGrpSpPr>
          <p:grpSpPr>
            <a:xfrm>
              <a:off x="9252602" y="2936080"/>
              <a:ext cx="497972" cy="119064"/>
              <a:chOff x="9453765" y="2960328"/>
              <a:chExt cx="497972" cy="119064"/>
            </a:xfrm>
          </p:grpSpPr>
          <p:sp>
            <p:nvSpPr>
              <p:cNvPr id="60" name="Rectangle 59">
                <a:extLst>
                  <a:ext uri="{FF2B5EF4-FFF2-40B4-BE49-F238E27FC236}">
                    <a16:creationId xmlns:a16="http://schemas.microsoft.com/office/drawing/2014/main" id="{1BAF7911-345A-4335-9D1C-2006B661D680}"/>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1" name="Straight Connector 60">
                <a:extLst>
                  <a:ext uri="{FF2B5EF4-FFF2-40B4-BE49-F238E27FC236}">
                    <a16:creationId xmlns:a16="http://schemas.microsoft.com/office/drawing/2014/main" id="{9881E312-0F1D-4B9D-B4B3-B6A743844AF1}"/>
                  </a:ext>
                </a:extLst>
              </p:cNvPr>
              <p:cNvCxnSpPr>
                <a:cxnSpLocks/>
              </p:cNvCxnSpPr>
              <p:nvPr/>
            </p:nvCxnSpPr>
            <p:spPr bwMode="gray">
              <a:xfrm>
                <a:off x="9639300"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62" name="Straight Connector 61">
                <a:extLst>
                  <a:ext uri="{FF2B5EF4-FFF2-40B4-BE49-F238E27FC236}">
                    <a16:creationId xmlns:a16="http://schemas.microsoft.com/office/drawing/2014/main" id="{86A9BB62-BF17-4D66-9F57-162D7C964431}"/>
                  </a:ext>
                </a:extLst>
              </p:cNvPr>
              <p:cNvCxnSpPr>
                <a:cxnSpLocks/>
              </p:cNvCxnSpPr>
              <p:nvPr/>
            </p:nvCxnSpPr>
            <p:spPr bwMode="gray">
              <a:xfrm>
                <a:off x="9951737"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grpSp>
        <p:sp>
          <p:nvSpPr>
            <p:cNvPr id="58" name="Rectangle 57">
              <a:extLst>
                <a:ext uri="{FF2B5EF4-FFF2-40B4-BE49-F238E27FC236}">
                  <a16:creationId xmlns:a16="http://schemas.microsoft.com/office/drawing/2014/main" id="{08A746DB-B526-4B4E-B138-F793BC1A0AE0}"/>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A4953FE2-D5C5-40F8-A09E-EF00D064AC7C}"/>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 name="Group 62">
            <a:extLst>
              <a:ext uri="{FF2B5EF4-FFF2-40B4-BE49-F238E27FC236}">
                <a16:creationId xmlns:a16="http://schemas.microsoft.com/office/drawing/2014/main" id="{F81D23EC-C7F9-4B78-9402-6DB8F6EE770F}"/>
              </a:ext>
            </a:extLst>
          </p:cNvPr>
          <p:cNvGrpSpPr/>
          <p:nvPr/>
        </p:nvGrpSpPr>
        <p:grpSpPr>
          <a:xfrm>
            <a:off x="10171709" y="213929"/>
            <a:ext cx="583548" cy="119064"/>
            <a:chOff x="9252602" y="2936080"/>
            <a:chExt cx="583548" cy="119064"/>
          </a:xfrm>
        </p:grpSpPr>
        <p:grpSp>
          <p:nvGrpSpPr>
            <p:cNvPr id="64" name="Group 63">
              <a:extLst>
                <a:ext uri="{FF2B5EF4-FFF2-40B4-BE49-F238E27FC236}">
                  <a16:creationId xmlns:a16="http://schemas.microsoft.com/office/drawing/2014/main" id="{14B085D4-DAC7-499E-B575-3AB3E6355D01}"/>
                </a:ext>
              </a:extLst>
            </p:cNvPr>
            <p:cNvGrpSpPr/>
            <p:nvPr/>
          </p:nvGrpSpPr>
          <p:grpSpPr>
            <a:xfrm>
              <a:off x="9252602" y="2936080"/>
              <a:ext cx="497972" cy="119064"/>
              <a:chOff x="9453765" y="2960328"/>
              <a:chExt cx="497972" cy="119064"/>
            </a:xfrm>
          </p:grpSpPr>
          <p:sp>
            <p:nvSpPr>
              <p:cNvPr id="67" name="Rectangle 66">
                <a:extLst>
                  <a:ext uri="{FF2B5EF4-FFF2-40B4-BE49-F238E27FC236}">
                    <a16:creationId xmlns:a16="http://schemas.microsoft.com/office/drawing/2014/main" id="{01EED7BE-84CD-403A-974F-DAE3292A83B2}"/>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8" name="Straight Connector 67">
                <a:extLst>
                  <a:ext uri="{FF2B5EF4-FFF2-40B4-BE49-F238E27FC236}">
                    <a16:creationId xmlns:a16="http://schemas.microsoft.com/office/drawing/2014/main" id="{32057518-4EFE-4CA4-96D2-8508926694FE}"/>
                  </a:ext>
                </a:extLst>
              </p:cNvPr>
              <p:cNvCxnSpPr>
                <a:cxnSpLocks/>
              </p:cNvCxnSpPr>
              <p:nvPr/>
            </p:nvCxnSpPr>
            <p:spPr bwMode="gray">
              <a:xfrm>
                <a:off x="9639300"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cxnSp>
            <p:nvCxnSpPr>
              <p:cNvPr id="69" name="Straight Connector 68">
                <a:extLst>
                  <a:ext uri="{FF2B5EF4-FFF2-40B4-BE49-F238E27FC236}">
                    <a16:creationId xmlns:a16="http://schemas.microsoft.com/office/drawing/2014/main" id="{959CE761-6C63-4DB5-9924-FCDAFA619B38}"/>
                  </a:ext>
                </a:extLst>
              </p:cNvPr>
              <p:cNvCxnSpPr>
                <a:cxnSpLocks/>
              </p:cNvCxnSpPr>
              <p:nvPr/>
            </p:nvCxnSpPr>
            <p:spPr bwMode="gray">
              <a:xfrm>
                <a:off x="9951737"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grpSp>
        <p:sp>
          <p:nvSpPr>
            <p:cNvPr id="65" name="Rectangle 64">
              <a:extLst>
                <a:ext uri="{FF2B5EF4-FFF2-40B4-BE49-F238E27FC236}">
                  <a16:creationId xmlns:a16="http://schemas.microsoft.com/office/drawing/2014/main" id="{0243ABD5-8750-4055-85C0-1772CB202BED}"/>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3EC903E1-9973-47EE-B4FB-239F54251B91}"/>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0" name="Group 69">
            <a:extLst>
              <a:ext uri="{FF2B5EF4-FFF2-40B4-BE49-F238E27FC236}">
                <a16:creationId xmlns:a16="http://schemas.microsoft.com/office/drawing/2014/main" id="{F207948F-4885-45F3-A7C6-AEB4E7F8F1BD}"/>
              </a:ext>
            </a:extLst>
          </p:cNvPr>
          <p:cNvGrpSpPr/>
          <p:nvPr/>
        </p:nvGrpSpPr>
        <p:grpSpPr>
          <a:xfrm>
            <a:off x="10220568" y="181294"/>
            <a:ext cx="102202" cy="194364"/>
            <a:chOff x="11265694" y="3243264"/>
            <a:chExt cx="88106" cy="83344"/>
          </a:xfrm>
        </p:grpSpPr>
        <p:cxnSp>
          <p:nvCxnSpPr>
            <p:cNvPr id="71" name="Straight Connector 70">
              <a:extLst>
                <a:ext uri="{FF2B5EF4-FFF2-40B4-BE49-F238E27FC236}">
                  <a16:creationId xmlns:a16="http://schemas.microsoft.com/office/drawing/2014/main" id="{E105D5D7-AA48-4BB1-A980-9F71D446DDF4}"/>
                </a:ext>
              </a:extLst>
            </p:cNvPr>
            <p:cNvCxnSpPr>
              <a:cxnSpLocks/>
            </p:cNvCxnSpPr>
            <p:nvPr/>
          </p:nvCxnSpPr>
          <p:spPr bwMode="gray">
            <a:xfrm>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72" name="Straight Connector 71">
              <a:extLst>
                <a:ext uri="{FF2B5EF4-FFF2-40B4-BE49-F238E27FC236}">
                  <a16:creationId xmlns:a16="http://schemas.microsoft.com/office/drawing/2014/main" id="{7C1F165D-8E00-499B-AA62-87FA2B9D2D2C}"/>
                </a:ext>
              </a:extLst>
            </p:cNvPr>
            <p:cNvCxnSpPr>
              <a:cxnSpLocks/>
            </p:cNvCxnSpPr>
            <p:nvPr/>
          </p:nvCxnSpPr>
          <p:spPr bwMode="gray">
            <a:xfrm flipV="1">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grpSp>
      <p:grpSp>
        <p:nvGrpSpPr>
          <p:cNvPr id="73" name="Group 72">
            <a:extLst>
              <a:ext uri="{FF2B5EF4-FFF2-40B4-BE49-F238E27FC236}">
                <a16:creationId xmlns:a16="http://schemas.microsoft.com/office/drawing/2014/main" id="{638C283F-1950-4E41-A757-3C2E4D45769D}"/>
              </a:ext>
            </a:extLst>
          </p:cNvPr>
          <p:cNvGrpSpPr/>
          <p:nvPr/>
        </p:nvGrpSpPr>
        <p:grpSpPr>
          <a:xfrm>
            <a:off x="10947419" y="121406"/>
            <a:ext cx="1176925" cy="304109"/>
            <a:chOff x="7530052" y="5001373"/>
            <a:chExt cx="1176925" cy="304109"/>
          </a:xfrm>
        </p:grpSpPr>
        <p:sp>
          <p:nvSpPr>
            <p:cNvPr id="74" name="Rectangle 73">
              <a:extLst>
                <a:ext uri="{FF2B5EF4-FFF2-40B4-BE49-F238E27FC236}">
                  <a16:creationId xmlns:a16="http://schemas.microsoft.com/office/drawing/2014/main" id="{AD5024A2-12C5-4984-8BA2-4D71718CE434}"/>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dirty="0">
                  <a:ln w="0"/>
                  <a:solidFill>
                    <a:schemeClr val="tx1"/>
                  </a:solidFill>
                  <a:effectLst>
                    <a:outerShdw blurRad="38100" dist="19050" dir="2700000" algn="tl" rotWithShape="0">
                      <a:schemeClr val="dk1">
                        <a:alpha val="40000"/>
                      </a:schemeClr>
                    </a:outerShdw>
                  </a:effectLst>
                </a:rPr>
                <a:t>text  》numbers</a:t>
              </a:r>
              <a:endParaRPr lang="en-US" sz="1100" b="0" cap="none" spc="0" dirty="0">
                <a:ln w="0"/>
                <a:solidFill>
                  <a:schemeClr val="tx1"/>
                </a:solidFill>
                <a:effectLst>
                  <a:outerShdw blurRad="38100" dist="19050" dir="2700000" algn="tl" rotWithShape="0">
                    <a:schemeClr val="dk1">
                      <a:alpha val="40000"/>
                    </a:schemeClr>
                  </a:outerShdw>
                </a:effectLst>
              </a:endParaRPr>
            </a:p>
          </p:txBody>
        </p:sp>
        <p:sp>
          <p:nvSpPr>
            <p:cNvPr id="75" name="Flowchart: Connector 74">
              <a:extLst>
                <a:ext uri="{FF2B5EF4-FFF2-40B4-BE49-F238E27FC236}">
                  <a16:creationId xmlns:a16="http://schemas.microsoft.com/office/drawing/2014/main" id="{81FDB6E2-E29E-4907-BACA-FF49321185AA}"/>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lowchart: Connector 75">
              <a:extLst>
                <a:ext uri="{FF2B5EF4-FFF2-40B4-BE49-F238E27FC236}">
                  <a16:creationId xmlns:a16="http://schemas.microsoft.com/office/drawing/2014/main" id="{C42C6D59-42D5-4C7D-BBF4-0784F73C41F2}"/>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77" name="Straight Arrow Connector 76">
            <a:extLst>
              <a:ext uri="{FF2B5EF4-FFF2-40B4-BE49-F238E27FC236}">
                <a16:creationId xmlns:a16="http://schemas.microsoft.com/office/drawing/2014/main" id="{1ED9978C-30FD-42AD-95A7-9E55A00665C9}"/>
              </a:ext>
            </a:extLst>
          </p:cNvPr>
          <p:cNvCxnSpPr>
            <a:cxnSpLocks/>
          </p:cNvCxnSpPr>
          <p:nvPr/>
        </p:nvCxnSpPr>
        <p:spPr bwMode="gray">
          <a:xfrm>
            <a:off x="9058434" y="273461"/>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E81590C2-2161-4CEF-860C-C064FC1F19D0}"/>
              </a:ext>
            </a:extLst>
          </p:cNvPr>
          <p:cNvCxnSpPr>
            <a:cxnSpLocks/>
          </p:cNvCxnSpPr>
          <p:nvPr/>
        </p:nvCxnSpPr>
        <p:spPr bwMode="gray">
          <a:xfrm>
            <a:off x="9928014" y="273461"/>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8B156755-6946-409E-A8E4-8A0F46BD412E}"/>
              </a:ext>
            </a:extLst>
          </p:cNvPr>
          <p:cNvCxnSpPr>
            <a:cxnSpLocks/>
          </p:cNvCxnSpPr>
          <p:nvPr/>
        </p:nvCxnSpPr>
        <p:spPr bwMode="gray">
          <a:xfrm>
            <a:off x="10771065" y="271834"/>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170B65D2-8BBC-4CFB-ACCF-74CF52D1D87C}"/>
              </a:ext>
            </a:extLst>
          </p:cNvPr>
          <p:cNvSpPr/>
          <p:nvPr/>
        </p:nvSpPr>
        <p:spPr bwMode="gray">
          <a:xfrm>
            <a:off x="8753167" y="32034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a:t>
            </a:r>
          </a:p>
        </p:txBody>
      </p:sp>
      <p:sp>
        <p:nvSpPr>
          <p:cNvPr id="81" name="Rectangle 80">
            <a:extLst>
              <a:ext uri="{FF2B5EF4-FFF2-40B4-BE49-F238E27FC236}">
                <a16:creationId xmlns:a16="http://schemas.microsoft.com/office/drawing/2014/main" id="{28E44FFE-5127-4482-BDCA-65FC555DE437}"/>
              </a:ext>
            </a:extLst>
          </p:cNvPr>
          <p:cNvSpPr/>
          <p:nvPr/>
        </p:nvSpPr>
        <p:spPr bwMode="gray">
          <a:xfrm>
            <a:off x="10969753" y="-8203"/>
            <a:ext cx="1220660" cy="596814"/>
          </a:xfrm>
          <a:prstGeom prst="rect">
            <a:avLst/>
          </a:prstGeom>
          <a:solidFill>
            <a:schemeClr val="bg1">
              <a:lumMod val="7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79ABA55E-285B-4B66-9F8F-55E49C904CE8}"/>
              </a:ext>
            </a:extLst>
          </p:cNvPr>
          <p:cNvSpPr/>
          <p:nvPr/>
        </p:nvSpPr>
        <p:spPr bwMode="gray">
          <a:xfrm>
            <a:off x="9764232" y="32034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2</a:t>
            </a:r>
          </a:p>
        </p:txBody>
      </p:sp>
      <p:sp>
        <p:nvSpPr>
          <p:cNvPr id="83" name="Oval 82">
            <a:extLst>
              <a:ext uri="{FF2B5EF4-FFF2-40B4-BE49-F238E27FC236}">
                <a16:creationId xmlns:a16="http://schemas.microsoft.com/office/drawing/2014/main" id="{39C4723F-CD6B-4D7C-BB64-F82742AD40B5}"/>
              </a:ext>
            </a:extLst>
          </p:cNvPr>
          <p:cNvSpPr/>
          <p:nvPr/>
        </p:nvSpPr>
        <p:spPr bwMode="gray">
          <a:xfrm>
            <a:off x="10730064" y="32034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3</a:t>
            </a:r>
          </a:p>
        </p:txBody>
      </p:sp>
    </p:spTree>
    <p:extLst>
      <p:ext uri="{BB962C8B-B14F-4D97-AF65-F5344CB8AC3E}">
        <p14:creationId xmlns:p14="http://schemas.microsoft.com/office/powerpoint/2010/main" val="101343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1">
            <a:extLst>
              <a:ext uri="{FF2B5EF4-FFF2-40B4-BE49-F238E27FC236}">
                <a16:creationId xmlns:a16="http://schemas.microsoft.com/office/drawing/2014/main" id="{D80E3F28-A55B-4499-9B7C-9730F0C3CC6F}"/>
              </a:ext>
            </a:extLst>
          </p:cNvPr>
          <p:cNvSpPr>
            <a:spLocks noGrp="1"/>
          </p:cNvSpPr>
          <p:nvPr>
            <p:ph type="subTitle" idx="13"/>
          </p:nvPr>
        </p:nvSpPr>
        <p:spPr/>
        <p:txBody>
          <a:bodyPr/>
          <a:lstStyle/>
          <a:p>
            <a:endParaRPr lang="en-US"/>
          </a:p>
        </p:txBody>
      </p:sp>
      <p:sp>
        <p:nvSpPr>
          <p:cNvPr id="5" name="Titel 4"/>
          <p:cNvSpPr>
            <a:spLocks noGrp="1"/>
          </p:cNvSpPr>
          <p:nvPr>
            <p:ph type="title"/>
          </p:nvPr>
        </p:nvSpPr>
        <p:spPr bwMode="gray"/>
        <p:txBody>
          <a:bodyPr vert="horz" lIns="0" tIns="0" rIns="0" bIns="0" rtlCol="0" anchor="b">
            <a:normAutofit/>
          </a:bodyPr>
          <a:lstStyle/>
          <a:p>
            <a:r>
              <a:rPr lang="en-US"/>
              <a:t>Semantic representation: </a:t>
            </a:r>
            <a:r>
              <a:rPr lang="en-US" altLang="zh-CN"/>
              <a:t>transfer text into numbers</a:t>
            </a:r>
            <a:endParaRPr lang="en-US"/>
          </a:p>
        </p:txBody>
      </p:sp>
      <p:sp>
        <p:nvSpPr>
          <p:cNvPr id="8" name="Footer Placeholder 7"/>
          <p:cNvSpPr>
            <a:spLocks noGrp="1"/>
          </p:cNvSpPr>
          <p:nvPr>
            <p:ph type="ftr" sz="quarter" idx="11"/>
          </p:nvPr>
        </p:nvSpPr>
        <p:spPr bwMode="gray">
          <a:xfrm>
            <a:off x="1717622"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938793"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12</a:t>
            </a:fld>
            <a:endParaRPr lang="en-US">
              <a:solidFill>
                <a:srgbClr val="443247"/>
              </a:solidFill>
            </a:endParaRPr>
          </a:p>
        </p:txBody>
      </p:sp>
      <p:graphicFrame>
        <p:nvGraphicFramePr>
          <p:cNvPr id="29" name="Table 3">
            <a:extLst>
              <a:ext uri="{FF2B5EF4-FFF2-40B4-BE49-F238E27FC236}">
                <a16:creationId xmlns:a16="http://schemas.microsoft.com/office/drawing/2014/main" id="{AC3C25A1-633D-468E-AEF9-F85D9BBC7668}"/>
              </a:ext>
            </a:extLst>
          </p:cNvPr>
          <p:cNvGraphicFramePr>
            <a:graphicFrameLocks noGrp="1"/>
          </p:cNvGraphicFramePr>
          <p:nvPr>
            <p:extLst>
              <p:ext uri="{D42A27DB-BD31-4B8C-83A1-F6EECF244321}">
                <p14:modId xmlns:p14="http://schemas.microsoft.com/office/powerpoint/2010/main" val="4163903254"/>
              </p:ext>
            </p:extLst>
          </p:nvPr>
        </p:nvGraphicFramePr>
        <p:xfrm>
          <a:off x="1847823" y="2192989"/>
          <a:ext cx="1330686" cy="3017388"/>
        </p:xfrm>
        <a:graphic>
          <a:graphicData uri="http://schemas.openxmlformats.org/drawingml/2006/table">
            <a:tbl>
              <a:tblPr bandRow="1">
                <a:tableStyleId>{7E9639D4-E3E2-4D34-9284-5A2195B3D0D7}</a:tableStyleId>
              </a:tblPr>
              <a:tblGrid>
                <a:gridCol w="1330686">
                  <a:extLst>
                    <a:ext uri="{9D8B030D-6E8A-4147-A177-3AD203B41FA5}">
                      <a16:colId xmlns:a16="http://schemas.microsoft.com/office/drawing/2014/main" val="209644703"/>
                    </a:ext>
                  </a:extLst>
                </a:gridCol>
              </a:tblGrid>
              <a:tr h="274284">
                <a:tc>
                  <a:txBody>
                    <a:bodyPr/>
                    <a:lstStyle/>
                    <a:p>
                      <a:pPr algn="ctr"/>
                      <a:r>
                        <a:rPr lang="zh-CN" altLang="en-US" sz="1200"/>
                        <a:t>目的</a:t>
                      </a:r>
                      <a:endParaRPr lang="en-US" sz="1200"/>
                    </a:p>
                  </a:txBody>
                  <a:tcPr marL="91428" marR="91428" marT="45714" marB="45714"/>
                </a:tc>
                <a:extLst>
                  <a:ext uri="{0D108BD9-81ED-4DB2-BD59-A6C34878D82A}">
                    <a16:rowId xmlns:a16="http://schemas.microsoft.com/office/drawing/2014/main" val="939006580"/>
                  </a:ext>
                </a:extLst>
              </a:tr>
              <a:tr h="274284">
                <a:tc>
                  <a:txBody>
                    <a:bodyPr/>
                    <a:lstStyle/>
                    <a:p>
                      <a:pPr algn="ctr"/>
                      <a:r>
                        <a:rPr lang="zh-CN" altLang="en-US" sz="1200"/>
                        <a:t>评价</a:t>
                      </a:r>
                      <a:endParaRPr lang="en-US" sz="1200"/>
                    </a:p>
                  </a:txBody>
                  <a:tcPr marL="91428" marR="91428" marT="45714" marB="45714"/>
                </a:tc>
                <a:extLst>
                  <a:ext uri="{0D108BD9-81ED-4DB2-BD59-A6C34878D82A}">
                    <a16:rowId xmlns:a16="http://schemas.microsoft.com/office/drawing/2014/main" val="417594047"/>
                  </a:ext>
                </a:extLst>
              </a:tr>
              <a:tr h="274284">
                <a:tc>
                  <a:txBody>
                    <a:bodyPr/>
                    <a:lstStyle/>
                    <a:p>
                      <a:pPr algn="ctr"/>
                      <a:r>
                        <a:rPr lang="zh-CN" altLang="en-US" sz="1200"/>
                        <a:t>地诺孕素</a:t>
                      </a:r>
                      <a:endParaRPr lang="en-US" sz="1200"/>
                    </a:p>
                  </a:txBody>
                  <a:tcPr marL="91428" marR="91428" marT="45714" marB="45714"/>
                </a:tc>
                <a:extLst>
                  <a:ext uri="{0D108BD9-81ED-4DB2-BD59-A6C34878D82A}">
                    <a16:rowId xmlns:a16="http://schemas.microsoft.com/office/drawing/2014/main" val="949254293"/>
                  </a:ext>
                </a:extLst>
              </a:tr>
              <a:tr h="274284">
                <a:tc>
                  <a:txBody>
                    <a:bodyPr/>
                    <a:lstStyle/>
                    <a:p>
                      <a:pPr algn="ctr"/>
                      <a:r>
                        <a:rPr lang="en-US" sz="1200"/>
                        <a:t>DNG</a:t>
                      </a:r>
                    </a:p>
                  </a:txBody>
                  <a:tcPr marL="91428" marR="91428" marT="45714" marB="45714"/>
                </a:tc>
                <a:extLst>
                  <a:ext uri="{0D108BD9-81ED-4DB2-BD59-A6C34878D82A}">
                    <a16:rowId xmlns:a16="http://schemas.microsoft.com/office/drawing/2014/main" val="1190618164"/>
                  </a:ext>
                </a:extLst>
              </a:tr>
              <a:tr h="274284">
                <a:tc>
                  <a:txBody>
                    <a:bodyPr/>
                    <a:lstStyle/>
                    <a:p>
                      <a:pPr algn="ctr"/>
                      <a:r>
                        <a:rPr lang="zh-CN" altLang="en-US" sz="1200"/>
                        <a:t>难治性</a:t>
                      </a:r>
                      <a:endParaRPr lang="en-US" sz="1200"/>
                    </a:p>
                  </a:txBody>
                  <a:tcPr marL="91428" marR="91428" marT="45714" marB="45714"/>
                </a:tc>
                <a:extLst>
                  <a:ext uri="{0D108BD9-81ED-4DB2-BD59-A6C34878D82A}">
                    <a16:rowId xmlns:a16="http://schemas.microsoft.com/office/drawing/2014/main" val="1740961047"/>
                  </a:ext>
                </a:extLst>
              </a:tr>
              <a:tr h="274284">
                <a:tc>
                  <a:txBody>
                    <a:bodyPr/>
                    <a:lstStyle/>
                    <a:p>
                      <a:pPr algn="ctr"/>
                      <a:r>
                        <a:rPr lang="zh-CN" altLang="en-US" sz="1200"/>
                        <a:t>子宫内膜异位症</a:t>
                      </a:r>
                      <a:endParaRPr lang="en-US" sz="1200"/>
                    </a:p>
                  </a:txBody>
                  <a:tcPr marL="91428" marR="91428" marT="45714" marB="45714"/>
                </a:tc>
                <a:extLst>
                  <a:ext uri="{0D108BD9-81ED-4DB2-BD59-A6C34878D82A}">
                    <a16:rowId xmlns:a16="http://schemas.microsoft.com/office/drawing/2014/main" val="4009392884"/>
                  </a:ext>
                </a:extLst>
              </a:tr>
              <a:tr h="274284">
                <a:tc>
                  <a:txBody>
                    <a:bodyPr/>
                    <a:lstStyle/>
                    <a:p>
                      <a:pPr algn="ctr"/>
                      <a:r>
                        <a:rPr lang="zh-CN" altLang="en-US" sz="1200"/>
                        <a:t>内异症</a:t>
                      </a:r>
                      <a:endParaRPr lang="en-US" sz="1200"/>
                    </a:p>
                  </a:txBody>
                  <a:tcPr marL="91428" marR="91428" marT="45714" marB="45714"/>
                </a:tc>
                <a:extLst>
                  <a:ext uri="{0D108BD9-81ED-4DB2-BD59-A6C34878D82A}">
                    <a16:rowId xmlns:a16="http://schemas.microsoft.com/office/drawing/2014/main" val="2733372880"/>
                  </a:ext>
                </a:extLst>
              </a:tr>
              <a:tr h="274284">
                <a:tc>
                  <a:txBody>
                    <a:bodyPr/>
                    <a:lstStyle/>
                    <a:p>
                      <a:pPr algn="ctr"/>
                      <a:r>
                        <a:rPr lang="zh-CN" altLang="en-US" sz="1200"/>
                        <a:t>疼痛</a:t>
                      </a:r>
                      <a:endParaRPr lang="en-US" sz="1200"/>
                    </a:p>
                  </a:txBody>
                  <a:tcPr marL="91428" marR="91428" marT="45714" marB="45714"/>
                </a:tc>
                <a:extLst>
                  <a:ext uri="{0D108BD9-81ED-4DB2-BD59-A6C34878D82A}">
                    <a16:rowId xmlns:a16="http://schemas.microsoft.com/office/drawing/2014/main" val="2155363146"/>
                  </a:ext>
                </a:extLst>
              </a:tr>
              <a:tr h="274284">
                <a:tc>
                  <a:txBody>
                    <a:bodyPr/>
                    <a:lstStyle/>
                    <a:p>
                      <a:pPr algn="ctr"/>
                      <a:r>
                        <a:rPr lang="zh-CN" altLang="en-US" sz="1200"/>
                        <a:t>临床</a:t>
                      </a:r>
                      <a:endParaRPr lang="en-US" sz="1200"/>
                    </a:p>
                  </a:txBody>
                  <a:tcPr marL="91428" marR="91428" marT="45714" marB="45714"/>
                </a:tc>
                <a:extLst>
                  <a:ext uri="{0D108BD9-81ED-4DB2-BD59-A6C34878D82A}">
                    <a16:rowId xmlns:a16="http://schemas.microsoft.com/office/drawing/2014/main" val="615231188"/>
                  </a:ext>
                </a:extLst>
              </a:tr>
              <a:tr h="274284">
                <a:tc>
                  <a:txBody>
                    <a:bodyPr/>
                    <a:lstStyle/>
                    <a:p>
                      <a:pPr algn="ctr"/>
                      <a:r>
                        <a:rPr lang="zh-CN" altLang="en-US" sz="1200"/>
                        <a:t>疗效</a:t>
                      </a:r>
                      <a:endParaRPr lang="en-US" sz="1200"/>
                    </a:p>
                  </a:txBody>
                  <a:tcPr marL="91428" marR="91428" marT="45714" marB="45714"/>
                </a:tc>
                <a:extLst>
                  <a:ext uri="{0D108BD9-81ED-4DB2-BD59-A6C34878D82A}">
                    <a16:rowId xmlns:a16="http://schemas.microsoft.com/office/drawing/2014/main" val="1157345881"/>
                  </a:ext>
                </a:extLst>
              </a:tr>
              <a:tr h="274284">
                <a:tc>
                  <a:txBody>
                    <a:bodyPr/>
                    <a:lstStyle/>
                    <a:p>
                      <a:pPr algn="ctr"/>
                      <a:r>
                        <a:rPr lang="zh-CN" altLang="en-US" sz="1200"/>
                        <a:t>安全性</a:t>
                      </a:r>
                      <a:endParaRPr lang="en-US" sz="1200"/>
                    </a:p>
                  </a:txBody>
                  <a:tcPr marL="91428" marR="91428" marT="45714" marB="45714"/>
                </a:tc>
                <a:extLst>
                  <a:ext uri="{0D108BD9-81ED-4DB2-BD59-A6C34878D82A}">
                    <a16:rowId xmlns:a16="http://schemas.microsoft.com/office/drawing/2014/main" val="3986667901"/>
                  </a:ext>
                </a:extLst>
              </a:tr>
            </a:tbl>
          </a:graphicData>
        </a:graphic>
      </p:graphicFrame>
      <p:grpSp>
        <p:nvGrpSpPr>
          <p:cNvPr id="10" name="Group 9">
            <a:extLst>
              <a:ext uri="{FF2B5EF4-FFF2-40B4-BE49-F238E27FC236}">
                <a16:creationId xmlns:a16="http://schemas.microsoft.com/office/drawing/2014/main" id="{4EE4C35E-5C95-4294-83AE-6C7213748ED0}"/>
              </a:ext>
            </a:extLst>
          </p:cNvPr>
          <p:cNvGrpSpPr/>
          <p:nvPr/>
        </p:nvGrpSpPr>
        <p:grpSpPr>
          <a:xfrm>
            <a:off x="6443329" y="2053634"/>
            <a:ext cx="1244458" cy="926979"/>
            <a:chOff x="5689580" y="3060700"/>
            <a:chExt cx="2159000" cy="1854200"/>
          </a:xfrm>
        </p:grpSpPr>
        <p:grpSp>
          <p:nvGrpSpPr>
            <p:cNvPr id="11" name="Group 10">
              <a:extLst>
                <a:ext uri="{FF2B5EF4-FFF2-40B4-BE49-F238E27FC236}">
                  <a16:creationId xmlns:a16="http://schemas.microsoft.com/office/drawing/2014/main" id="{0C6AEA55-810C-42A9-85DE-AA171274B41F}"/>
                </a:ext>
              </a:extLst>
            </p:cNvPr>
            <p:cNvGrpSpPr/>
            <p:nvPr/>
          </p:nvGrpSpPr>
          <p:grpSpPr>
            <a:xfrm>
              <a:off x="5689580" y="3060700"/>
              <a:ext cx="2159000" cy="1854200"/>
              <a:chOff x="5016500" y="3073400"/>
              <a:chExt cx="2159000" cy="1854200"/>
            </a:xfrm>
          </p:grpSpPr>
          <p:pic>
            <p:nvPicPr>
              <p:cNvPr id="13" name="Picture 8" descr="Computer Icon In Flat Style Black Desktop Isolated On White Background  Stock Illustration - Download Image Now - iStock">
                <a:extLst>
                  <a:ext uri="{FF2B5EF4-FFF2-40B4-BE49-F238E27FC236}">
                    <a16:creationId xmlns:a16="http://schemas.microsoft.com/office/drawing/2014/main" id="{8A1FC60B-4E1B-4C1B-A2EF-25C27AA8F0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622" t="19578" r="20946" b="18733"/>
              <a:stretch/>
            </p:blipFill>
            <p:spPr bwMode="auto">
              <a:xfrm>
                <a:off x="5016500" y="3073400"/>
                <a:ext cx="2159000" cy="18542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B7A6E523-7B4B-407A-81DB-F6313CE1DD3B}"/>
                  </a:ext>
                </a:extLst>
              </p:cNvPr>
              <p:cNvPicPr>
                <a:picLocks noChangeAspect="1"/>
              </p:cNvPicPr>
              <p:nvPr/>
            </p:nvPicPr>
            <p:blipFill>
              <a:blip r:embed="rId4"/>
              <a:stretch>
                <a:fillRect/>
              </a:stretch>
            </p:blipFill>
            <p:spPr>
              <a:xfrm>
                <a:off x="5722098" y="3429000"/>
                <a:ext cx="747803" cy="705417"/>
              </a:xfrm>
              <a:prstGeom prst="rect">
                <a:avLst/>
              </a:prstGeom>
            </p:spPr>
          </p:pic>
        </p:grpSp>
        <p:sp>
          <p:nvSpPr>
            <p:cNvPr id="12" name="Flowchart: Process 11">
              <a:extLst>
                <a:ext uri="{FF2B5EF4-FFF2-40B4-BE49-F238E27FC236}">
                  <a16:creationId xmlns:a16="http://schemas.microsoft.com/office/drawing/2014/main" id="{AAADE0D7-0F7E-47AD-9184-AB7D0608B60D}"/>
                </a:ext>
              </a:extLst>
            </p:cNvPr>
            <p:cNvSpPr/>
            <p:nvPr/>
          </p:nvSpPr>
          <p:spPr bwMode="gray">
            <a:xfrm>
              <a:off x="6510213" y="3704410"/>
              <a:ext cx="494648" cy="169400"/>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a:solidFill>
                    <a:schemeClr val="accent2"/>
                  </a:solidFill>
                  <a:latin typeface="Arial" panose="020B0604020202020204" pitchFamily="34" charset="0"/>
                </a:rPr>
                <a:t>NLP</a:t>
              </a:r>
            </a:p>
          </p:txBody>
        </p:sp>
      </p:grpSp>
      <p:cxnSp>
        <p:nvCxnSpPr>
          <p:cNvPr id="28" name="Connector: Elbow 27">
            <a:extLst>
              <a:ext uri="{FF2B5EF4-FFF2-40B4-BE49-F238E27FC236}">
                <a16:creationId xmlns:a16="http://schemas.microsoft.com/office/drawing/2014/main" id="{12FF4A4B-4F3D-4058-B2F4-93A9268FBB98}"/>
              </a:ext>
            </a:extLst>
          </p:cNvPr>
          <p:cNvCxnSpPr>
            <a:cxnSpLocks/>
            <a:stCxn id="29" idx="3"/>
            <a:endCxn id="13" idx="1"/>
          </p:cNvCxnSpPr>
          <p:nvPr/>
        </p:nvCxnSpPr>
        <p:spPr bwMode="gray">
          <a:xfrm flipV="1">
            <a:off x="3178509" y="2517124"/>
            <a:ext cx="3264820" cy="1184559"/>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6B5E96D2-F293-4F08-835F-DE8CED96E8BF}"/>
              </a:ext>
            </a:extLst>
          </p:cNvPr>
          <p:cNvCxnSpPr>
            <a:cxnSpLocks/>
            <a:stCxn id="29" idx="3"/>
            <a:endCxn id="45" idx="1"/>
          </p:cNvCxnSpPr>
          <p:nvPr/>
        </p:nvCxnSpPr>
        <p:spPr bwMode="gray">
          <a:xfrm>
            <a:off x="3178509" y="3701683"/>
            <a:ext cx="2985420" cy="1052352"/>
          </a:xfrm>
          <a:prstGeom prst="bentConnector3">
            <a:avLst>
              <a:gd name="adj1" fmla="val 54254"/>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1C9692A9-DE70-4270-B654-B51B52B10F01}"/>
              </a:ext>
            </a:extLst>
          </p:cNvPr>
          <p:cNvGrpSpPr/>
          <p:nvPr/>
        </p:nvGrpSpPr>
        <p:grpSpPr>
          <a:xfrm>
            <a:off x="6163929" y="4297693"/>
            <a:ext cx="1244458" cy="912684"/>
            <a:chOff x="5689580" y="3060700"/>
            <a:chExt cx="2159000" cy="1854200"/>
          </a:xfrm>
        </p:grpSpPr>
        <p:grpSp>
          <p:nvGrpSpPr>
            <p:cNvPr id="43" name="Group 42">
              <a:extLst>
                <a:ext uri="{FF2B5EF4-FFF2-40B4-BE49-F238E27FC236}">
                  <a16:creationId xmlns:a16="http://schemas.microsoft.com/office/drawing/2014/main" id="{2827A410-6B20-45A2-809A-509A9916C1BA}"/>
                </a:ext>
              </a:extLst>
            </p:cNvPr>
            <p:cNvGrpSpPr/>
            <p:nvPr/>
          </p:nvGrpSpPr>
          <p:grpSpPr>
            <a:xfrm>
              <a:off x="5689580" y="3060700"/>
              <a:ext cx="2159000" cy="1854200"/>
              <a:chOff x="5016500" y="3073400"/>
              <a:chExt cx="2159000" cy="1854200"/>
            </a:xfrm>
          </p:grpSpPr>
          <p:pic>
            <p:nvPicPr>
              <p:cNvPr id="45" name="Picture 8" descr="Computer Icon In Flat Style Black Desktop Isolated On White Background  Stock Illustration - Download Image Now - iStock">
                <a:extLst>
                  <a:ext uri="{FF2B5EF4-FFF2-40B4-BE49-F238E27FC236}">
                    <a16:creationId xmlns:a16="http://schemas.microsoft.com/office/drawing/2014/main" id="{E851E3F5-5C39-4031-A914-62926DEF47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622" t="19578" r="20946" b="18733"/>
              <a:stretch/>
            </p:blipFill>
            <p:spPr bwMode="auto">
              <a:xfrm>
                <a:off x="5016500" y="3073400"/>
                <a:ext cx="2159000" cy="185420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5091A6F1-0A4A-47C6-BF1B-E934B4027E8C}"/>
                  </a:ext>
                </a:extLst>
              </p:cNvPr>
              <p:cNvPicPr>
                <a:picLocks noChangeAspect="1"/>
              </p:cNvPicPr>
              <p:nvPr/>
            </p:nvPicPr>
            <p:blipFill>
              <a:blip r:embed="rId4"/>
              <a:stretch>
                <a:fillRect/>
              </a:stretch>
            </p:blipFill>
            <p:spPr>
              <a:xfrm>
                <a:off x="5722098" y="3429000"/>
                <a:ext cx="747803" cy="705417"/>
              </a:xfrm>
              <a:prstGeom prst="rect">
                <a:avLst/>
              </a:prstGeom>
            </p:spPr>
          </p:pic>
        </p:grpSp>
        <p:sp>
          <p:nvSpPr>
            <p:cNvPr id="44" name="Flowchart: Process 43">
              <a:extLst>
                <a:ext uri="{FF2B5EF4-FFF2-40B4-BE49-F238E27FC236}">
                  <a16:creationId xmlns:a16="http://schemas.microsoft.com/office/drawing/2014/main" id="{AD9E42E9-D6D2-49D6-BC8B-F9C2CABD4190}"/>
                </a:ext>
              </a:extLst>
            </p:cNvPr>
            <p:cNvSpPr/>
            <p:nvPr/>
          </p:nvSpPr>
          <p:spPr bwMode="gray">
            <a:xfrm>
              <a:off x="6510213" y="3704410"/>
              <a:ext cx="494648" cy="169400"/>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a:solidFill>
                    <a:schemeClr val="accent2"/>
                  </a:solidFill>
                  <a:latin typeface="Arial" panose="020B0604020202020204" pitchFamily="34" charset="0"/>
                </a:rPr>
                <a:t>NLP</a:t>
              </a:r>
            </a:p>
          </p:txBody>
        </p:sp>
      </p:grpSp>
      <p:sp>
        <p:nvSpPr>
          <p:cNvPr id="41" name="Freeform: Shape 40">
            <a:extLst>
              <a:ext uri="{FF2B5EF4-FFF2-40B4-BE49-F238E27FC236}">
                <a16:creationId xmlns:a16="http://schemas.microsoft.com/office/drawing/2014/main" id="{43A00D06-008A-4A7E-A814-DAAC39479991}"/>
              </a:ext>
            </a:extLst>
          </p:cNvPr>
          <p:cNvSpPr/>
          <p:nvPr/>
        </p:nvSpPr>
        <p:spPr bwMode="gray">
          <a:xfrm>
            <a:off x="6560469" y="1946951"/>
            <a:ext cx="1095557" cy="1026368"/>
          </a:xfrm>
          <a:custGeom>
            <a:avLst/>
            <a:gdLst>
              <a:gd name="connsiteX0" fmla="*/ 814812 w 2381061"/>
              <a:gd name="connsiteY0" fmla="*/ 506994 h 1439501"/>
              <a:gd name="connsiteX1" fmla="*/ 896293 w 2381061"/>
              <a:gd name="connsiteY1" fmla="*/ 516047 h 1439501"/>
              <a:gd name="connsiteX2" fmla="*/ 995881 w 2381061"/>
              <a:gd name="connsiteY2" fmla="*/ 552261 h 1439501"/>
              <a:gd name="connsiteX3" fmla="*/ 1023041 w 2381061"/>
              <a:gd name="connsiteY3" fmla="*/ 579421 h 1439501"/>
              <a:gd name="connsiteX4" fmla="*/ 1095469 w 2381061"/>
              <a:gd name="connsiteY4" fmla="*/ 606582 h 1439501"/>
              <a:gd name="connsiteX5" fmla="*/ 1176950 w 2381061"/>
              <a:gd name="connsiteY5" fmla="*/ 706170 h 1439501"/>
              <a:gd name="connsiteX6" fmla="*/ 1195057 w 2381061"/>
              <a:gd name="connsiteY6" fmla="*/ 769544 h 1439501"/>
              <a:gd name="connsiteX7" fmla="*/ 1195057 w 2381061"/>
              <a:gd name="connsiteY7" fmla="*/ 1050202 h 1439501"/>
              <a:gd name="connsiteX8" fmla="*/ 1158843 w 2381061"/>
              <a:gd name="connsiteY8" fmla="*/ 1059255 h 1439501"/>
              <a:gd name="connsiteX9" fmla="*/ 1131683 w 2381061"/>
              <a:gd name="connsiteY9" fmla="*/ 1068309 h 1439501"/>
              <a:gd name="connsiteX10" fmla="*/ 1041148 w 2381061"/>
              <a:gd name="connsiteY10" fmla="*/ 1050202 h 1439501"/>
              <a:gd name="connsiteX11" fmla="*/ 986828 w 2381061"/>
              <a:gd name="connsiteY11" fmla="*/ 959667 h 1439501"/>
              <a:gd name="connsiteX12" fmla="*/ 950614 w 2381061"/>
              <a:gd name="connsiteY12" fmla="*/ 896293 h 1439501"/>
              <a:gd name="connsiteX13" fmla="*/ 914400 w 2381061"/>
              <a:gd name="connsiteY13" fmla="*/ 769544 h 1439501"/>
              <a:gd name="connsiteX14" fmla="*/ 923453 w 2381061"/>
              <a:gd name="connsiteY14" fmla="*/ 570368 h 1439501"/>
              <a:gd name="connsiteX15" fmla="*/ 950614 w 2381061"/>
              <a:gd name="connsiteY15" fmla="*/ 552261 h 1439501"/>
              <a:gd name="connsiteX16" fmla="*/ 1004934 w 2381061"/>
              <a:gd name="connsiteY16" fmla="*/ 561315 h 1439501"/>
              <a:gd name="connsiteX17" fmla="*/ 1068309 w 2381061"/>
              <a:gd name="connsiteY17" fmla="*/ 615635 h 1439501"/>
              <a:gd name="connsiteX18" fmla="*/ 1095469 w 2381061"/>
              <a:gd name="connsiteY18" fmla="*/ 633742 h 1439501"/>
              <a:gd name="connsiteX19" fmla="*/ 1131683 w 2381061"/>
              <a:gd name="connsiteY19" fmla="*/ 715223 h 1439501"/>
              <a:gd name="connsiteX20" fmla="*/ 1122629 w 2381061"/>
              <a:gd name="connsiteY20" fmla="*/ 832918 h 1439501"/>
              <a:gd name="connsiteX21" fmla="*/ 1086416 w 2381061"/>
              <a:gd name="connsiteY21" fmla="*/ 869132 h 1439501"/>
              <a:gd name="connsiteX22" fmla="*/ 1032095 w 2381061"/>
              <a:gd name="connsiteY22" fmla="*/ 905346 h 1439501"/>
              <a:gd name="connsiteX23" fmla="*/ 1004934 w 2381061"/>
              <a:gd name="connsiteY23" fmla="*/ 923453 h 1439501"/>
              <a:gd name="connsiteX24" fmla="*/ 959667 w 2381061"/>
              <a:gd name="connsiteY24" fmla="*/ 932507 h 1439501"/>
              <a:gd name="connsiteX25" fmla="*/ 724277 w 2381061"/>
              <a:gd name="connsiteY25" fmla="*/ 887239 h 1439501"/>
              <a:gd name="connsiteX26" fmla="*/ 715224 w 2381061"/>
              <a:gd name="connsiteY26" fmla="*/ 860079 h 1439501"/>
              <a:gd name="connsiteX27" fmla="*/ 733330 w 2381061"/>
              <a:gd name="connsiteY27" fmla="*/ 688063 h 1439501"/>
              <a:gd name="connsiteX28" fmla="*/ 832919 w 2381061"/>
              <a:gd name="connsiteY28" fmla="*/ 597528 h 1439501"/>
              <a:gd name="connsiteX29" fmla="*/ 860079 w 2381061"/>
              <a:gd name="connsiteY29" fmla="*/ 579421 h 1439501"/>
              <a:gd name="connsiteX30" fmla="*/ 905346 w 2381061"/>
              <a:gd name="connsiteY30" fmla="*/ 570368 h 1439501"/>
              <a:gd name="connsiteX31" fmla="*/ 932507 w 2381061"/>
              <a:gd name="connsiteY31" fmla="*/ 561315 h 1439501"/>
              <a:gd name="connsiteX32" fmla="*/ 959667 w 2381061"/>
              <a:gd name="connsiteY32" fmla="*/ 588475 h 1439501"/>
              <a:gd name="connsiteX33" fmla="*/ 968721 w 2381061"/>
              <a:gd name="connsiteY33" fmla="*/ 624689 h 1439501"/>
              <a:gd name="connsiteX34" fmla="*/ 959667 w 2381061"/>
              <a:gd name="connsiteY34" fmla="*/ 660903 h 1439501"/>
              <a:gd name="connsiteX35" fmla="*/ 932507 w 2381061"/>
              <a:gd name="connsiteY35" fmla="*/ 697116 h 1439501"/>
              <a:gd name="connsiteX36" fmla="*/ 841972 w 2381061"/>
              <a:gd name="connsiteY36" fmla="*/ 742384 h 1439501"/>
              <a:gd name="connsiteX37" fmla="*/ 760491 w 2381061"/>
              <a:gd name="connsiteY37" fmla="*/ 760491 h 1439501"/>
              <a:gd name="connsiteX38" fmla="*/ 669956 w 2381061"/>
              <a:gd name="connsiteY38" fmla="*/ 769544 h 1439501"/>
              <a:gd name="connsiteX39" fmla="*/ 561315 w 2381061"/>
              <a:gd name="connsiteY39" fmla="*/ 787651 h 1439501"/>
              <a:gd name="connsiteX40" fmla="*/ 362138 w 2381061"/>
              <a:gd name="connsiteY40" fmla="*/ 796705 h 1439501"/>
              <a:gd name="connsiteX41" fmla="*/ 235390 w 2381061"/>
              <a:gd name="connsiteY41" fmla="*/ 760491 h 1439501"/>
              <a:gd name="connsiteX42" fmla="*/ 280657 w 2381061"/>
              <a:gd name="connsiteY42" fmla="*/ 669956 h 1439501"/>
              <a:gd name="connsiteX43" fmla="*/ 334978 w 2381061"/>
              <a:gd name="connsiteY43" fmla="*/ 615635 h 1439501"/>
              <a:gd name="connsiteX44" fmla="*/ 380245 w 2381061"/>
              <a:gd name="connsiteY44" fmla="*/ 597528 h 1439501"/>
              <a:gd name="connsiteX45" fmla="*/ 416459 w 2381061"/>
              <a:gd name="connsiteY45" fmla="*/ 579421 h 1439501"/>
              <a:gd name="connsiteX46" fmla="*/ 461727 w 2381061"/>
              <a:gd name="connsiteY46" fmla="*/ 570368 h 1439501"/>
              <a:gd name="connsiteX47" fmla="*/ 579422 w 2381061"/>
              <a:gd name="connsiteY47" fmla="*/ 588475 h 1439501"/>
              <a:gd name="connsiteX48" fmla="*/ 606582 w 2381061"/>
              <a:gd name="connsiteY48" fmla="*/ 606582 h 1439501"/>
              <a:gd name="connsiteX49" fmla="*/ 669956 w 2381061"/>
              <a:gd name="connsiteY49" fmla="*/ 688063 h 1439501"/>
              <a:gd name="connsiteX50" fmla="*/ 724277 w 2381061"/>
              <a:gd name="connsiteY50" fmla="*/ 778598 h 1439501"/>
              <a:gd name="connsiteX51" fmla="*/ 742384 w 2381061"/>
              <a:gd name="connsiteY51" fmla="*/ 832918 h 1439501"/>
              <a:gd name="connsiteX52" fmla="*/ 760491 w 2381061"/>
              <a:gd name="connsiteY52" fmla="*/ 869132 h 1439501"/>
              <a:gd name="connsiteX53" fmla="*/ 778598 w 2381061"/>
              <a:gd name="connsiteY53" fmla="*/ 923453 h 1439501"/>
              <a:gd name="connsiteX54" fmla="*/ 796705 w 2381061"/>
              <a:gd name="connsiteY54" fmla="*/ 968720 h 1439501"/>
              <a:gd name="connsiteX55" fmla="*/ 805758 w 2381061"/>
              <a:gd name="connsiteY55" fmla="*/ 1004934 h 1439501"/>
              <a:gd name="connsiteX56" fmla="*/ 814812 w 2381061"/>
              <a:gd name="connsiteY56" fmla="*/ 1050202 h 1439501"/>
              <a:gd name="connsiteX57" fmla="*/ 832919 w 2381061"/>
              <a:gd name="connsiteY57" fmla="*/ 1077362 h 1439501"/>
              <a:gd name="connsiteX58" fmla="*/ 905346 w 2381061"/>
              <a:gd name="connsiteY58" fmla="*/ 1013988 h 1439501"/>
              <a:gd name="connsiteX59" fmla="*/ 1068309 w 2381061"/>
              <a:gd name="connsiteY59" fmla="*/ 860079 h 1439501"/>
              <a:gd name="connsiteX60" fmla="*/ 1348966 w 2381061"/>
              <a:gd name="connsiteY60" fmla="*/ 679010 h 1439501"/>
              <a:gd name="connsiteX61" fmla="*/ 1502875 w 2381061"/>
              <a:gd name="connsiteY61" fmla="*/ 597528 h 1439501"/>
              <a:gd name="connsiteX62" fmla="*/ 1511928 w 2381061"/>
              <a:gd name="connsiteY62" fmla="*/ 570368 h 1439501"/>
              <a:gd name="connsiteX63" fmla="*/ 1448554 w 2381061"/>
              <a:gd name="connsiteY63" fmla="*/ 516047 h 1439501"/>
              <a:gd name="connsiteX64" fmla="*/ 1086416 w 2381061"/>
              <a:gd name="connsiteY64" fmla="*/ 389299 h 1439501"/>
              <a:gd name="connsiteX65" fmla="*/ 896293 w 2381061"/>
              <a:gd name="connsiteY65" fmla="*/ 362138 h 1439501"/>
              <a:gd name="connsiteX66" fmla="*/ 778598 w 2381061"/>
              <a:gd name="connsiteY66" fmla="*/ 334978 h 1439501"/>
              <a:gd name="connsiteX67" fmla="*/ 506994 w 2381061"/>
              <a:gd name="connsiteY67" fmla="*/ 344031 h 1439501"/>
              <a:gd name="connsiteX68" fmla="*/ 516047 w 2381061"/>
              <a:gd name="connsiteY68" fmla="*/ 461726 h 1439501"/>
              <a:gd name="connsiteX69" fmla="*/ 534154 w 2381061"/>
              <a:gd name="connsiteY69" fmla="*/ 506994 h 1439501"/>
              <a:gd name="connsiteX70" fmla="*/ 579422 w 2381061"/>
              <a:gd name="connsiteY70" fmla="*/ 615635 h 1439501"/>
              <a:gd name="connsiteX71" fmla="*/ 606582 w 2381061"/>
              <a:gd name="connsiteY71" fmla="*/ 660903 h 1439501"/>
              <a:gd name="connsiteX72" fmla="*/ 633742 w 2381061"/>
              <a:gd name="connsiteY72" fmla="*/ 715223 h 1439501"/>
              <a:gd name="connsiteX73" fmla="*/ 733330 w 2381061"/>
              <a:gd name="connsiteY73" fmla="*/ 841972 h 1439501"/>
              <a:gd name="connsiteX74" fmla="*/ 778598 w 2381061"/>
              <a:gd name="connsiteY74" fmla="*/ 896293 h 1439501"/>
              <a:gd name="connsiteX75" fmla="*/ 841972 w 2381061"/>
              <a:gd name="connsiteY75" fmla="*/ 941560 h 1439501"/>
              <a:gd name="connsiteX76" fmla="*/ 905346 w 2381061"/>
              <a:gd name="connsiteY76" fmla="*/ 995881 h 1439501"/>
              <a:gd name="connsiteX77" fmla="*/ 1059255 w 2381061"/>
              <a:gd name="connsiteY77" fmla="*/ 1059255 h 1439501"/>
              <a:gd name="connsiteX78" fmla="*/ 1167897 w 2381061"/>
              <a:gd name="connsiteY78" fmla="*/ 1086416 h 1439501"/>
              <a:gd name="connsiteX79" fmla="*/ 1258431 w 2381061"/>
              <a:gd name="connsiteY79" fmla="*/ 1068309 h 1439501"/>
              <a:gd name="connsiteX80" fmla="*/ 1294645 w 2381061"/>
              <a:gd name="connsiteY80" fmla="*/ 941560 h 1439501"/>
              <a:gd name="connsiteX81" fmla="*/ 1276538 w 2381061"/>
              <a:gd name="connsiteY81" fmla="*/ 841972 h 1439501"/>
              <a:gd name="connsiteX82" fmla="*/ 1204111 w 2381061"/>
              <a:gd name="connsiteY82" fmla="*/ 769544 h 1439501"/>
              <a:gd name="connsiteX83" fmla="*/ 1140736 w 2381061"/>
              <a:gd name="connsiteY83" fmla="*/ 733330 h 1439501"/>
              <a:gd name="connsiteX84" fmla="*/ 995881 w 2381061"/>
              <a:gd name="connsiteY84" fmla="*/ 688063 h 1439501"/>
              <a:gd name="connsiteX85" fmla="*/ 923453 w 2381061"/>
              <a:gd name="connsiteY85" fmla="*/ 679010 h 1439501"/>
              <a:gd name="connsiteX86" fmla="*/ 869132 w 2381061"/>
              <a:gd name="connsiteY86" fmla="*/ 669956 h 1439501"/>
              <a:gd name="connsiteX87" fmla="*/ 733330 w 2381061"/>
              <a:gd name="connsiteY87" fmla="*/ 706170 h 1439501"/>
              <a:gd name="connsiteX88" fmla="*/ 715224 w 2381061"/>
              <a:gd name="connsiteY88" fmla="*/ 733330 h 1439501"/>
              <a:gd name="connsiteX89" fmla="*/ 688063 w 2381061"/>
              <a:gd name="connsiteY89" fmla="*/ 959667 h 1439501"/>
              <a:gd name="connsiteX90" fmla="*/ 697117 w 2381061"/>
              <a:gd name="connsiteY90" fmla="*/ 1158843 h 1439501"/>
              <a:gd name="connsiteX91" fmla="*/ 706170 w 2381061"/>
              <a:gd name="connsiteY91" fmla="*/ 1204111 h 1439501"/>
              <a:gd name="connsiteX92" fmla="*/ 724277 w 2381061"/>
              <a:gd name="connsiteY92" fmla="*/ 1240324 h 1439501"/>
              <a:gd name="connsiteX93" fmla="*/ 787651 w 2381061"/>
              <a:gd name="connsiteY93" fmla="*/ 1303699 h 1439501"/>
              <a:gd name="connsiteX94" fmla="*/ 832919 w 2381061"/>
              <a:gd name="connsiteY94" fmla="*/ 1312752 h 1439501"/>
              <a:gd name="connsiteX95" fmla="*/ 1068309 w 2381061"/>
              <a:gd name="connsiteY95" fmla="*/ 1276538 h 1439501"/>
              <a:gd name="connsiteX96" fmla="*/ 1204111 w 2381061"/>
              <a:gd name="connsiteY96" fmla="*/ 1176950 h 1439501"/>
              <a:gd name="connsiteX97" fmla="*/ 1249378 w 2381061"/>
              <a:gd name="connsiteY97" fmla="*/ 1140736 h 1439501"/>
              <a:gd name="connsiteX98" fmla="*/ 1330859 w 2381061"/>
              <a:gd name="connsiteY98" fmla="*/ 1013988 h 1439501"/>
              <a:gd name="connsiteX99" fmla="*/ 1330859 w 2381061"/>
              <a:gd name="connsiteY99" fmla="*/ 851025 h 1439501"/>
              <a:gd name="connsiteX100" fmla="*/ 1303699 w 2381061"/>
              <a:gd name="connsiteY100" fmla="*/ 805758 h 1439501"/>
              <a:gd name="connsiteX101" fmla="*/ 1158843 w 2381061"/>
              <a:gd name="connsiteY101" fmla="*/ 697116 h 1439501"/>
              <a:gd name="connsiteX102" fmla="*/ 986828 w 2381061"/>
              <a:gd name="connsiteY102" fmla="*/ 624689 h 1439501"/>
              <a:gd name="connsiteX103" fmla="*/ 706170 w 2381061"/>
              <a:gd name="connsiteY103" fmla="*/ 579421 h 1439501"/>
              <a:gd name="connsiteX104" fmla="*/ 470780 w 2381061"/>
              <a:gd name="connsiteY104" fmla="*/ 597528 h 1439501"/>
              <a:gd name="connsiteX105" fmla="*/ 443620 w 2381061"/>
              <a:gd name="connsiteY105" fmla="*/ 633742 h 1439501"/>
              <a:gd name="connsiteX106" fmla="*/ 425513 w 2381061"/>
              <a:gd name="connsiteY106" fmla="*/ 724277 h 1439501"/>
              <a:gd name="connsiteX107" fmla="*/ 434566 w 2381061"/>
              <a:gd name="connsiteY107" fmla="*/ 986827 h 1439501"/>
              <a:gd name="connsiteX108" fmla="*/ 461727 w 2381061"/>
              <a:gd name="connsiteY108" fmla="*/ 1041148 h 1439501"/>
              <a:gd name="connsiteX109" fmla="*/ 534154 w 2381061"/>
              <a:gd name="connsiteY109" fmla="*/ 1140736 h 1439501"/>
              <a:gd name="connsiteX110" fmla="*/ 588475 w 2381061"/>
              <a:gd name="connsiteY110" fmla="*/ 1176950 h 1439501"/>
              <a:gd name="connsiteX111" fmla="*/ 679010 w 2381061"/>
              <a:gd name="connsiteY111" fmla="*/ 1213164 h 1439501"/>
              <a:gd name="connsiteX112" fmla="*/ 851026 w 2381061"/>
              <a:gd name="connsiteY112" fmla="*/ 1249378 h 1439501"/>
              <a:gd name="connsiteX113" fmla="*/ 1249378 w 2381061"/>
              <a:gd name="connsiteY113" fmla="*/ 1204111 h 1439501"/>
              <a:gd name="connsiteX114" fmla="*/ 1385180 w 2381061"/>
              <a:gd name="connsiteY114" fmla="*/ 1095469 h 1439501"/>
              <a:gd name="connsiteX115" fmla="*/ 1412340 w 2381061"/>
              <a:gd name="connsiteY115" fmla="*/ 977774 h 1439501"/>
              <a:gd name="connsiteX116" fmla="*/ 1394233 w 2381061"/>
              <a:gd name="connsiteY116" fmla="*/ 905346 h 1439501"/>
              <a:gd name="connsiteX117" fmla="*/ 1358020 w 2381061"/>
              <a:gd name="connsiteY117" fmla="*/ 878186 h 1439501"/>
              <a:gd name="connsiteX118" fmla="*/ 1222218 w 2381061"/>
              <a:gd name="connsiteY118" fmla="*/ 832918 h 1439501"/>
              <a:gd name="connsiteX119" fmla="*/ 950614 w 2381061"/>
              <a:gd name="connsiteY119" fmla="*/ 860079 h 1439501"/>
              <a:gd name="connsiteX120" fmla="*/ 923453 w 2381061"/>
              <a:gd name="connsiteY120" fmla="*/ 887239 h 1439501"/>
              <a:gd name="connsiteX121" fmla="*/ 869132 w 2381061"/>
              <a:gd name="connsiteY121" fmla="*/ 995881 h 1439501"/>
              <a:gd name="connsiteX122" fmla="*/ 823865 w 2381061"/>
              <a:gd name="connsiteY122" fmla="*/ 1095469 h 1439501"/>
              <a:gd name="connsiteX123" fmla="*/ 805758 w 2381061"/>
              <a:gd name="connsiteY123" fmla="*/ 1131683 h 1439501"/>
              <a:gd name="connsiteX124" fmla="*/ 760491 w 2381061"/>
              <a:gd name="connsiteY124" fmla="*/ 1195057 h 1439501"/>
              <a:gd name="connsiteX125" fmla="*/ 669956 w 2381061"/>
              <a:gd name="connsiteY125" fmla="*/ 1149790 h 1439501"/>
              <a:gd name="connsiteX126" fmla="*/ 706170 w 2381061"/>
              <a:gd name="connsiteY126" fmla="*/ 1113576 h 1439501"/>
              <a:gd name="connsiteX127" fmla="*/ 787651 w 2381061"/>
              <a:gd name="connsiteY127" fmla="*/ 1023041 h 1439501"/>
              <a:gd name="connsiteX128" fmla="*/ 841972 w 2381061"/>
              <a:gd name="connsiteY128" fmla="*/ 968720 h 1439501"/>
              <a:gd name="connsiteX129" fmla="*/ 995881 w 2381061"/>
              <a:gd name="connsiteY129" fmla="*/ 869132 h 1439501"/>
              <a:gd name="connsiteX130" fmla="*/ 1059255 w 2381061"/>
              <a:gd name="connsiteY130" fmla="*/ 832918 h 1439501"/>
              <a:gd name="connsiteX131" fmla="*/ 1231271 w 2381061"/>
              <a:gd name="connsiteY131" fmla="*/ 787651 h 1439501"/>
              <a:gd name="connsiteX132" fmla="*/ 1321806 w 2381061"/>
              <a:gd name="connsiteY132" fmla="*/ 778598 h 1439501"/>
              <a:gd name="connsiteX133" fmla="*/ 1439501 w 2381061"/>
              <a:gd name="connsiteY133" fmla="*/ 805758 h 1439501"/>
              <a:gd name="connsiteX134" fmla="*/ 1385180 w 2381061"/>
              <a:gd name="connsiteY134" fmla="*/ 932507 h 1439501"/>
              <a:gd name="connsiteX135" fmla="*/ 1204111 w 2381061"/>
              <a:gd name="connsiteY135" fmla="*/ 1158843 h 1439501"/>
              <a:gd name="connsiteX136" fmla="*/ 1149790 w 2381061"/>
              <a:gd name="connsiteY136" fmla="*/ 1231271 h 1439501"/>
              <a:gd name="connsiteX137" fmla="*/ 1095469 w 2381061"/>
              <a:gd name="connsiteY137" fmla="*/ 1276538 h 1439501"/>
              <a:gd name="connsiteX138" fmla="*/ 959667 w 2381061"/>
              <a:gd name="connsiteY138" fmla="*/ 1348966 h 1439501"/>
              <a:gd name="connsiteX139" fmla="*/ 950614 w 2381061"/>
              <a:gd name="connsiteY139" fmla="*/ 941560 h 1439501"/>
              <a:gd name="connsiteX140" fmla="*/ 1004934 w 2381061"/>
              <a:gd name="connsiteY140" fmla="*/ 760491 h 1439501"/>
              <a:gd name="connsiteX141" fmla="*/ 1041148 w 2381061"/>
              <a:gd name="connsiteY141" fmla="*/ 706170 h 1439501"/>
              <a:gd name="connsiteX142" fmla="*/ 1041148 w 2381061"/>
              <a:gd name="connsiteY142" fmla="*/ 1004934 h 1439501"/>
              <a:gd name="connsiteX143" fmla="*/ 1023041 w 2381061"/>
              <a:gd name="connsiteY143" fmla="*/ 1050202 h 1439501"/>
              <a:gd name="connsiteX144" fmla="*/ 1013988 w 2381061"/>
              <a:gd name="connsiteY144" fmla="*/ 1077362 h 1439501"/>
              <a:gd name="connsiteX145" fmla="*/ 986828 w 2381061"/>
              <a:gd name="connsiteY145" fmla="*/ 1104522 h 1439501"/>
              <a:gd name="connsiteX146" fmla="*/ 805758 w 2381061"/>
              <a:gd name="connsiteY146" fmla="*/ 1004934 h 1439501"/>
              <a:gd name="connsiteX147" fmla="*/ 697117 w 2381061"/>
              <a:gd name="connsiteY147" fmla="*/ 950614 h 1439501"/>
              <a:gd name="connsiteX148" fmla="*/ 570368 w 2381061"/>
              <a:gd name="connsiteY148" fmla="*/ 869132 h 1439501"/>
              <a:gd name="connsiteX149" fmla="*/ 425513 w 2381061"/>
              <a:gd name="connsiteY149" fmla="*/ 796705 h 1439501"/>
              <a:gd name="connsiteX150" fmla="*/ 226336 w 2381061"/>
              <a:gd name="connsiteY150" fmla="*/ 660903 h 1439501"/>
              <a:gd name="connsiteX151" fmla="*/ 153909 w 2381061"/>
              <a:gd name="connsiteY151" fmla="*/ 588475 h 1439501"/>
              <a:gd name="connsiteX152" fmla="*/ 253497 w 2381061"/>
              <a:gd name="connsiteY152" fmla="*/ 579421 h 1439501"/>
              <a:gd name="connsiteX153" fmla="*/ 479833 w 2381061"/>
              <a:gd name="connsiteY153" fmla="*/ 651849 h 1439501"/>
              <a:gd name="connsiteX154" fmla="*/ 642796 w 2381061"/>
              <a:gd name="connsiteY154" fmla="*/ 688063 h 1439501"/>
              <a:gd name="connsiteX155" fmla="*/ 787651 w 2381061"/>
              <a:gd name="connsiteY155" fmla="*/ 724277 h 1439501"/>
              <a:gd name="connsiteX156" fmla="*/ 950614 w 2381061"/>
              <a:gd name="connsiteY156" fmla="*/ 742384 h 1439501"/>
              <a:gd name="connsiteX157" fmla="*/ 1113576 w 2381061"/>
              <a:gd name="connsiteY157" fmla="*/ 769544 h 1439501"/>
              <a:gd name="connsiteX158" fmla="*/ 1367073 w 2381061"/>
              <a:gd name="connsiteY158" fmla="*/ 796705 h 1439501"/>
              <a:gd name="connsiteX159" fmla="*/ 1457608 w 2381061"/>
              <a:gd name="connsiteY159" fmla="*/ 814812 h 1439501"/>
              <a:gd name="connsiteX160" fmla="*/ 1385180 w 2381061"/>
              <a:gd name="connsiteY160" fmla="*/ 769544 h 1439501"/>
              <a:gd name="connsiteX161" fmla="*/ 1267485 w 2381061"/>
              <a:gd name="connsiteY161" fmla="*/ 733330 h 1439501"/>
              <a:gd name="connsiteX162" fmla="*/ 1095469 w 2381061"/>
              <a:gd name="connsiteY162" fmla="*/ 715223 h 1439501"/>
              <a:gd name="connsiteX163" fmla="*/ 669956 w 2381061"/>
              <a:gd name="connsiteY163" fmla="*/ 651849 h 1439501"/>
              <a:gd name="connsiteX164" fmla="*/ 497940 w 2381061"/>
              <a:gd name="connsiteY164" fmla="*/ 615635 h 1439501"/>
              <a:gd name="connsiteX165" fmla="*/ 235390 w 2381061"/>
              <a:gd name="connsiteY165" fmla="*/ 588475 h 1439501"/>
              <a:gd name="connsiteX166" fmla="*/ 135802 w 2381061"/>
              <a:gd name="connsiteY166" fmla="*/ 570368 h 1439501"/>
              <a:gd name="connsiteX167" fmla="*/ 27160 w 2381061"/>
              <a:gd name="connsiteY167" fmla="*/ 543208 h 1439501"/>
              <a:gd name="connsiteX168" fmla="*/ 45267 w 2381061"/>
              <a:gd name="connsiteY168" fmla="*/ 497940 h 1439501"/>
              <a:gd name="connsiteX169" fmla="*/ 181069 w 2381061"/>
              <a:gd name="connsiteY169" fmla="*/ 443619 h 1439501"/>
              <a:gd name="connsiteX170" fmla="*/ 334978 w 2381061"/>
              <a:gd name="connsiteY170" fmla="*/ 416459 h 1439501"/>
              <a:gd name="connsiteX171" fmla="*/ 434566 w 2381061"/>
              <a:gd name="connsiteY171" fmla="*/ 398352 h 1439501"/>
              <a:gd name="connsiteX172" fmla="*/ 1023041 w 2381061"/>
              <a:gd name="connsiteY172" fmla="*/ 443619 h 1439501"/>
              <a:gd name="connsiteX173" fmla="*/ 1421394 w 2381061"/>
              <a:gd name="connsiteY173" fmla="*/ 570368 h 1439501"/>
              <a:gd name="connsiteX174" fmla="*/ 1548142 w 2381061"/>
              <a:gd name="connsiteY174" fmla="*/ 606582 h 1439501"/>
              <a:gd name="connsiteX175" fmla="*/ 1665837 w 2381061"/>
              <a:gd name="connsiteY175" fmla="*/ 660903 h 1439501"/>
              <a:gd name="connsiteX176" fmla="*/ 1656784 w 2381061"/>
              <a:gd name="connsiteY176" fmla="*/ 697116 h 1439501"/>
              <a:gd name="connsiteX177" fmla="*/ 1421394 w 2381061"/>
              <a:gd name="connsiteY177" fmla="*/ 878186 h 1439501"/>
              <a:gd name="connsiteX178" fmla="*/ 1231271 w 2381061"/>
              <a:gd name="connsiteY178" fmla="*/ 968720 h 1439501"/>
              <a:gd name="connsiteX179" fmla="*/ 1149790 w 2381061"/>
              <a:gd name="connsiteY179" fmla="*/ 1004934 h 1439501"/>
              <a:gd name="connsiteX180" fmla="*/ 1095469 w 2381061"/>
              <a:gd name="connsiteY180" fmla="*/ 1041148 h 1439501"/>
              <a:gd name="connsiteX181" fmla="*/ 1050202 w 2381061"/>
              <a:gd name="connsiteY181" fmla="*/ 1050202 h 1439501"/>
              <a:gd name="connsiteX182" fmla="*/ 1023041 w 2381061"/>
              <a:gd name="connsiteY182" fmla="*/ 1059255 h 1439501"/>
              <a:gd name="connsiteX183" fmla="*/ 1004934 w 2381061"/>
              <a:gd name="connsiteY183" fmla="*/ 986827 h 1439501"/>
              <a:gd name="connsiteX184" fmla="*/ 1050202 w 2381061"/>
              <a:gd name="connsiteY184" fmla="*/ 760491 h 1439501"/>
              <a:gd name="connsiteX185" fmla="*/ 1095469 w 2381061"/>
              <a:gd name="connsiteY185" fmla="*/ 660903 h 1439501"/>
              <a:gd name="connsiteX186" fmla="*/ 1131683 w 2381061"/>
              <a:gd name="connsiteY186" fmla="*/ 561315 h 1439501"/>
              <a:gd name="connsiteX187" fmla="*/ 1186004 w 2381061"/>
              <a:gd name="connsiteY187" fmla="*/ 470780 h 1439501"/>
              <a:gd name="connsiteX188" fmla="*/ 1231271 w 2381061"/>
              <a:gd name="connsiteY188" fmla="*/ 371192 h 1439501"/>
              <a:gd name="connsiteX189" fmla="*/ 1276538 w 2381061"/>
              <a:gd name="connsiteY189" fmla="*/ 298764 h 1439501"/>
              <a:gd name="connsiteX190" fmla="*/ 1412340 w 2381061"/>
              <a:gd name="connsiteY190" fmla="*/ 117695 h 1439501"/>
              <a:gd name="connsiteX191" fmla="*/ 1439501 w 2381061"/>
              <a:gd name="connsiteY191" fmla="*/ 90534 h 1439501"/>
              <a:gd name="connsiteX192" fmla="*/ 1403287 w 2381061"/>
              <a:gd name="connsiteY192" fmla="*/ 217283 h 1439501"/>
              <a:gd name="connsiteX193" fmla="*/ 1330859 w 2381061"/>
              <a:gd name="connsiteY193" fmla="*/ 362138 h 1439501"/>
              <a:gd name="connsiteX194" fmla="*/ 1303699 w 2381061"/>
              <a:gd name="connsiteY194" fmla="*/ 443619 h 1439501"/>
              <a:gd name="connsiteX195" fmla="*/ 1249378 w 2381061"/>
              <a:gd name="connsiteY195" fmla="*/ 516047 h 1439501"/>
              <a:gd name="connsiteX196" fmla="*/ 1195057 w 2381061"/>
              <a:gd name="connsiteY196" fmla="*/ 597528 h 1439501"/>
              <a:gd name="connsiteX197" fmla="*/ 1131683 w 2381061"/>
              <a:gd name="connsiteY197" fmla="*/ 660903 h 1439501"/>
              <a:gd name="connsiteX198" fmla="*/ 1086416 w 2381061"/>
              <a:gd name="connsiteY198" fmla="*/ 733330 h 1439501"/>
              <a:gd name="connsiteX199" fmla="*/ 1041148 w 2381061"/>
              <a:gd name="connsiteY199" fmla="*/ 769544 h 1439501"/>
              <a:gd name="connsiteX200" fmla="*/ 986828 w 2381061"/>
              <a:gd name="connsiteY200" fmla="*/ 841972 h 1439501"/>
              <a:gd name="connsiteX201" fmla="*/ 1023041 w 2381061"/>
              <a:gd name="connsiteY201" fmla="*/ 706170 h 1439501"/>
              <a:gd name="connsiteX202" fmla="*/ 1077362 w 2381061"/>
              <a:gd name="connsiteY202" fmla="*/ 624689 h 1439501"/>
              <a:gd name="connsiteX203" fmla="*/ 1122629 w 2381061"/>
              <a:gd name="connsiteY203" fmla="*/ 534154 h 1439501"/>
              <a:gd name="connsiteX204" fmla="*/ 1186004 w 2381061"/>
              <a:gd name="connsiteY204" fmla="*/ 443619 h 1439501"/>
              <a:gd name="connsiteX205" fmla="*/ 1231271 w 2381061"/>
              <a:gd name="connsiteY205" fmla="*/ 344031 h 1439501"/>
              <a:gd name="connsiteX206" fmla="*/ 1294645 w 2381061"/>
              <a:gd name="connsiteY206" fmla="*/ 244443 h 1439501"/>
              <a:gd name="connsiteX207" fmla="*/ 1394233 w 2381061"/>
              <a:gd name="connsiteY207" fmla="*/ 63374 h 1439501"/>
              <a:gd name="connsiteX208" fmla="*/ 1448554 w 2381061"/>
              <a:gd name="connsiteY208" fmla="*/ 0 h 1439501"/>
              <a:gd name="connsiteX209" fmla="*/ 1394233 w 2381061"/>
              <a:gd name="connsiteY209" fmla="*/ 199176 h 1439501"/>
              <a:gd name="connsiteX210" fmla="*/ 1158843 w 2381061"/>
              <a:gd name="connsiteY210" fmla="*/ 724277 h 1439501"/>
              <a:gd name="connsiteX211" fmla="*/ 959667 w 2381061"/>
              <a:gd name="connsiteY211" fmla="*/ 1104522 h 1439501"/>
              <a:gd name="connsiteX212" fmla="*/ 796705 w 2381061"/>
              <a:gd name="connsiteY212" fmla="*/ 1348966 h 1439501"/>
              <a:gd name="connsiteX213" fmla="*/ 724277 w 2381061"/>
              <a:gd name="connsiteY213" fmla="*/ 1439501 h 1439501"/>
              <a:gd name="connsiteX214" fmla="*/ 688063 w 2381061"/>
              <a:gd name="connsiteY214" fmla="*/ 1385180 h 1439501"/>
              <a:gd name="connsiteX215" fmla="*/ 660903 w 2381061"/>
              <a:gd name="connsiteY215" fmla="*/ 1294645 h 1439501"/>
              <a:gd name="connsiteX216" fmla="*/ 624689 w 2381061"/>
              <a:gd name="connsiteY216" fmla="*/ 1186004 h 1439501"/>
              <a:gd name="connsiteX217" fmla="*/ 497940 w 2381061"/>
              <a:gd name="connsiteY217" fmla="*/ 923453 h 1439501"/>
              <a:gd name="connsiteX218" fmla="*/ 434566 w 2381061"/>
              <a:gd name="connsiteY218" fmla="*/ 787651 h 1439501"/>
              <a:gd name="connsiteX219" fmla="*/ 344031 w 2381061"/>
              <a:gd name="connsiteY219" fmla="*/ 642796 h 1439501"/>
              <a:gd name="connsiteX220" fmla="*/ 280657 w 2381061"/>
              <a:gd name="connsiteY220" fmla="*/ 506994 h 1439501"/>
              <a:gd name="connsiteX221" fmla="*/ 226336 w 2381061"/>
              <a:gd name="connsiteY221" fmla="*/ 407406 h 1439501"/>
              <a:gd name="connsiteX222" fmla="*/ 208229 w 2381061"/>
              <a:gd name="connsiteY222" fmla="*/ 325924 h 1439501"/>
              <a:gd name="connsiteX223" fmla="*/ 199176 w 2381061"/>
              <a:gd name="connsiteY223" fmla="*/ 298764 h 1439501"/>
              <a:gd name="connsiteX224" fmla="*/ 253497 w 2381061"/>
              <a:gd name="connsiteY224" fmla="*/ 325924 h 1439501"/>
              <a:gd name="connsiteX225" fmla="*/ 316871 w 2381061"/>
              <a:gd name="connsiteY225" fmla="*/ 398352 h 1439501"/>
              <a:gd name="connsiteX226" fmla="*/ 516047 w 2381061"/>
              <a:gd name="connsiteY226" fmla="*/ 588475 h 1439501"/>
              <a:gd name="connsiteX227" fmla="*/ 851026 w 2381061"/>
              <a:gd name="connsiteY227" fmla="*/ 832918 h 1439501"/>
              <a:gd name="connsiteX228" fmla="*/ 1041148 w 2381061"/>
              <a:gd name="connsiteY228" fmla="*/ 941560 h 1439501"/>
              <a:gd name="connsiteX229" fmla="*/ 1167897 w 2381061"/>
              <a:gd name="connsiteY229" fmla="*/ 1023041 h 1439501"/>
              <a:gd name="connsiteX230" fmla="*/ 1249378 w 2381061"/>
              <a:gd name="connsiteY230" fmla="*/ 1059255 h 1439501"/>
              <a:gd name="connsiteX231" fmla="*/ 1294645 w 2381061"/>
              <a:gd name="connsiteY231" fmla="*/ 1086416 h 1439501"/>
              <a:gd name="connsiteX232" fmla="*/ 1240325 w 2381061"/>
              <a:gd name="connsiteY232" fmla="*/ 1050202 h 1439501"/>
              <a:gd name="connsiteX233" fmla="*/ 1167897 w 2381061"/>
              <a:gd name="connsiteY233" fmla="*/ 977774 h 1439501"/>
              <a:gd name="connsiteX234" fmla="*/ 669956 w 2381061"/>
              <a:gd name="connsiteY234" fmla="*/ 642796 h 1439501"/>
              <a:gd name="connsiteX235" fmla="*/ 235390 w 2381061"/>
              <a:gd name="connsiteY235" fmla="*/ 380245 h 1439501"/>
              <a:gd name="connsiteX236" fmla="*/ 0 w 2381061"/>
              <a:gd name="connsiteY236" fmla="*/ 244443 h 1439501"/>
              <a:gd name="connsiteX237" fmla="*/ 27160 w 2381061"/>
              <a:gd name="connsiteY237" fmla="*/ 235390 h 1439501"/>
              <a:gd name="connsiteX238" fmla="*/ 950614 w 2381061"/>
              <a:gd name="connsiteY238" fmla="*/ 344031 h 1439501"/>
              <a:gd name="connsiteX239" fmla="*/ 1702051 w 2381061"/>
              <a:gd name="connsiteY239" fmla="*/ 470780 h 1439501"/>
              <a:gd name="connsiteX240" fmla="*/ 2009869 w 2381061"/>
              <a:gd name="connsiteY240" fmla="*/ 534154 h 1439501"/>
              <a:gd name="connsiteX241" fmla="*/ 2381061 w 2381061"/>
              <a:gd name="connsiteY241" fmla="*/ 633742 h 1439501"/>
              <a:gd name="connsiteX242" fmla="*/ 2362954 w 2381061"/>
              <a:gd name="connsiteY242" fmla="*/ 715223 h 1439501"/>
              <a:gd name="connsiteX243" fmla="*/ 2326740 w 2381061"/>
              <a:gd name="connsiteY243" fmla="*/ 751437 h 1439501"/>
              <a:gd name="connsiteX244" fmla="*/ 2236206 w 2381061"/>
              <a:gd name="connsiteY244" fmla="*/ 851025 h 1439501"/>
              <a:gd name="connsiteX245" fmla="*/ 2046083 w 2381061"/>
              <a:gd name="connsiteY245" fmla="*/ 959667 h 1439501"/>
              <a:gd name="connsiteX246" fmla="*/ 1874067 w 2381061"/>
              <a:gd name="connsiteY246" fmla="*/ 1023041 h 1439501"/>
              <a:gd name="connsiteX247" fmla="*/ 1656784 w 2381061"/>
              <a:gd name="connsiteY247" fmla="*/ 1050202 h 1439501"/>
              <a:gd name="connsiteX248" fmla="*/ 1249378 w 2381061"/>
              <a:gd name="connsiteY248" fmla="*/ 1032095 h 1439501"/>
              <a:gd name="connsiteX249" fmla="*/ 1131683 w 2381061"/>
              <a:gd name="connsiteY249" fmla="*/ 1004934 h 1439501"/>
              <a:gd name="connsiteX250" fmla="*/ 1041148 w 2381061"/>
              <a:gd name="connsiteY250" fmla="*/ 995881 h 1439501"/>
              <a:gd name="connsiteX251" fmla="*/ 995881 w 2381061"/>
              <a:gd name="connsiteY251" fmla="*/ 986827 h 1439501"/>
              <a:gd name="connsiteX252" fmla="*/ 968721 w 2381061"/>
              <a:gd name="connsiteY252" fmla="*/ 977774 h 1439501"/>
              <a:gd name="connsiteX253" fmla="*/ 1004934 w 2381061"/>
              <a:gd name="connsiteY253" fmla="*/ 959667 h 1439501"/>
              <a:gd name="connsiteX254" fmla="*/ 1041148 w 2381061"/>
              <a:gd name="connsiteY254" fmla="*/ 932507 h 1439501"/>
              <a:gd name="connsiteX255" fmla="*/ 1095469 w 2381061"/>
              <a:gd name="connsiteY255" fmla="*/ 905346 h 1439501"/>
              <a:gd name="connsiteX256" fmla="*/ 1140736 w 2381061"/>
              <a:gd name="connsiteY256" fmla="*/ 878186 h 1439501"/>
              <a:gd name="connsiteX257" fmla="*/ 1186004 w 2381061"/>
              <a:gd name="connsiteY257" fmla="*/ 860079 h 1439501"/>
              <a:gd name="connsiteX258" fmla="*/ 1240325 w 2381061"/>
              <a:gd name="connsiteY258" fmla="*/ 823865 h 1439501"/>
              <a:gd name="connsiteX259" fmla="*/ 235390 w 2381061"/>
              <a:gd name="connsiteY259" fmla="*/ 787651 h 1439501"/>
              <a:gd name="connsiteX260" fmla="*/ 108641 w 2381061"/>
              <a:gd name="connsiteY260" fmla="*/ 760491 h 1439501"/>
              <a:gd name="connsiteX261" fmla="*/ 126748 w 2381061"/>
              <a:gd name="connsiteY261" fmla="*/ 724277 h 1439501"/>
              <a:gd name="connsiteX262" fmla="*/ 470780 w 2381061"/>
              <a:gd name="connsiteY262" fmla="*/ 606582 h 1439501"/>
              <a:gd name="connsiteX263" fmla="*/ 679010 w 2381061"/>
              <a:gd name="connsiteY263" fmla="*/ 579421 h 1439501"/>
              <a:gd name="connsiteX264" fmla="*/ 914400 w 2381061"/>
              <a:gd name="connsiteY264" fmla="*/ 552261 h 1439501"/>
              <a:gd name="connsiteX265" fmla="*/ 1167897 w 2381061"/>
              <a:gd name="connsiteY265" fmla="*/ 543208 h 1439501"/>
              <a:gd name="connsiteX266" fmla="*/ 1593410 w 2381061"/>
              <a:gd name="connsiteY266" fmla="*/ 525101 h 1439501"/>
              <a:gd name="connsiteX267" fmla="*/ 1792586 w 2381061"/>
              <a:gd name="connsiteY267" fmla="*/ 543208 h 1439501"/>
              <a:gd name="connsiteX268" fmla="*/ 1774479 w 2381061"/>
              <a:gd name="connsiteY268" fmla="*/ 588475 h 1439501"/>
              <a:gd name="connsiteX269" fmla="*/ 1720158 w 2381061"/>
              <a:gd name="connsiteY269" fmla="*/ 660903 h 1439501"/>
              <a:gd name="connsiteX270" fmla="*/ 1674891 w 2381061"/>
              <a:gd name="connsiteY270" fmla="*/ 733330 h 1439501"/>
              <a:gd name="connsiteX271" fmla="*/ 1520982 w 2381061"/>
              <a:gd name="connsiteY271" fmla="*/ 869132 h 1439501"/>
              <a:gd name="connsiteX272" fmla="*/ 1367073 w 2381061"/>
              <a:gd name="connsiteY272" fmla="*/ 986827 h 1439501"/>
              <a:gd name="connsiteX273" fmla="*/ 1231271 w 2381061"/>
              <a:gd name="connsiteY273" fmla="*/ 1041148 h 1439501"/>
              <a:gd name="connsiteX274" fmla="*/ 1186004 w 2381061"/>
              <a:gd name="connsiteY274" fmla="*/ 1059255 h 1439501"/>
              <a:gd name="connsiteX275" fmla="*/ 1158843 w 2381061"/>
              <a:gd name="connsiteY275" fmla="*/ 1068309 h 1439501"/>
              <a:gd name="connsiteX276" fmla="*/ 1167897 w 2381061"/>
              <a:gd name="connsiteY276" fmla="*/ 597528 h 1439501"/>
              <a:gd name="connsiteX277" fmla="*/ 1222218 w 2381061"/>
              <a:gd name="connsiteY277" fmla="*/ 452673 h 1439501"/>
              <a:gd name="connsiteX278" fmla="*/ 1258431 w 2381061"/>
              <a:gd name="connsiteY278" fmla="*/ 389299 h 1439501"/>
              <a:gd name="connsiteX279" fmla="*/ 1285592 w 2381061"/>
              <a:gd name="connsiteY279" fmla="*/ 325924 h 1439501"/>
              <a:gd name="connsiteX280" fmla="*/ 1321806 w 2381061"/>
              <a:gd name="connsiteY280" fmla="*/ 280657 h 1439501"/>
              <a:gd name="connsiteX281" fmla="*/ 1339913 w 2381061"/>
              <a:gd name="connsiteY281" fmla="*/ 253497 h 1439501"/>
              <a:gd name="connsiteX282" fmla="*/ 1321806 w 2381061"/>
              <a:gd name="connsiteY282" fmla="*/ 362138 h 1439501"/>
              <a:gd name="connsiteX283" fmla="*/ 1276538 w 2381061"/>
              <a:gd name="connsiteY283" fmla="*/ 497940 h 1439501"/>
              <a:gd name="connsiteX284" fmla="*/ 1249378 w 2381061"/>
              <a:gd name="connsiteY284" fmla="*/ 606582 h 1439501"/>
              <a:gd name="connsiteX285" fmla="*/ 1231271 w 2381061"/>
              <a:gd name="connsiteY285" fmla="*/ 660903 h 1439501"/>
              <a:gd name="connsiteX286" fmla="*/ 1222218 w 2381061"/>
              <a:gd name="connsiteY286" fmla="*/ 715223 h 1439501"/>
              <a:gd name="connsiteX287" fmla="*/ 1213164 w 2381061"/>
              <a:gd name="connsiteY287" fmla="*/ 742384 h 1439501"/>
              <a:gd name="connsiteX288" fmla="*/ 1204111 w 2381061"/>
              <a:gd name="connsiteY288" fmla="*/ 805758 h 1439501"/>
              <a:gd name="connsiteX289" fmla="*/ 1195057 w 2381061"/>
              <a:gd name="connsiteY289" fmla="*/ 860079 h 1439501"/>
              <a:gd name="connsiteX290" fmla="*/ 1176950 w 2381061"/>
              <a:gd name="connsiteY290" fmla="*/ 959667 h 1439501"/>
              <a:gd name="connsiteX291" fmla="*/ 1167897 w 2381061"/>
              <a:gd name="connsiteY291" fmla="*/ 1059255 h 1439501"/>
              <a:gd name="connsiteX292" fmla="*/ 1158843 w 2381061"/>
              <a:gd name="connsiteY292" fmla="*/ 1095469 h 1439501"/>
              <a:gd name="connsiteX293" fmla="*/ 1140736 w 2381061"/>
              <a:gd name="connsiteY293" fmla="*/ 1176950 h 1439501"/>
              <a:gd name="connsiteX294" fmla="*/ 986828 w 2381061"/>
              <a:gd name="connsiteY294" fmla="*/ 1013988 h 1439501"/>
              <a:gd name="connsiteX295" fmla="*/ 669956 w 2381061"/>
              <a:gd name="connsiteY295" fmla="*/ 688063 h 1439501"/>
              <a:gd name="connsiteX296" fmla="*/ 488887 w 2381061"/>
              <a:gd name="connsiteY296" fmla="*/ 525101 h 1439501"/>
              <a:gd name="connsiteX297" fmla="*/ 461727 w 2381061"/>
              <a:gd name="connsiteY297" fmla="*/ 497940 h 1439501"/>
              <a:gd name="connsiteX298" fmla="*/ 434566 w 2381061"/>
              <a:gd name="connsiteY298" fmla="*/ 470780 h 1439501"/>
              <a:gd name="connsiteX299" fmla="*/ 416459 w 2381061"/>
              <a:gd name="connsiteY299" fmla="*/ 407406 h 1439501"/>
              <a:gd name="connsiteX300" fmla="*/ 633742 w 2381061"/>
              <a:gd name="connsiteY300" fmla="*/ 316871 h 1439501"/>
              <a:gd name="connsiteX301" fmla="*/ 869132 w 2381061"/>
              <a:gd name="connsiteY301" fmla="*/ 371192 h 1439501"/>
              <a:gd name="connsiteX302" fmla="*/ 1032095 w 2381061"/>
              <a:gd name="connsiteY302" fmla="*/ 443619 h 1439501"/>
              <a:gd name="connsiteX303" fmla="*/ 1068309 w 2381061"/>
              <a:gd name="connsiteY303" fmla="*/ 479833 h 1439501"/>
              <a:gd name="connsiteX304" fmla="*/ 1104523 w 2381061"/>
              <a:gd name="connsiteY304" fmla="*/ 588475 h 1439501"/>
              <a:gd name="connsiteX305" fmla="*/ 1068309 w 2381061"/>
              <a:gd name="connsiteY305" fmla="*/ 823865 h 1439501"/>
              <a:gd name="connsiteX306" fmla="*/ 1032095 w 2381061"/>
              <a:gd name="connsiteY306" fmla="*/ 851025 h 1439501"/>
              <a:gd name="connsiteX307" fmla="*/ 986828 w 2381061"/>
              <a:gd name="connsiteY307" fmla="*/ 869132 h 1439501"/>
              <a:gd name="connsiteX308" fmla="*/ 914400 w 2381061"/>
              <a:gd name="connsiteY308" fmla="*/ 878186 h 1439501"/>
              <a:gd name="connsiteX309" fmla="*/ 570368 w 2381061"/>
              <a:gd name="connsiteY309" fmla="*/ 841972 h 1439501"/>
              <a:gd name="connsiteX310" fmla="*/ 443620 w 2381061"/>
              <a:gd name="connsiteY310" fmla="*/ 769544 h 1439501"/>
              <a:gd name="connsiteX311" fmla="*/ 344031 w 2381061"/>
              <a:gd name="connsiteY311" fmla="*/ 688063 h 1439501"/>
              <a:gd name="connsiteX312" fmla="*/ 271604 w 2381061"/>
              <a:gd name="connsiteY312" fmla="*/ 461726 h 1439501"/>
              <a:gd name="connsiteX313" fmla="*/ 280657 w 2381061"/>
              <a:gd name="connsiteY313" fmla="*/ 416459 h 1439501"/>
              <a:gd name="connsiteX314" fmla="*/ 434566 w 2381061"/>
              <a:gd name="connsiteY314" fmla="*/ 235390 h 1439501"/>
              <a:gd name="connsiteX315" fmla="*/ 597528 w 2381061"/>
              <a:gd name="connsiteY315" fmla="*/ 135802 h 1439501"/>
              <a:gd name="connsiteX316" fmla="*/ 769544 w 2381061"/>
              <a:gd name="connsiteY316" fmla="*/ 90534 h 1439501"/>
              <a:gd name="connsiteX317" fmla="*/ 841972 w 2381061"/>
              <a:gd name="connsiteY317" fmla="*/ 81481 h 1439501"/>
              <a:gd name="connsiteX318" fmla="*/ 968721 w 2381061"/>
              <a:gd name="connsiteY318" fmla="*/ 90534 h 1439501"/>
              <a:gd name="connsiteX319" fmla="*/ 986828 w 2381061"/>
              <a:gd name="connsiteY319" fmla="*/ 144855 h 1439501"/>
              <a:gd name="connsiteX320" fmla="*/ 1004934 w 2381061"/>
              <a:gd name="connsiteY320" fmla="*/ 208229 h 1439501"/>
              <a:gd name="connsiteX321" fmla="*/ 1023041 w 2381061"/>
              <a:gd name="connsiteY321" fmla="*/ 298764 h 1439501"/>
              <a:gd name="connsiteX322" fmla="*/ 1041148 w 2381061"/>
              <a:gd name="connsiteY322" fmla="*/ 470780 h 1439501"/>
              <a:gd name="connsiteX323" fmla="*/ 1032095 w 2381061"/>
              <a:gd name="connsiteY323" fmla="*/ 688063 h 1439501"/>
              <a:gd name="connsiteX324" fmla="*/ 1004934 w 2381061"/>
              <a:gd name="connsiteY324" fmla="*/ 742384 h 1439501"/>
              <a:gd name="connsiteX325" fmla="*/ 923453 w 2381061"/>
              <a:gd name="connsiteY325" fmla="*/ 832918 h 1439501"/>
              <a:gd name="connsiteX326" fmla="*/ 787651 w 2381061"/>
              <a:gd name="connsiteY326" fmla="*/ 878186 h 1439501"/>
              <a:gd name="connsiteX327" fmla="*/ 497940 w 2381061"/>
              <a:gd name="connsiteY327" fmla="*/ 860079 h 1439501"/>
              <a:gd name="connsiteX328" fmla="*/ 398352 w 2381061"/>
              <a:gd name="connsiteY328" fmla="*/ 814812 h 1439501"/>
              <a:gd name="connsiteX329" fmla="*/ 307818 w 2381061"/>
              <a:gd name="connsiteY329" fmla="*/ 778598 h 1439501"/>
              <a:gd name="connsiteX330" fmla="*/ 181069 w 2381061"/>
              <a:gd name="connsiteY330" fmla="*/ 651849 h 1439501"/>
              <a:gd name="connsiteX331" fmla="*/ 181069 w 2381061"/>
              <a:gd name="connsiteY331" fmla="*/ 506994 h 1439501"/>
              <a:gd name="connsiteX332" fmla="*/ 289711 w 2381061"/>
              <a:gd name="connsiteY332" fmla="*/ 380245 h 1439501"/>
              <a:gd name="connsiteX333" fmla="*/ 516047 w 2381061"/>
              <a:gd name="connsiteY333" fmla="*/ 280657 h 1439501"/>
              <a:gd name="connsiteX334" fmla="*/ 697117 w 2381061"/>
              <a:gd name="connsiteY334" fmla="*/ 253497 h 1439501"/>
              <a:gd name="connsiteX335" fmla="*/ 1620570 w 2381061"/>
              <a:gd name="connsiteY335" fmla="*/ 325924 h 1439501"/>
              <a:gd name="connsiteX336" fmla="*/ 1883121 w 2381061"/>
              <a:gd name="connsiteY336" fmla="*/ 416459 h 1439501"/>
              <a:gd name="connsiteX337" fmla="*/ 1964602 w 2381061"/>
              <a:gd name="connsiteY337" fmla="*/ 525101 h 1439501"/>
              <a:gd name="connsiteX338" fmla="*/ 1955548 w 2381061"/>
              <a:gd name="connsiteY338" fmla="*/ 715223 h 1439501"/>
              <a:gd name="connsiteX339" fmla="*/ 1892174 w 2381061"/>
              <a:gd name="connsiteY339" fmla="*/ 841972 h 1439501"/>
              <a:gd name="connsiteX340" fmla="*/ 1846907 w 2381061"/>
              <a:gd name="connsiteY340" fmla="*/ 878186 h 1439501"/>
              <a:gd name="connsiteX341" fmla="*/ 1747319 w 2381061"/>
              <a:gd name="connsiteY341" fmla="*/ 959667 h 1439501"/>
              <a:gd name="connsiteX342" fmla="*/ 1602463 w 2381061"/>
              <a:gd name="connsiteY342" fmla="*/ 986827 h 1439501"/>
              <a:gd name="connsiteX343" fmla="*/ 1249378 w 2381061"/>
              <a:gd name="connsiteY343" fmla="*/ 968720 h 1439501"/>
              <a:gd name="connsiteX344" fmla="*/ 887239 w 2381061"/>
              <a:gd name="connsiteY344" fmla="*/ 841972 h 1439501"/>
              <a:gd name="connsiteX345" fmla="*/ 660903 w 2381061"/>
              <a:gd name="connsiteY345" fmla="*/ 715223 h 1439501"/>
              <a:gd name="connsiteX346" fmla="*/ 452673 w 2381061"/>
              <a:gd name="connsiteY346" fmla="*/ 525101 h 1439501"/>
              <a:gd name="connsiteX347" fmla="*/ 434566 w 2381061"/>
              <a:gd name="connsiteY347" fmla="*/ 479833 h 1439501"/>
              <a:gd name="connsiteX348" fmla="*/ 470780 w 2381061"/>
              <a:gd name="connsiteY348" fmla="*/ 307817 h 1439501"/>
              <a:gd name="connsiteX349" fmla="*/ 606582 w 2381061"/>
              <a:gd name="connsiteY349" fmla="*/ 226336 h 1439501"/>
              <a:gd name="connsiteX350" fmla="*/ 679010 w 2381061"/>
              <a:gd name="connsiteY350" fmla="*/ 199176 h 1439501"/>
              <a:gd name="connsiteX351" fmla="*/ 896293 w 2381061"/>
              <a:gd name="connsiteY351" fmla="*/ 172016 h 1439501"/>
              <a:gd name="connsiteX352" fmla="*/ 1376127 w 2381061"/>
              <a:gd name="connsiteY352" fmla="*/ 235390 h 1439501"/>
              <a:gd name="connsiteX353" fmla="*/ 1448554 w 2381061"/>
              <a:gd name="connsiteY353" fmla="*/ 271604 h 1439501"/>
              <a:gd name="connsiteX354" fmla="*/ 1530035 w 2381061"/>
              <a:gd name="connsiteY354" fmla="*/ 362138 h 1439501"/>
              <a:gd name="connsiteX355" fmla="*/ 1502875 w 2381061"/>
              <a:gd name="connsiteY355" fmla="*/ 660903 h 1439501"/>
              <a:gd name="connsiteX356" fmla="*/ 1376127 w 2381061"/>
              <a:gd name="connsiteY356" fmla="*/ 832918 h 1439501"/>
              <a:gd name="connsiteX357" fmla="*/ 1086416 w 2381061"/>
              <a:gd name="connsiteY357" fmla="*/ 1023041 h 1439501"/>
              <a:gd name="connsiteX358" fmla="*/ 977774 w 2381061"/>
              <a:gd name="connsiteY358" fmla="*/ 1050202 h 1439501"/>
              <a:gd name="connsiteX359" fmla="*/ 869132 w 2381061"/>
              <a:gd name="connsiteY359" fmla="*/ 1059255 h 1439501"/>
              <a:gd name="connsiteX360" fmla="*/ 516047 w 2381061"/>
              <a:gd name="connsiteY360" fmla="*/ 1032095 h 1439501"/>
              <a:gd name="connsiteX361" fmla="*/ 470780 w 2381061"/>
              <a:gd name="connsiteY361" fmla="*/ 1004934 h 1439501"/>
              <a:gd name="connsiteX362" fmla="*/ 434566 w 2381061"/>
              <a:gd name="connsiteY362" fmla="*/ 959667 h 1439501"/>
              <a:gd name="connsiteX363" fmla="*/ 416459 w 2381061"/>
              <a:gd name="connsiteY363" fmla="*/ 914400 h 1439501"/>
              <a:gd name="connsiteX364" fmla="*/ 407406 w 2381061"/>
              <a:gd name="connsiteY364" fmla="*/ 697116 h 143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Lst>
            <a:rect l="l" t="t" r="r" b="b"/>
            <a:pathLst>
              <a:path w="2381061" h="1439501">
                <a:moveTo>
                  <a:pt x="814812" y="506994"/>
                </a:moveTo>
                <a:cubicBezTo>
                  <a:pt x="841972" y="510012"/>
                  <a:pt x="869496" y="510688"/>
                  <a:pt x="896293" y="516047"/>
                </a:cubicBezTo>
                <a:cubicBezTo>
                  <a:pt x="919540" y="520696"/>
                  <a:pt x="972478" y="542900"/>
                  <a:pt x="995881" y="552261"/>
                </a:cubicBezTo>
                <a:cubicBezTo>
                  <a:pt x="1004934" y="561314"/>
                  <a:pt x="1011589" y="573695"/>
                  <a:pt x="1023041" y="579421"/>
                </a:cubicBezTo>
                <a:cubicBezTo>
                  <a:pt x="1067376" y="601588"/>
                  <a:pt x="1063709" y="572176"/>
                  <a:pt x="1095469" y="606582"/>
                </a:cubicBezTo>
                <a:cubicBezTo>
                  <a:pt x="1124561" y="638099"/>
                  <a:pt x="1176950" y="706170"/>
                  <a:pt x="1176950" y="706170"/>
                </a:cubicBezTo>
                <a:cubicBezTo>
                  <a:pt x="1182986" y="727295"/>
                  <a:pt x="1190454" y="748062"/>
                  <a:pt x="1195057" y="769544"/>
                </a:cubicBezTo>
                <a:cubicBezTo>
                  <a:pt x="1213271" y="854539"/>
                  <a:pt x="1208711" y="981931"/>
                  <a:pt x="1195057" y="1050202"/>
                </a:cubicBezTo>
                <a:cubicBezTo>
                  <a:pt x="1192617" y="1062403"/>
                  <a:pt x="1170807" y="1055837"/>
                  <a:pt x="1158843" y="1059255"/>
                </a:cubicBezTo>
                <a:cubicBezTo>
                  <a:pt x="1149667" y="1061877"/>
                  <a:pt x="1140736" y="1065291"/>
                  <a:pt x="1131683" y="1068309"/>
                </a:cubicBezTo>
                <a:cubicBezTo>
                  <a:pt x="1101505" y="1062273"/>
                  <a:pt x="1069091" y="1063099"/>
                  <a:pt x="1041148" y="1050202"/>
                </a:cubicBezTo>
                <a:cubicBezTo>
                  <a:pt x="1023808" y="1042199"/>
                  <a:pt x="991265" y="967906"/>
                  <a:pt x="986828" y="959667"/>
                </a:cubicBezTo>
                <a:cubicBezTo>
                  <a:pt x="975293" y="938245"/>
                  <a:pt x="960366" y="918583"/>
                  <a:pt x="950614" y="896293"/>
                </a:cubicBezTo>
                <a:cubicBezTo>
                  <a:pt x="927013" y="842349"/>
                  <a:pt x="924538" y="820238"/>
                  <a:pt x="914400" y="769544"/>
                </a:cubicBezTo>
                <a:cubicBezTo>
                  <a:pt x="907362" y="692130"/>
                  <a:pt x="894250" y="646294"/>
                  <a:pt x="923453" y="570368"/>
                </a:cubicBezTo>
                <a:cubicBezTo>
                  <a:pt x="927359" y="560212"/>
                  <a:pt x="941560" y="558297"/>
                  <a:pt x="950614" y="552261"/>
                </a:cubicBezTo>
                <a:cubicBezTo>
                  <a:pt x="968721" y="555279"/>
                  <a:pt x="987520" y="555510"/>
                  <a:pt x="1004934" y="561315"/>
                </a:cubicBezTo>
                <a:cubicBezTo>
                  <a:pt x="1027612" y="568874"/>
                  <a:pt x="1053721" y="603130"/>
                  <a:pt x="1068309" y="615635"/>
                </a:cubicBezTo>
                <a:cubicBezTo>
                  <a:pt x="1076570" y="622716"/>
                  <a:pt x="1086416" y="627706"/>
                  <a:pt x="1095469" y="633742"/>
                </a:cubicBezTo>
                <a:cubicBezTo>
                  <a:pt x="1102244" y="647292"/>
                  <a:pt x="1130961" y="702219"/>
                  <a:pt x="1131683" y="715223"/>
                </a:cubicBezTo>
                <a:cubicBezTo>
                  <a:pt x="1133866" y="754510"/>
                  <a:pt x="1133731" y="795169"/>
                  <a:pt x="1122629" y="832918"/>
                </a:cubicBezTo>
                <a:cubicBezTo>
                  <a:pt x="1117812" y="849296"/>
                  <a:pt x="1099746" y="858468"/>
                  <a:pt x="1086416" y="869132"/>
                </a:cubicBezTo>
                <a:cubicBezTo>
                  <a:pt x="1069423" y="882727"/>
                  <a:pt x="1050202" y="893275"/>
                  <a:pt x="1032095" y="905346"/>
                </a:cubicBezTo>
                <a:cubicBezTo>
                  <a:pt x="1023041" y="911382"/>
                  <a:pt x="1015604" y="921319"/>
                  <a:pt x="1004934" y="923453"/>
                </a:cubicBezTo>
                <a:lnTo>
                  <a:pt x="959667" y="932507"/>
                </a:lnTo>
                <a:cubicBezTo>
                  <a:pt x="905981" y="927626"/>
                  <a:pt x="777491" y="951097"/>
                  <a:pt x="724277" y="887239"/>
                </a:cubicBezTo>
                <a:cubicBezTo>
                  <a:pt x="718168" y="879908"/>
                  <a:pt x="718242" y="869132"/>
                  <a:pt x="715224" y="860079"/>
                </a:cubicBezTo>
                <a:cubicBezTo>
                  <a:pt x="721259" y="802740"/>
                  <a:pt x="714470" y="742547"/>
                  <a:pt x="733330" y="688063"/>
                </a:cubicBezTo>
                <a:cubicBezTo>
                  <a:pt x="741103" y="665608"/>
                  <a:pt x="806278" y="616558"/>
                  <a:pt x="832919" y="597528"/>
                </a:cubicBezTo>
                <a:cubicBezTo>
                  <a:pt x="841773" y="591204"/>
                  <a:pt x="849891" y="583241"/>
                  <a:pt x="860079" y="579421"/>
                </a:cubicBezTo>
                <a:cubicBezTo>
                  <a:pt x="874487" y="574018"/>
                  <a:pt x="890418" y="574100"/>
                  <a:pt x="905346" y="570368"/>
                </a:cubicBezTo>
                <a:cubicBezTo>
                  <a:pt x="914604" y="568054"/>
                  <a:pt x="923453" y="564333"/>
                  <a:pt x="932507" y="561315"/>
                </a:cubicBezTo>
                <a:cubicBezTo>
                  <a:pt x="941560" y="570368"/>
                  <a:pt x="953315" y="577359"/>
                  <a:pt x="959667" y="588475"/>
                </a:cubicBezTo>
                <a:cubicBezTo>
                  <a:pt x="965840" y="599278"/>
                  <a:pt x="968721" y="612246"/>
                  <a:pt x="968721" y="624689"/>
                </a:cubicBezTo>
                <a:cubicBezTo>
                  <a:pt x="968721" y="637132"/>
                  <a:pt x="965232" y="649774"/>
                  <a:pt x="959667" y="660903"/>
                </a:cubicBezTo>
                <a:cubicBezTo>
                  <a:pt x="952919" y="674399"/>
                  <a:pt x="943176" y="686447"/>
                  <a:pt x="932507" y="697116"/>
                </a:cubicBezTo>
                <a:cubicBezTo>
                  <a:pt x="914529" y="715093"/>
                  <a:pt x="855558" y="738138"/>
                  <a:pt x="841972" y="742384"/>
                </a:cubicBezTo>
                <a:cubicBezTo>
                  <a:pt x="815416" y="750683"/>
                  <a:pt x="787973" y="756152"/>
                  <a:pt x="760491" y="760491"/>
                </a:cubicBezTo>
                <a:cubicBezTo>
                  <a:pt x="730533" y="765221"/>
                  <a:pt x="700007" y="765446"/>
                  <a:pt x="669956" y="769544"/>
                </a:cubicBezTo>
                <a:cubicBezTo>
                  <a:pt x="633579" y="774504"/>
                  <a:pt x="597886" y="784424"/>
                  <a:pt x="561315" y="787651"/>
                </a:cubicBezTo>
                <a:cubicBezTo>
                  <a:pt x="495111" y="793493"/>
                  <a:pt x="428530" y="793687"/>
                  <a:pt x="362138" y="796705"/>
                </a:cubicBezTo>
                <a:cubicBezTo>
                  <a:pt x="319889" y="784634"/>
                  <a:pt x="269146" y="788621"/>
                  <a:pt x="235390" y="760491"/>
                </a:cubicBezTo>
                <a:cubicBezTo>
                  <a:pt x="218748" y="746622"/>
                  <a:pt x="273289" y="678143"/>
                  <a:pt x="280657" y="669956"/>
                </a:cubicBezTo>
                <a:cubicBezTo>
                  <a:pt x="297787" y="650922"/>
                  <a:pt x="311202" y="625145"/>
                  <a:pt x="334978" y="615635"/>
                </a:cubicBezTo>
                <a:cubicBezTo>
                  <a:pt x="350067" y="609599"/>
                  <a:pt x="365394" y="604128"/>
                  <a:pt x="380245" y="597528"/>
                </a:cubicBezTo>
                <a:cubicBezTo>
                  <a:pt x="392578" y="592047"/>
                  <a:pt x="403655" y="583689"/>
                  <a:pt x="416459" y="579421"/>
                </a:cubicBezTo>
                <a:cubicBezTo>
                  <a:pt x="431057" y="574555"/>
                  <a:pt x="446638" y="573386"/>
                  <a:pt x="461727" y="570368"/>
                </a:cubicBezTo>
                <a:cubicBezTo>
                  <a:pt x="500959" y="576404"/>
                  <a:pt x="540914" y="578848"/>
                  <a:pt x="579422" y="588475"/>
                </a:cubicBezTo>
                <a:cubicBezTo>
                  <a:pt x="589978" y="591114"/>
                  <a:pt x="599263" y="598531"/>
                  <a:pt x="606582" y="606582"/>
                </a:cubicBezTo>
                <a:cubicBezTo>
                  <a:pt x="629727" y="632042"/>
                  <a:pt x="650870" y="659434"/>
                  <a:pt x="669956" y="688063"/>
                </a:cubicBezTo>
                <a:cubicBezTo>
                  <a:pt x="691212" y="719947"/>
                  <a:pt x="710357" y="743798"/>
                  <a:pt x="724277" y="778598"/>
                </a:cubicBezTo>
                <a:cubicBezTo>
                  <a:pt x="731365" y="796319"/>
                  <a:pt x="735296" y="815197"/>
                  <a:pt x="742384" y="832918"/>
                </a:cubicBezTo>
                <a:cubicBezTo>
                  <a:pt x="747396" y="845449"/>
                  <a:pt x="755479" y="856601"/>
                  <a:pt x="760491" y="869132"/>
                </a:cubicBezTo>
                <a:cubicBezTo>
                  <a:pt x="767580" y="886853"/>
                  <a:pt x="772075" y="905516"/>
                  <a:pt x="778598" y="923453"/>
                </a:cubicBezTo>
                <a:cubicBezTo>
                  <a:pt x="784152" y="938726"/>
                  <a:pt x="791566" y="953303"/>
                  <a:pt x="796705" y="968720"/>
                </a:cubicBezTo>
                <a:cubicBezTo>
                  <a:pt x="800640" y="980524"/>
                  <a:pt x="803059" y="992787"/>
                  <a:pt x="805758" y="1004934"/>
                </a:cubicBezTo>
                <a:cubicBezTo>
                  <a:pt x="809096" y="1019956"/>
                  <a:pt x="809409" y="1035794"/>
                  <a:pt x="814812" y="1050202"/>
                </a:cubicBezTo>
                <a:cubicBezTo>
                  <a:pt x="818633" y="1060390"/>
                  <a:pt x="826883" y="1068309"/>
                  <a:pt x="832919" y="1077362"/>
                </a:cubicBezTo>
                <a:cubicBezTo>
                  <a:pt x="857061" y="1056237"/>
                  <a:pt x="882662" y="1036672"/>
                  <a:pt x="905346" y="1013988"/>
                </a:cubicBezTo>
                <a:cubicBezTo>
                  <a:pt x="1010903" y="908431"/>
                  <a:pt x="941472" y="950093"/>
                  <a:pt x="1068309" y="860079"/>
                </a:cubicBezTo>
                <a:cubicBezTo>
                  <a:pt x="1081873" y="850453"/>
                  <a:pt x="1288230" y="709378"/>
                  <a:pt x="1348966" y="679010"/>
                </a:cubicBezTo>
                <a:cubicBezTo>
                  <a:pt x="1485447" y="610769"/>
                  <a:pt x="1436412" y="641838"/>
                  <a:pt x="1502875" y="597528"/>
                </a:cubicBezTo>
                <a:cubicBezTo>
                  <a:pt x="1505893" y="588475"/>
                  <a:pt x="1513497" y="579781"/>
                  <a:pt x="1511928" y="570368"/>
                </a:cubicBezTo>
                <a:cubicBezTo>
                  <a:pt x="1507608" y="544445"/>
                  <a:pt x="1465071" y="523126"/>
                  <a:pt x="1448554" y="516047"/>
                </a:cubicBezTo>
                <a:cubicBezTo>
                  <a:pt x="1355070" y="475982"/>
                  <a:pt x="1193776" y="411901"/>
                  <a:pt x="1086416" y="389299"/>
                </a:cubicBezTo>
                <a:cubicBezTo>
                  <a:pt x="1023771" y="376111"/>
                  <a:pt x="959337" y="373263"/>
                  <a:pt x="896293" y="362138"/>
                </a:cubicBezTo>
                <a:cubicBezTo>
                  <a:pt x="856643" y="355141"/>
                  <a:pt x="817830" y="344031"/>
                  <a:pt x="778598" y="334978"/>
                </a:cubicBezTo>
                <a:cubicBezTo>
                  <a:pt x="688063" y="337996"/>
                  <a:pt x="588571" y="304649"/>
                  <a:pt x="506994" y="344031"/>
                </a:cubicBezTo>
                <a:cubicBezTo>
                  <a:pt x="471559" y="361137"/>
                  <a:pt x="509578" y="422914"/>
                  <a:pt x="516047" y="461726"/>
                </a:cubicBezTo>
                <a:cubicBezTo>
                  <a:pt x="518719" y="477757"/>
                  <a:pt x="528600" y="491721"/>
                  <a:pt x="534154" y="506994"/>
                </a:cubicBezTo>
                <a:cubicBezTo>
                  <a:pt x="559230" y="575952"/>
                  <a:pt x="543124" y="549088"/>
                  <a:pt x="579422" y="615635"/>
                </a:cubicBezTo>
                <a:cubicBezTo>
                  <a:pt x="587848" y="631083"/>
                  <a:pt x="598156" y="645455"/>
                  <a:pt x="606582" y="660903"/>
                </a:cubicBezTo>
                <a:cubicBezTo>
                  <a:pt x="616276" y="678675"/>
                  <a:pt x="622513" y="698379"/>
                  <a:pt x="633742" y="715223"/>
                </a:cubicBezTo>
                <a:cubicBezTo>
                  <a:pt x="640655" y="725593"/>
                  <a:pt x="713992" y="818337"/>
                  <a:pt x="733330" y="841972"/>
                </a:cubicBezTo>
                <a:cubicBezTo>
                  <a:pt x="748255" y="860214"/>
                  <a:pt x="759418" y="882593"/>
                  <a:pt x="778598" y="896293"/>
                </a:cubicBezTo>
                <a:cubicBezTo>
                  <a:pt x="799723" y="911382"/>
                  <a:pt x="821559" y="925521"/>
                  <a:pt x="841972" y="941560"/>
                </a:cubicBezTo>
                <a:cubicBezTo>
                  <a:pt x="863850" y="958750"/>
                  <a:pt x="881752" y="981135"/>
                  <a:pt x="905346" y="995881"/>
                </a:cubicBezTo>
                <a:cubicBezTo>
                  <a:pt x="924819" y="1008051"/>
                  <a:pt x="1033231" y="1051601"/>
                  <a:pt x="1059255" y="1059255"/>
                </a:cubicBezTo>
                <a:cubicBezTo>
                  <a:pt x="1316456" y="1134902"/>
                  <a:pt x="1057263" y="1049537"/>
                  <a:pt x="1167897" y="1086416"/>
                </a:cubicBezTo>
                <a:cubicBezTo>
                  <a:pt x="1198075" y="1080380"/>
                  <a:pt x="1234937" y="1088188"/>
                  <a:pt x="1258431" y="1068309"/>
                </a:cubicBezTo>
                <a:cubicBezTo>
                  <a:pt x="1273853" y="1055260"/>
                  <a:pt x="1288902" y="970274"/>
                  <a:pt x="1294645" y="941560"/>
                </a:cubicBezTo>
                <a:cubicBezTo>
                  <a:pt x="1288609" y="908364"/>
                  <a:pt x="1287208" y="873981"/>
                  <a:pt x="1276538" y="841972"/>
                </a:cubicBezTo>
                <a:cubicBezTo>
                  <a:pt x="1268011" y="816391"/>
                  <a:pt x="1222451" y="781771"/>
                  <a:pt x="1204111" y="769544"/>
                </a:cubicBezTo>
                <a:cubicBezTo>
                  <a:pt x="1183867" y="756048"/>
                  <a:pt x="1162784" y="743619"/>
                  <a:pt x="1140736" y="733330"/>
                </a:cubicBezTo>
                <a:cubicBezTo>
                  <a:pt x="1099045" y="713874"/>
                  <a:pt x="1041169" y="696554"/>
                  <a:pt x="995881" y="688063"/>
                </a:cubicBezTo>
                <a:cubicBezTo>
                  <a:pt x="971967" y="683579"/>
                  <a:pt x="947539" y="682451"/>
                  <a:pt x="923453" y="679010"/>
                </a:cubicBezTo>
                <a:cubicBezTo>
                  <a:pt x="905281" y="676414"/>
                  <a:pt x="887239" y="672974"/>
                  <a:pt x="869132" y="669956"/>
                </a:cubicBezTo>
                <a:cubicBezTo>
                  <a:pt x="774605" y="677834"/>
                  <a:pt x="776719" y="654104"/>
                  <a:pt x="733330" y="706170"/>
                </a:cubicBezTo>
                <a:cubicBezTo>
                  <a:pt x="726364" y="714529"/>
                  <a:pt x="721259" y="724277"/>
                  <a:pt x="715224" y="733330"/>
                </a:cubicBezTo>
                <a:cubicBezTo>
                  <a:pt x="688220" y="868352"/>
                  <a:pt x="699164" y="793157"/>
                  <a:pt x="688063" y="959667"/>
                </a:cubicBezTo>
                <a:cubicBezTo>
                  <a:pt x="691081" y="1026059"/>
                  <a:pt x="692207" y="1092564"/>
                  <a:pt x="697117" y="1158843"/>
                </a:cubicBezTo>
                <a:cubicBezTo>
                  <a:pt x="698254" y="1174189"/>
                  <a:pt x="701304" y="1189513"/>
                  <a:pt x="706170" y="1204111"/>
                </a:cubicBezTo>
                <a:cubicBezTo>
                  <a:pt x="710438" y="1216914"/>
                  <a:pt x="717581" y="1228606"/>
                  <a:pt x="724277" y="1240324"/>
                </a:cubicBezTo>
                <a:cubicBezTo>
                  <a:pt x="740072" y="1267965"/>
                  <a:pt x="757028" y="1288388"/>
                  <a:pt x="787651" y="1303699"/>
                </a:cubicBezTo>
                <a:cubicBezTo>
                  <a:pt x="801415" y="1310581"/>
                  <a:pt x="817830" y="1309734"/>
                  <a:pt x="832919" y="1312752"/>
                </a:cubicBezTo>
                <a:cubicBezTo>
                  <a:pt x="911382" y="1300681"/>
                  <a:pt x="991424" y="1296308"/>
                  <a:pt x="1068309" y="1276538"/>
                </a:cubicBezTo>
                <a:cubicBezTo>
                  <a:pt x="1137541" y="1258736"/>
                  <a:pt x="1156364" y="1220356"/>
                  <a:pt x="1204111" y="1176950"/>
                </a:cubicBezTo>
                <a:cubicBezTo>
                  <a:pt x="1218409" y="1163952"/>
                  <a:pt x="1236896" y="1155487"/>
                  <a:pt x="1249378" y="1140736"/>
                </a:cubicBezTo>
                <a:cubicBezTo>
                  <a:pt x="1271408" y="1114700"/>
                  <a:pt x="1309573" y="1049465"/>
                  <a:pt x="1330859" y="1013988"/>
                </a:cubicBezTo>
                <a:cubicBezTo>
                  <a:pt x="1340152" y="948942"/>
                  <a:pt x="1348836" y="922933"/>
                  <a:pt x="1330859" y="851025"/>
                </a:cubicBezTo>
                <a:cubicBezTo>
                  <a:pt x="1326591" y="833954"/>
                  <a:pt x="1314502" y="819648"/>
                  <a:pt x="1303699" y="805758"/>
                </a:cubicBezTo>
                <a:cubicBezTo>
                  <a:pt x="1272532" y="765686"/>
                  <a:pt x="1190358" y="710385"/>
                  <a:pt x="1158843" y="697116"/>
                </a:cubicBezTo>
                <a:cubicBezTo>
                  <a:pt x="1101505" y="672974"/>
                  <a:pt x="1048038" y="635818"/>
                  <a:pt x="986828" y="624689"/>
                </a:cubicBezTo>
                <a:cubicBezTo>
                  <a:pt x="760764" y="583587"/>
                  <a:pt x="854719" y="595927"/>
                  <a:pt x="706170" y="579421"/>
                </a:cubicBezTo>
                <a:cubicBezTo>
                  <a:pt x="627707" y="585457"/>
                  <a:pt x="547843" y="581584"/>
                  <a:pt x="470780" y="597528"/>
                </a:cubicBezTo>
                <a:cubicBezTo>
                  <a:pt x="456004" y="600585"/>
                  <a:pt x="448695" y="619532"/>
                  <a:pt x="443620" y="633742"/>
                </a:cubicBezTo>
                <a:cubicBezTo>
                  <a:pt x="433269" y="662725"/>
                  <a:pt x="425513" y="724277"/>
                  <a:pt x="425513" y="724277"/>
                </a:cubicBezTo>
                <a:cubicBezTo>
                  <a:pt x="428531" y="811794"/>
                  <a:pt x="424623" y="899825"/>
                  <a:pt x="434566" y="986827"/>
                </a:cubicBezTo>
                <a:cubicBezTo>
                  <a:pt x="436865" y="1006940"/>
                  <a:pt x="452033" y="1023376"/>
                  <a:pt x="461727" y="1041148"/>
                </a:cubicBezTo>
                <a:cubicBezTo>
                  <a:pt x="480646" y="1075834"/>
                  <a:pt x="504902" y="1114143"/>
                  <a:pt x="534154" y="1140736"/>
                </a:cubicBezTo>
                <a:cubicBezTo>
                  <a:pt x="550257" y="1155375"/>
                  <a:pt x="569011" y="1167218"/>
                  <a:pt x="588475" y="1176950"/>
                </a:cubicBezTo>
                <a:cubicBezTo>
                  <a:pt x="617547" y="1191486"/>
                  <a:pt x="648175" y="1202886"/>
                  <a:pt x="679010" y="1213164"/>
                </a:cubicBezTo>
                <a:cubicBezTo>
                  <a:pt x="726334" y="1228939"/>
                  <a:pt x="805369" y="1241077"/>
                  <a:pt x="851026" y="1249378"/>
                </a:cubicBezTo>
                <a:cubicBezTo>
                  <a:pt x="925606" y="1244858"/>
                  <a:pt x="1142695" y="1252118"/>
                  <a:pt x="1249378" y="1204111"/>
                </a:cubicBezTo>
                <a:cubicBezTo>
                  <a:pt x="1311673" y="1176078"/>
                  <a:pt x="1339542" y="1141107"/>
                  <a:pt x="1385180" y="1095469"/>
                </a:cubicBezTo>
                <a:cubicBezTo>
                  <a:pt x="1391007" y="1075076"/>
                  <a:pt x="1414150" y="1003107"/>
                  <a:pt x="1412340" y="977774"/>
                </a:cubicBezTo>
                <a:cubicBezTo>
                  <a:pt x="1410567" y="952952"/>
                  <a:pt x="1406149" y="927193"/>
                  <a:pt x="1394233" y="905346"/>
                </a:cubicBezTo>
                <a:cubicBezTo>
                  <a:pt x="1387008" y="892100"/>
                  <a:pt x="1371266" y="885411"/>
                  <a:pt x="1358020" y="878186"/>
                </a:cubicBezTo>
                <a:cubicBezTo>
                  <a:pt x="1305892" y="849752"/>
                  <a:pt x="1279999" y="847363"/>
                  <a:pt x="1222218" y="832918"/>
                </a:cubicBezTo>
                <a:cubicBezTo>
                  <a:pt x="1131683" y="841972"/>
                  <a:pt x="1040133" y="843803"/>
                  <a:pt x="950614" y="860079"/>
                </a:cubicBezTo>
                <a:cubicBezTo>
                  <a:pt x="938017" y="862369"/>
                  <a:pt x="930040" y="876260"/>
                  <a:pt x="923453" y="887239"/>
                </a:cubicBezTo>
                <a:cubicBezTo>
                  <a:pt x="902622" y="921957"/>
                  <a:pt x="887239" y="959667"/>
                  <a:pt x="869132" y="995881"/>
                </a:cubicBezTo>
                <a:cubicBezTo>
                  <a:pt x="802785" y="1128577"/>
                  <a:pt x="875115" y="980158"/>
                  <a:pt x="823865" y="1095469"/>
                </a:cubicBezTo>
                <a:cubicBezTo>
                  <a:pt x="818384" y="1107802"/>
                  <a:pt x="811239" y="1119350"/>
                  <a:pt x="805758" y="1131683"/>
                </a:cubicBezTo>
                <a:cubicBezTo>
                  <a:pt x="780113" y="1189384"/>
                  <a:pt x="803514" y="1166374"/>
                  <a:pt x="760491" y="1195057"/>
                </a:cubicBezTo>
                <a:cubicBezTo>
                  <a:pt x="749300" y="1193814"/>
                  <a:pt x="648002" y="1208334"/>
                  <a:pt x="669956" y="1149790"/>
                </a:cubicBezTo>
                <a:cubicBezTo>
                  <a:pt x="675950" y="1133805"/>
                  <a:pt x="694099" y="1125647"/>
                  <a:pt x="706170" y="1113576"/>
                </a:cubicBezTo>
                <a:cubicBezTo>
                  <a:pt x="737742" y="1034647"/>
                  <a:pt x="704945" y="1093023"/>
                  <a:pt x="787651" y="1023041"/>
                </a:cubicBezTo>
                <a:cubicBezTo>
                  <a:pt x="807199" y="1006500"/>
                  <a:pt x="821379" y="983941"/>
                  <a:pt x="841972" y="968720"/>
                </a:cubicBezTo>
                <a:cubicBezTo>
                  <a:pt x="891112" y="932399"/>
                  <a:pt x="942826" y="899449"/>
                  <a:pt x="995881" y="869132"/>
                </a:cubicBezTo>
                <a:cubicBezTo>
                  <a:pt x="1017006" y="857061"/>
                  <a:pt x="1036757" y="842182"/>
                  <a:pt x="1059255" y="832918"/>
                </a:cubicBezTo>
                <a:cubicBezTo>
                  <a:pt x="1092641" y="819171"/>
                  <a:pt x="1193033" y="793688"/>
                  <a:pt x="1231271" y="787651"/>
                </a:cubicBezTo>
                <a:cubicBezTo>
                  <a:pt x="1261229" y="782921"/>
                  <a:pt x="1291628" y="781616"/>
                  <a:pt x="1321806" y="778598"/>
                </a:cubicBezTo>
                <a:cubicBezTo>
                  <a:pt x="1361038" y="787651"/>
                  <a:pt x="1409709" y="778674"/>
                  <a:pt x="1439501" y="805758"/>
                </a:cubicBezTo>
                <a:cubicBezTo>
                  <a:pt x="1455707" y="820491"/>
                  <a:pt x="1386892" y="929833"/>
                  <a:pt x="1385180" y="932507"/>
                </a:cubicBezTo>
                <a:cubicBezTo>
                  <a:pt x="1175881" y="1259535"/>
                  <a:pt x="1366386" y="984976"/>
                  <a:pt x="1204111" y="1158843"/>
                </a:cubicBezTo>
                <a:cubicBezTo>
                  <a:pt x="1183520" y="1180905"/>
                  <a:pt x="1170259" y="1209096"/>
                  <a:pt x="1149790" y="1231271"/>
                </a:cubicBezTo>
                <a:cubicBezTo>
                  <a:pt x="1133803" y="1248590"/>
                  <a:pt x="1114725" y="1262946"/>
                  <a:pt x="1095469" y="1276538"/>
                </a:cubicBezTo>
                <a:cubicBezTo>
                  <a:pt x="1002169" y="1342397"/>
                  <a:pt x="1028746" y="1331697"/>
                  <a:pt x="959667" y="1348966"/>
                </a:cubicBezTo>
                <a:cubicBezTo>
                  <a:pt x="916978" y="1178209"/>
                  <a:pt x="929626" y="1256369"/>
                  <a:pt x="950614" y="941560"/>
                </a:cubicBezTo>
                <a:cubicBezTo>
                  <a:pt x="952488" y="913445"/>
                  <a:pt x="999952" y="767964"/>
                  <a:pt x="1004934" y="760491"/>
                </a:cubicBezTo>
                <a:lnTo>
                  <a:pt x="1041148" y="706170"/>
                </a:lnTo>
                <a:cubicBezTo>
                  <a:pt x="1061460" y="828035"/>
                  <a:pt x="1060420" y="799373"/>
                  <a:pt x="1041148" y="1004934"/>
                </a:cubicBezTo>
                <a:cubicBezTo>
                  <a:pt x="1039631" y="1021115"/>
                  <a:pt x="1028747" y="1034985"/>
                  <a:pt x="1023041" y="1050202"/>
                </a:cubicBezTo>
                <a:cubicBezTo>
                  <a:pt x="1019690" y="1059137"/>
                  <a:pt x="1019281" y="1069422"/>
                  <a:pt x="1013988" y="1077362"/>
                </a:cubicBezTo>
                <a:cubicBezTo>
                  <a:pt x="1006886" y="1088015"/>
                  <a:pt x="995881" y="1095469"/>
                  <a:pt x="986828" y="1104522"/>
                </a:cubicBezTo>
                <a:cubicBezTo>
                  <a:pt x="762228" y="1029657"/>
                  <a:pt x="978787" y="1117403"/>
                  <a:pt x="805758" y="1004934"/>
                </a:cubicBezTo>
                <a:cubicBezTo>
                  <a:pt x="771811" y="982868"/>
                  <a:pt x="732187" y="970847"/>
                  <a:pt x="697117" y="950614"/>
                </a:cubicBezTo>
                <a:cubicBezTo>
                  <a:pt x="653611" y="925515"/>
                  <a:pt x="614066" y="893894"/>
                  <a:pt x="570368" y="869132"/>
                </a:cubicBezTo>
                <a:cubicBezTo>
                  <a:pt x="523401" y="842517"/>
                  <a:pt x="472780" y="822784"/>
                  <a:pt x="425513" y="796705"/>
                </a:cubicBezTo>
                <a:cubicBezTo>
                  <a:pt x="356724" y="758752"/>
                  <a:pt x="285760" y="713336"/>
                  <a:pt x="226336" y="660903"/>
                </a:cubicBezTo>
                <a:cubicBezTo>
                  <a:pt x="200735" y="638313"/>
                  <a:pt x="153909" y="588475"/>
                  <a:pt x="153909" y="588475"/>
                </a:cubicBezTo>
                <a:cubicBezTo>
                  <a:pt x="171886" y="534543"/>
                  <a:pt x="156210" y="551625"/>
                  <a:pt x="253497" y="579421"/>
                </a:cubicBezTo>
                <a:cubicBezTo>
                  <a:pt x="572613" y="670595"/>
                  <a:pt x="97406" y="556242"/>
                  <a:pt x="479833" y="651849"/>
                </a:cubicBezTo>
                <a:cubicBezTo>
                  <a:pt x="533818" y="665345"/>
                  <a:pt x="588629" y="675318"/>
                  <a:pt x="642796" y="688063"/>
                </a:cubicBezTo>
                <a:cubicBezTo>
                  <a:pt x="691244" y="699463"/>
                  <a:pt x="738637" y="715627"/>
                  <a:pt x="787651" y="724277"/>
                </a:cubicBezTo>
                <a:cubicBezTo>
                  <a:pt x="841475" y="733775"/>
                  <a:pt x="896478" y="734865"/>
                  <a:pt x="950614" y="742384"/>
                </a:cubicBezTo>
                <a:cubicBezTo>
                  <a:pt x="1005160" y="749960"/>
                  <a:pt x="1059092" y="761532"/>
                  <a:pt x="1113576" y="769544"/>
                </a:cubicBezTo>
                <a:cubicBezTo>
                  <a:pt x="1231865" y="786939"/>
                  <a:pt x="1256706" y="787507"/>
                  <a:pt x="1367073" y="796705"/>
                </a:cubicBezTo>
                <a:cubicBezTo>
                  <a:pt x="1397251" y="802741"/>
                  <a:pt x="1440537" y="840419"/>
                  <a:pt x="1457608" y="814812"/>
                </a:cubicBezTo>
                <a:cubicBezTo>
                  <a:pt x="1473400" y="791123"/>
                  <a:pt x="1411348" y="780759"/>
                  <a:pt x="1385180" y="769544"/>
                </a:cubicBezTo>
                <a:cubicBezTo>
                  <a:pt x="1347452" y="753375"/>
                  <a:pt x="1307829" y="740894"/>
                  <a:pt x="1267485" y="733330"/>
                </a:cubicBezTo>
                <a:cubicBezTo>
                  <a:pt x="1210817" y="722705"/>
                  <a:pt x="1152375" y="724487"/>
                  <a:pt x="1095469" y="715223"/>
                </a:cubicBezTo>
                <a:cubicBezTo>
                  <a:pt x="638526" y="640837"/>
                  <a:pt x="1113353" y="690405"/>
                  <a:pt x="669956" y="651849"/>
                </a:cubicBezTo>
                <a:cubicBezTo>
                  <a:pt x="612617" y="639778"/>
                  <a:pt x="555738" y="625268"/>
                  <a:pt x="497940" y="615635"/>
                </a:cubicBezTo>
                <a:cubicBezTo>
                  <a:pt x="419699" y="602595"/>
                  <a:pt x="316890" y="595266"/>
                  <a:pt x="235390" y="588475"/>
                </a:cubicBezTo>
                <a:cubicBezTo>
                  <a:pt x="202194" y="582439"/>
                  <a:pt x="168772" y="577535"/>
                  <a:pt x="135802" y="570368"/>
                </a:cubicBezTo>
                <a:cubicBezTo>
                  <a:pt x="99325" y="562438"/>
                  <a:pt x="27160" y="543208"/>
                  <a:pt x="27160" y="543208"/>
                </a:cubicBezTo>
                <a:cubicBezTo>
                  <a:pt x="33196" y="528119"/>
                  <a:pt x="34565" y="510171"/>
                  <a:pt x="45267" y="497940"/>
                </a:cubicBezTo>
                <a:cubicBezTo>
                  <a:pt x="70649" y="468931"/>
                  <a:pt x="157658" y="450122"/>
                  <a:pt x="181069" y="443619"/>
                </a:cubicBezTo>
                <a:cubicBezTo>
                  <a:pt x="287927" y="413936"/>
                  <a:pt x="220068" y="433696"/>
                  <a:pt x="334978" y="416459"/>
                </a:cubicBezTo>
                <a:cubicBezTo>
                  <a:pt x="368345" y="411454"/>
                  <a:pt x="401370" y="404388"/>
                  <a:pt x="434566" y="398352"/>
                </a:cubicBezTo>
                <a:cubicBezTo>
                  <a:pt x="751470" y="405555"/>
                  <a:pt x="773336" y="384166"/>
                  <a:pt x="1023041" y="443619"/>
                </a:cubicBezTo>
                <a:cubicBezTo>
                  <a:pt x="1205922" y="487162"/>
                  <a:pt x="1237773" y="510815"/>
                  <a:pt x="1421394" y="570368"/>
                </a:cubicBezTo>
                <a:cubicBezTo>
                  <a:pt x="1463191" y="583924"/>
                  <a:pt x="1507223" y="590570"/>
                  <a:pt x="1548142" y="606582"/>
                </a:cubicBezTo>
                <a:cubicBezTo>
                  <a:pt x="1747870" y="684736"/>
                  <a:pt x="1556484" y="633563"/>
                  <a:pt x="1665837" y="660903"/>
                </a:cubicBezTo>
                <a:cubicBezTo>
                  <a:pt x="1662819" y="672974"/>
                  <a:pt x="1663919" y="686923"/>
                  <a:pt x="1656784" y="697116"/>
                </a:cubicBezTo>
                <a:cubicBezTo>
                  <a:pt x="1614758" y="757153"/>
                  <a:pt x="1438183" y="870192"/>
                  <a:pt x="1421394" y="878186"/>
                </a:cubicBezTo>
                <a:cubicBezTo>
                  <a:pt x="1358020" y="908364"/>
                  <a:pt x="1295414" y="940212"/>
                  <a:pt x="1231271" y="968720"/>
                </a:cubicBezTo>
                <a:cubicBezTo>
                  <a:pt x="1204111" y="980791"/>
                  <a:pt x="1176015" y="990947"/>
                  <a:pt x="1149790" y="1004934"/>
                </a:cubicBezTo>
                <a:cubicBezTo>
                  <a:pt x="1130588" y="1015175"/>
                  <a:pt x="1115280" y="1032143"/>
                  <a:pt x="1095469" y="1041148"/>
                </a:cubicBezTo>
                <a:cubicBezTo>
                  <a:pt x="1081460" y="1047516"/>
                  <a:pt x="1065130" y="1046470"/>
                  <a:pt x="1050202" y="1050202"/>
                </a:cubicBezTo>
                <a:cubicBezTo>
                  <a:pt x="1040944" y="1052517"/>
                  <a:pt x="1032095" y="1056237"/>
                  <a:pt x="1023041" y="1059255"/>
                </a:cubicBezTo>
                <a:cubicBezTo>
                  <a:pt x="1017005" y="1035112"/>
                  <a:pt x="1004934" y="1011713"/>
                  <a:pt x="1004934" y="986827"/>
                </a:cubicBezTo>
                <a:cubicBezTo>
                  <a:pt x="1004934" y="903864"/>
                  <a:pt x="1020395" y="835007"/>
                  <a:pt x="1050202" y="760491"/>
                </a:cubicBezTo>
                <a:cubicBezTo>
                  <a:pt x="1063745" y="726635"/>
                  <a:pt x="1081662" y="694653"/>
                  <a:pt x="1095469" y="660903"/>
                </a:cubicBezTo>
                <a:cubicBezTo>
                  <a:pt x="1108843" y="628210"/>
                  <a:pt x="1116497" y="593206"/>
                  <a:pt x="1131683" y="561315"/>
                </a:cubicBezTo>
                <a:cubicBezTo>
                  <a:pt x="1146814" y="529540"/>
                  <a:pt x="1169674" y="501956"/>
                  <a:pt x="1186004" y="470780"/>
                </a:cubicBezTo>
                <a:cubicBezTo>
                  <a:pt x="1202924" y="438479"/>
                  <a:pt x="1214288" y="403460"/>
                  <a:pt x="1231271" y="371192"/>
                </a:cubicBezTo>
                <a:cubicBezTo>
                  <a:pt x="1244531" y="345998"/>
                  <a:pt x="1260746" y="322453"/>
                  <a:pt x="1276538" y="298764"/>
                </a:cubicBezTo>
                <a:cubicBezTo>
                  <a:pt x="1304368" y="257019"/>
                  <a:pt x="1377443" y="152592"/>
                  <a:pt x="1412340" y="117695"/>
                </a:cubicBezTo>
                <a:lnTo>
                  <a:pt x="1439501" y="90534"/>
                </a:lnTo>
                <a:cubicBezTo>
                  <a:pt x="1425983" y="151363"/>
                  <a:pt x="1426988" y="167512"/>
                  <a:pt x="1403287" y="217283"/>
                </a:cubicBezTo>
                <a:cubicBezTo>
                  <a:pt x="1380077" y="266023"/>
                  <a:pt x="1347930" y="310924"/>
                  <a:pt x="1330859" y="362138"/>
                </a:cubicBezTo>
                <a:cubicBezTo>
                  <a:pt x="1321806" y="389298"/>
                  <a:pt x="1317094" y="418317"/>
                  <a:pt x="1303699" y="443619"/>
                </a:cubicBezTo>
                <a:cubicBezTo>
                  <a:pt x="1289579" y="470290"/>
                  <a:pt x="1266781" y="491392"/>
                  <a:pt x="1249378" y="516047"/>
                </a:cubicBezTo>
                <a:cubicBezTo>
                  <a:pt x="1230553" y="542715"/>
                  <a:pt x="1215641" y="572193"/>
                  <a:pt x="1195057" y="597528"/>
                </a:cubicBezTo>
                <a:cubicBezTo>
                  <a:pt x="1176218" y="620714"/>
                  <a:pt x="1150346" y="637574"/>
                  <a:pt x="1131683" y="660903"/>
                </a:cubicBezTo>
                <a:cubicBezTo>
                  <a:pt x="1113898" y="683134"/>
                  <a:pt x="1104642" y="711459"/>
                  <a:pt x="1086416" y="733330"/>
                </a:cubicBezTo>
                <a:cubicBezTo>
                  <a:pt x="1074045" y="748175"/>
                  <a:pt x="1054812" y="755880"/>
                  <a:pt x="1041148" y="769544"/>
                </a:cubicBezTo>
                <a:cubicBezTo>
                  <a:pt x="1019641" y="791051"/>
                  <a:pt x="1003544" y="816897"/>
                  <a:pt x="986828" y="841972"/>
                </a:cubicBezTo>
                <a:cubicBezTo>
                  <a:pt x="998899" y="796705"/>
                  <a:pt x="1005022" y="749415"/>
                  <a:pt x="1023041" y="706170"/>
                </a:cubicBezTo>
                <a:cubicBezTo>
                  <a:pt x="1035596" y="676038"/>
                  <a:pt x="1061007" y="652939"/>
                  <a:pt x="1077362" y="624689"/>
                </a:cubicBezTo>
                <a:cubicBezTo>
                  <a:pt x="1094267" y="595489"/>
                  <a:pt x="1105270" y="563086"/>
                  <a:pt x="1122629" y="534154"/>
                </a:cubicBezTo>
                <a:cubicBezTo>
                  <a:pt x="1141582" y="502566"/>
                  <a:pt x="1167727" y="475603"/>
                  <a:pt x="1186004" y="443619"/>
                </a:cubicBezTo>
                <a:cubicBezTo>
                  <a:pt x="1204095" y="411959"/>
                  <a:pt x="1213810" y="376043"/>
                  <a:pt x="1231271" y="344031"/>
                </a:cubicBezTo>
                <a:cubicBezTo>
                  <a:pt x="1250113" y="309488"/>
                  <a:pt x="1274887" y="278470"/>
                  <a:pt x="1294645" y="244443"/>
                </a:cubicBezTo>
                <a:cubicBezTo>
                  <a:pt x="1329234" y="184874"/>
                  <a:pt x="1345525" y="112082"/>
                  <a:pt x="1394233" y="63374"/>
                </a:cubicBezTo>
                <a:cubicBezTo>
                  <a:pt x="1438141" y="19466"/>
                  <a:pt x="1420977" y="41364"/>
                  <a:pt x="1448554" y="0"/>
                </a:cubicBezTo>
                <a:cubicBezTo>
                  <a:pt x="1430447" y="66392"/>
                  <a:pt x="1419791" y="135281"/>
                  <a:pt x="1394233" y="199176"/>
                </a:cubicBezTo>
                <a:cubicBezTo>
                  <a:pt x="1289882" y="460058"/>
                  <a:pt x="1351315" y="313670"/>
                  <a:pt x="1158843" y="724277"/>
                </a:cubicBezTo>
                <a:cubicBezTo>
                  <a:pt x="1083343" y="885343"/>
                  <a:pt x="1054868" y="952200"/>
                  <a:pt x="959667" y="1104522"/>
                </a:cubicBezTo>
                <a:cubicBezTo>
                  <a:pt x="907765" y="1187565"/>
                  <a:pt x="850485" y="1267127"/>
                  <a:pt x="796705" y="1348966"/>
                </a:cubicBezTo>
                <a:cubicBezTo>
                  <a:pt x="741000" y="1433734"/>
                  <a:pt x="776910" y="1404411"/>
                  <a:pt x="724277" y="1439501"/>
                </a:cubicBezTo>
                <a:cubicBezTo>
                  <a:pt x="712206" y="1421394"/>
                  <a:pt x="696786" y="1405117"/>
                  <a:pt x="688063" y="1385180"/>
                </a:cubicBezTo>
                <a:cubicBezTo>
                  <a:pt x="675434" y="1356315"/>
                  <a:pt x="670456" y="1324669"/>
                  <a:pt x="660903" y="1294645"/>
                </a:cubicBezTo>
                <a:cubicBezTo>
                  <a:pt x="649329" y="1258269"/>
                  <a:pt x="640034" y="1220956"/>
                  <a:pt x="624689" y="1186004"/>
                </a:cubicBezTo>
                <a:cubicBezTo>
                  <a:pt x="585623" y="1097020"/>
                  <a:pt x="539799" y="1011158"/>
                  <a:pt x="497940" y="923453"/>
                </a:cubicBezTo>
                <a:cubicBezTo>
                  <a:pt x="476423" y="878371"/>
                  <a:pt x="461042" y="830012"/>
                  <a:pt x="434566" y="787651"/>
                </a:cubicBezTo>
                <a:cubicBezTo>
                  <a:pt x="404388" y="739366"/>
                  <a:pt x="371410" y="692722"/>
                  <a:pt x="344031" y="642796"/>
                </a:cubicBezTo>
                <a:cubicBezTo>
                  <a:pt x="320012" y="598996"/>
                  <a:pt x="302997" y="551674"/>
                  <a:pt x="280657" y="506994"/>
                </a:cubicBezTo>
                <a:cubicBezTo>
                  <a:pt x="263746" y="473173"/>
                  <a:pt x="244443" y="440602"/>
                  <a:pt x="226336" y="407406"/>
                </a:cubicBezTo>
                <a:cubicBezTo>
                  <a:pt x="220300" y="380245"/>
                  <a:pt x="214977" y="352917"/>
                  <a:pt x="208229" y="325924"/>
                </a:cubicBezTo>
                <a:cubicBezTo>
                  <a:pt x="205915" y="316666"/>
                  <a:pt x="189633" y="298764"/>
                  <a:pt x="199176" y="298764"/>
                </a:cubicBezTo>
                <a:cubicBezTo>
                  <a:pt x="219420" y="298764"/>
                  <a:pt x="235390" y="316871"/>
                  <a:pt x="253497" y="325924"/>
                </a:cubicBezTo>
                <a:cubicBezTo>
                  <a:pt x="274622" y="350067"/>
                  <a:pt x="294187" y="375668"/>
                  <a:pt x="316871" y="398352"/>
                </a:cubicBezTo>
                <a:cubicBezTo>
                  <a:pt x="381772" y="463253"/>
                  <a:pt x="443597" y="532126"/>
                  <a:pt x="516047" y="588475"/>
                </a:cubicBezTo>
                <a:cubicBezTo>
                  <a:pt x="646013" y="689559"/>
                  <a:pt x="710893" y="745335"/>
                  <a:pt x="851026" y="832918"/>
                </a:cubicBezTo>
                <a:cubicBezTo>
                  <a:pt x="912922" y="871603"/>
                  <a:pt x="978559" y="904006"/>
                  <a:pt x="1041148" y="941560"/>
                </a:cubicBezTo>
                <a:cubicBezTo>
                  <a:pt x="1084217" y="967401"/>
                  <a:pt x="1124172" y="998327"/>
                  <a:pt x="1167897" y="1023041"/>
                </a:cubicBezTo>
                <a:cubicBezTo>
                  <a:pt x="1193772" y="1037666"/>
                  <a:pt x="1222794" y="1045963"/>
                  <a:pt x="1249378" y="1059255"/>
                </a:cubicBezTo>
                <a:cubicBezTo>
                  <a:pt x="1265117" y="1067125"/>
                  <a:pt x="1307088" y="1098859"/>
                  <a:pt x="1294645" y="1086416"/>
                </a:cubicBezTo>
                <a:cubicBezTo>
                  <a:pt x="1279257" y="1071028"/>
                  <a:pt x="1256848" y="1064364"/>
                  <a:pt x="1240325" y="1050202"/>
                </a:cubicBezTo>
                <a:cubicBezTo>
                  <a:pt x="1214402" y="1027982"/>
                  <a:pt x="1195131" y="998366"/>
                  <a:pt x="1167897" y="977774"/>
                </a:cubicBezTo>
                <a:cubicBezTo>
                  <a:pt x="940503" y="805842"/>
                  <a:pt x="883422" y="782013"/>
                  <a:pt x="669956" y="642796"/>
                </a:cubicBezTo>
                <a:cubicBezTo>
                  <a:pt x="199761" y="336147"/>
                  <a:pt x="703683" y="649263"/>
                  <a:pt x="235390" y="380245"/>
                </a:cubicBezTo>
                <a:cubicBezTo>
                  <a:pt x="-11707" y="238296"/>
                  <a:pt x="107854" y="280397"/>
                  <a:pt x="0" y="244443"/>
                </a:cubicBezTo>
                <a:cubicBezTo>
                  <a:pt x="9053" y="241425"/>
                  <a:pt x="17617" y="235390"/>
                  <a:pt x="27160" y="235390"/>
                </a:cubicBezTo>
                <a:cubicBezTo>
                  <a:pt x="480479" y="235390"/>
                  <a:pt x="395442" y="251502"/>
                  <a:pt x="950614" y="344031"/>
                </a:cubicBezTo>
                <a:lnTo>
                  <a:pt x="1702051" y="470780"/>
                </a:lnTo>
                <a:cubicBezTo>
                  <a:pt x="1804657" y="491905"/>
                  <a:pt x="1907819" y="510490"/>
                  <a:pt x="2009869" y="534154"/>
                </a:cubicBezTo>
                <a:cubicBezTo>
                  <a:pt x="2261728" y="592556"/>
                  <a:pt x="2237890" y="586018"/>
                  <a:pt x="2381061" y="633742"/>
                </a:cubicBezTo>
                <a:cubicBezTo>
                  <a:pt x="2375025" y="660902"/>
                  <a:pt x="2374613" y="689961"/>
                  <a:pt x="2362954" y="715223"/>
                </a:cubicBezTo>
                <a:cubicBezTo>
                  <a:pt x="2355800" y="730723"/>
                  <a:pt x="2337982" y="738589"/>
                  <a:pt x="2326740" y="751437"/>
                </a:cubicBezTo>
                <a:cubicBezTo>
                  <a:pt x="2257467" y="830607"/>
                  <a:pt x="2358141" y="739252"/>
                  <a:pt x="2236206" y="851025"/>
                </a:cubicBezTo>
                <a:cubicBezTo>
                  <a:pt x="2181317" y="901340"/>
                  <a:pt x="2117332" y="933418"/>
                  <a:pt x="2046083" y="959667"/>
                </a:cubicBezTo>
                <a:cubicBezTo>
                  <a:pt x="1988744" y="980792"/>
                  <a:pt x="1934342" y="1012995"/>
                  <a:pt x="1874067" y="1023041"/>
                </a:cubicBezTo>
                <a:cubicBezTo>
                  <a:pt x="1729581" y="1047122"/>
                  <a:pt x="1802012" y="1038099"/>
                  <a:pt x="1656784" y="1050202"/>
                </a:cubicBezTo>
                <a:cubicBezTo>
                  <a:pt x="1520982" y="1044166"/>
                  <a:pt x="1384812" y="1043770"/>
                  <a:pt x="1249378" y="1032095"/>
                </a:cubicBezTo>
                <a:cubicBezTo>
                  <a:pt x="1209264" y="1028637"/>
                  <a:pt x="1171350" y="1011833"/>
                  <a:pt x="1131683" y="1004934"/>
                </a:cubicBezTo>
                <a:cubicBezTo>
                  <a:pt x="1101803" y="999737"/>
                  <a:pt x="1071326" y="998899"/>
                  <a:pt x="1041148" y="995881"/>
                </a:cubicBezTo>
                <a:cubicBezTo>
                  <a:pt x="1026059" y="992863"/>
                  <a:pt x="1010809" y="990559"/>
                  <a:pt x="995881" y="986827"/>
                </a:cubicBezTo>
                <a:cubicBezTo>
                  <a:pt x="986623" y="984512"/>
                  <a:pt x="965703" y="986827"/>
                  <a:pt x="968721" y="977774"/>
                </a:cubicBezTo>
                <a:cubicBezTo>
                  <a:pt x="972989" y="964971"/>
                  <a:pt x="993490" y="966820"/>
                  <a:pt x="1004934" y="959667"/>
                </a:cubicBezTo>
                <a:cubicBezTo>
                  <a:pt x="1017729" y="951670"/>
                  <a:pt x="1028209" y="940270"/>
                  <a:pt x="1041148" y="932507"/>
                </a:cubicBezTo>
                <a:cubicBezTo>
                  <a:pt x="1058507" y="922091"/>
                  <a:pt x="1077697" y="915040"/>
                  <a:pt x="1095469" y="905346"/>
                </a:cubicBezTo>
                <a:cubicBezTo>
                  <a:pt x="1110917" y="896920"/>
                  <a:pt x="1124997" y="886055"/>
                  <a:pt x="1140736" y="878186"/>
                </a:cubicBezTo>
                <a:cubicBezTo>
                  <a:pt x="1155272" y="870918"/>
                  <a:pt x="1171737" y="867861"/>
                  <a:pt x="1186004" y="860079"/>
                </a:cubicBezTo>
                <a:cubicBezTo>
                  <a:pt x="1205109" y="849658"/>
                  <a:pt x="1240325" y="823865"/>
                  <a:pt x="1240325" y="823865"/>
                </a:cubicBezTo>
                <a:cubicBezTo>
                  <a:pt x="581274" y="810415"/>
                  <a:pt x="609509" y="850004"/>
                  <a:pt x="235390" y="787651"/>
                </a:cubicBezTo>
                <a:cubicBezTo>
                  <a:pt x="136321" y="771139"/>
                  <a:pt x="165008" y="779279"/>
                  <a:pt x="108641" y="760491"/>
                </a:cubicBezTo>
                <a:cubicBezTo>
                  <a:pt x="114677" y="748420"/>
                  <a:pt x="114783" y="730520"/>
                  <a:pt x="126748" y="724277"/>
                </a:cubicBezTo>
                <a:cubicBezTo>
                  <a:pt x="180552" y="696205"/>
                  <a:pt x="398706" y="620997"/>
                  <a:pt x="470780" y="606582"/>
                </a:cubicBezTo>
                <a:cubicBezTo>
                  <a:pt x="539419" y="592854"/>
                  <a:pt x="609531" y="587929"/>
                  <a:pt x="679010" y="579421"/>
                </a:cubicBezTo>
                <a:cubicBezTo>
                  <a:pt x="757408" y="569821"/>
                  <a:pt x="835632" y="558096"/>
                  <a:pt x="914400" y="552261"/>
                </a:cubicBezTo>
                <a:cubicBezTo>
                  <a:pt x="998722" y="546015"/>
                  <a:pt x="1083412" y="546587"/>
                  <a:pt x="1167897" y="543208"/>
                </a:cubicBezTo>
                <a:lnTo>
                  <a:pt x="1593410" y="525101"/>
                </a:lnTo>
                <a:cubicBezTo>
                  <a:pt x="1659802" y="531137"/>
                  <a:pt x="1729663" y="521185"/>
                  <a:pt x="1792586" y="543208"/>
                </a:cubicBezTo>
                <a:cubicBezTo>
                  <a:pt x="1807925" y="548577"/>
                  <a:pt x="1782996" y="574634"/>
                  <a:pt x="1774479" y="588475"/>
                </a:cubicBezTo>
                <a:cubicBezTo>
                  <a:pt x="1758663" y="614177"/>
                  <a:pt x="1737255" y="636035"/>
                  <a:pt x="1720158" y="660903"/>
                </a:cubicBezTo>
                <a:cubicBezTo>
                  <a:pt x="1704029" y="684363"/>
                  <a:pt x="1694570" y="712757"/>
                  <a:pt x="1674891" y="733330"/>
                </a:cubicBezTo>
                <a:cubicBezTo>
                  <a:pt x="1627598" y="782772"/>
                  <a:pt x="1573065" y="824765"/>
                  <a:pt x="1520982" y="869132"/>
                </a:cubicBezTo>
                <a:cubicBezTo>
                  <a:pt x="1497045" y="889523"/>
                  <a:pt x="1403543" y="964945"/>
                  <a:pt x="1367073" y="986827"/>
                </a:cubicBezTo>
                <a:cubicBezTo>
                  <a:pt x="1289925" y="1033115"/>
                  <a:pt x="1308446" y="1015423"/>
                  <a:pt x="1231271" y="1041148"/>
                </a:cubicBezTo>
                <a:cubicBezTo>
                  <a:pt x="1215854" y="1046287"/>
                  <a:pt x="1201221" y="1053549"/>
                  <a:pt x="1186004" y="1059255"/>
                </a:cubicBezTo>
                <a:cubicBezTo>
                  <a:pt x="1177068" y="1062606"/>
                  <a:pt x="1167897" y="1065291"/>
                  <a:pt x="1158843" y="1068309"/>
                </a:cubicBezTo>
                <a:cubicBezTo>
                  <a:pt x="1139002" y="869887"/>
                  <a:pt x="1140660" y="931186"/>
                  <a:pt x="1167897" y="597528"/>
                </a:cubicBezTo>
                <a:cubicBezTo>
                  <a:pt x="1170928" y="560399"/>
                  <a:pt x="1208523" y="480063"/>
                  <a:pt x="1222218" y="452673"/>
                </a:cubicBezTo>
                <a:cubicBezTo>
                  <a:pt x="1233099" y="430911"/>
                  <a:pt x="1247550" y="411061"/>
                  <a:pt x="1258431" y="389299"/>
                </a:cubicBezTo>
                <a:cubicBezTo>
                  <a:pt x="1268709" y="368742"/>
                  <a:pt x="1274011" y="345776"/>
                  <a:pt x="1285592" y="325924"/>
                </a:cubicBezTo>
                <a:cubicBezTo>
                  <a:pt x="1295329" y="309233"/>
                  <a:pt x="1310212" y="296116"/>
                  <a:pt x="1321806" y="280657"/>
                </a:cubicBezTo>
                <a:cubicBezTo>
                  <a:pt x="1328335" y="271952"/>
                  <a:pt x="1333877" y="262550"/>
                  <a:pt x="1339913" y="253497"/>
                </a:cubicBezTo>
                <a:cubicBezTo>
                  <a:pt x="1333877" y="289711"/>
                  <a:pt x="1329369" y="326212"/>
                  <a:pt x="1321806" y="362138"/>
                </a:cubicBezTo>
                <a:cubicBezTo>
                  <a:pt x="1308947" y="423219"/>
                  <a:pt x="1296942" y="436730"/>
                  <a:pt x="1276538" y="497940"/>
                </a:cubicBezTo>
                <a:cubicBezTo>
                  <a:pt x="1232800" y="629151"/>
                  <a:pt x="1277730" y="502622"/>
                  <a:pt x="1249378" y="606582"/>
                </a:cubicBezTo>
                <a:cubicBezTo>
                  <a:pt x="1244356" y="624996"/>
                  <a:pt x="1237307" y="642796"/>
                  <a:pt x="1231271" y="660903"/>
                </a:cubicBezTo>
                <a:cubicBezTo>
                  <a:pt x="1228253" y="679010"/>
                  <a:pt x="1226200" y="697304"/>
                  <a:pt x="1222218" y="715223"/>
                </a:cubicBezTo>
                <a:cubicBezTo>
                  <a:pt x="1220148" y="724539"/>
                  <a:pt x="1215036" y="733026"/>
                  <a:pt x="1213164" y="742384"/>
                </a:cubicBezTo>
                <a:cubicBezTo>
                  <a:pt x="1208979" y="763309"/>
                  <a:pt x="1207356" y="784667"/>
                  <a:pt x="1204111" y="805758"/>
                </a:cubicBezTo>
                <a:cubicBezTo>
                  <a:pt x="1201320" y="823901"/>
                  <a:pt x="1198341" y="842018"/>
                  <a:pt x="1195057" y="860079"/>
                </a:cubicBezTo>
                <a:cubicBezTo>
                  <a:pt x="1188389" y="896752"/>
                  <a:pt x="1181394" y="921894"/>
                  <a:pt x="1176950" y="959667"/>
                </a:cubicBezTo>
                <a:cubicBezTo>
                  <a:pt x="1173055" y="992772"/>
                  <a:pt x="1172302" y="1026215"/>
                  <a:pt x="1167897" y="1059255"/>
                </a:cubicBezTo>
                <a:cubicBezTo>
                  <a:pt x="1166252" y="1071589"/>
                  <a:pt x="1161542" y="1083322"/>
                  <a:pt x="1158843" y="1095469"/>
                </a:cubicBezTo>
                <a:cubicBezTo>
                  <a:pt x="1135855" y="1198912"/>
                  <a:pt x="1162817" y="1088631"/>
                  <a:pt x="1140736" y="1176950"/>
                </a:cubicBezTo>
                <a:cubicBezTo>
                  <a:pt x="1001222" y="1089753"/>
                  <a:pt x="1129137" y="1182980"/>
                  <a:pt x="986828" y="1013988"/>
                </a:cubicBezTo>
                <a:cubicBezTo>
                  <a:pt x="888095" y="896742"/>
                  <a:pt x="785759" y="787322"/>
                  <a:pt x="669956" y="688063"/>
                </a:cubicBezTo>
                <a:cubicBezTo>
                  <a:pt x="485575" y="530022"/>
                  <a:pt x="702641" y="738856"/>
                  <a:pt x="488887" y="525101"/>
                </a:cubicBezTo>
                <a:lnTo>
                  <a:pt x="461727" y="497940"/>
                </a:lnTo>
                <a:lnTo>
                  <a:pt x="434566" y="470780"/>
                </a:lnTo>
                <a:cubicBezTo>
                  <a:pt x="428530" y="449655"/>
                  <a:pt x="417678" y="429342"/>
                  <a:pt x="416459" y="407406"/>
                </a:cubicBezTo>
                <a:cubicBezTo>
                  <a:pt x="407023" y="237550"/>
                  <a:pt x="443860" y="308615"/>
                  <a:pt x="633742" y="316871"/>
                </a:cubicBezTo>
                <a:cubicBezTo>
                  <a:pt x="663571" y="323263"/>
                  <a:pt x="833835" y="358250"/>
                  <a:pt x="869132" y="371192"/>
                </a:cubicBezTo>
                <a:cubicBezTo>
                  <a:pt x="924943" y="391656"/>
                  <a:pt x="1032095" y="443619"/>
                  <a:pt x="1032095" y="443619"/>
                </a:cubicBezTo>
                <a:cubicBezTo>
                  <a:pt x="1044166" y="455690"/>
                  <a:pt x="1058519" y="465847"/>
                  <a:pt x="1068309" y="479833"/>
                </a:cubicBezTo>
                <a:cubicBezTo>
                  <a:pt x="1099257" y="524044"/>
                  <a:pt x="1096150" y="538241"/>
                  <a:pt x="1104523" y="588475"/>
                </a:cubicBezTo>
                <a:cubicBezTo>
                  <a:pt x="1102778" y="608539"/>
                  <a:pt x="1122361" y="769814"/>
                  <a:pt x="1068309" y="823865"/>
                </a:cubicBezTo>
                <a:cubicBezTo>
                  <a:pt x="1057639" y="834534"/>
                  <a:pt x="1045285" y="843697"/>
                  <a:pt x="1032095" y="851025"/>
                </a:cubicBezTo>
                <a:cubicBezTo>
                  <a:pt x="1017889" y="858917"/>
                  <a:pt x="1002663" y="865478"/>
                  <a:pt x="986828" y="869132"/>
                </a:cubicBezTo>
                <a:cubicBezTo>
                  <a:pt x="963121" y="874603"/>
                  <a:pt x="938543" y="875168"/>
                  <a:pt x="914400" y="878186"/>
                </a:cubicBezTo>
                <a:cubicBezTo>
                  <a:pt x="801873" y="874167"/>
                  <a:pt x="677627" y="891132"/>
                  <a:pt x="570368" y="841972"/>
                </a:cubicBezTo>
                <a:cubicBezTo>
                  <a:pt x="526132" y="821697"/>
                  <a:pt x="481282" y="800358"/>
                  <a:pt x="443620" y="769544"/>
                </a:cubicBezTo>
                <a:lnTo>
                  <a:pt x="344031" y="688063"/>
                </a:lnTo>
                <a:cubicBezTo>
                  <a:pt x="284639" y="569279"/>
                  <a:pt x="271604" y="581699"/>
                  <a:pt x="271604" y="461726"/>
                </a:cubicBezTo>
                <a:cubicBezTo>
                  <a:pt x="271604" y="446338"/>
                  <a:pt x="273490" y="430076"/>
                  <a:pt x="280657" y="416459"/>
                </a:cubicBezTo>
                <a:cubicBezTo>
                  <a:pt x="336963" y="309477"/>
                  <a:pt x="346888" y="292718"/>
                  <a:pt x="434566" y="235390"/>
                </a:cubicBezTo>
                <a:cubicBezTo>
                  <a:pt x="487848" y="200552"/>
                  <a:pt x="536552" y="154095"/>
                  <a:pt x="597528" y="135802"/>
                </a:cubicBezTo>
                <a:cubicBezTo>
                  <a:pt x="667637" y="114769"/>
                  <a:pt x="698877" y="103005"/>
                  <a:pt x="769544" y="90534"/>
                </a:cubicBezTo>
                <a:cubicBezTo>
                  <a:pt x="793504" y="86306"/>
                  <a:pt x="817829" y="84499"/>
                  <a:pt x="841972" y="81481"/>
                </a:cubicBezTo>
                <a:cubicBezTo>
                  <a:pt x="884222" y="84499"/>
                  <a:pt x="929915" y="73557"/>
                  <a:pt x="968721" y="90534"/>
                </a:cubicBezTo>
                <a:cubicBezTo>
                  <a:pt x="986207" y="98184"/>
                  <a:pt x="981215" y="126613"/>
                  <a:pt x="986828" y="144855"/>
                </a:cubicBezTo>
                <a:cubicBezTo>
                  <a:pt x="993289" y="165853"/>
                  <a:pt x="999902" y="186843"/>
                  <a:pt x="1004934" y="208229"/>
                </a:cubicBezTo>
                <a:cubicBezTo>
                  <a:pt x="1011983" y="238187"/>
                  <a:pt x="1017981" y="268407"/>
                  <a:pt x="1023041" y="298764"/>
                </a:cubicBezTo>
                <a:cubicBezTo>
                  <a:pt x="1030956" y="346252"/>
                  <a:pt x="1037118" y="426443"/>
                  <a:pt x="1041148" y="470780"/>
                </a:cubicBezTo>
                <a:cubicBezTo>
                  <a:pt x="1038130" y="543208"/>
                  <a:pt x="1041676" y="616208"/>
                  <a:pt x="1032095" y="688063"/>
                </a:cubicBezTo>
                <a:cubicBezTo>
                  <a:pt x="1029419" y="708130"/>
                  <a:pt x="1015803" y="725305"/>
                  <a:pt x="1004934" y="742384"/>
                </a:cubicBezTo>
                <a:cubicBezTo>
                  <a:pt x="993513" y="760331"/>
                  <a:pt x="940284" y="822560"/>
                  <a:pt x="923453" y="832918"/>
                </a:cubicBezTo>
                <a:cubicBezTo>
                  <a:pt x="898262" y="848420"/>
                  <a:pt x="818040" y="869503"/>
                  <a:pt x="787651" y="878186"/>
                </a:cubicBezTo>
                <a:cubicBezTo>
                  <a:pt x="691081" y="872150"/>
                  <a:pt x="593442" y="875626"/>
                  <a:pt x="497940" y="860079"/>
                </a:cubicBezTo>
                <a:cubicBezTo>
                  <a:pt x="461949" y="854220"/>
                  <a:pt x="431868" y="829176"/>
                  <a:pt x="398352" y="814812"/>
                </a:cubicBezTo>
                <a:cubicBezTo>
                  <a:pt x="368477" y="802009"/>
                  <a:pt x="337996" y="790669"/>
                  <a:pt x="307818" y="778598"/>
                </a:cubicBezTo>
                <a:cubicBezTo>
                  <a:pt x="194610" y="685973"/>
                  <a:pt x="230296" y="733895"/>
                  <a:pt x="181069" y="651849"/>
                </a:cubicBezTo>
                <a:cubicBezTo>
                  <a:pt x="169842" y="595713"/>
                  <a:pt x="161171" y="574647"/>
                  <a:pt x="181069" y="506994"/>
                </a:cubicBezTo>
                <a:cubicBezTo>
                  <a:pt x="191343" y="472063"/>
                  <a:pt x="272307" y="393069"/>
                  <a:pt x="289711" y="380245"/>
                </a:cubicBezTo>
                <a:cubicBezTo>
                  <a:pt x="342407" y="341416"/>
                  <a:pt x="456050" y="294774"/>
                  <a:pt x="516047" y="280657"/>
                </a:cubicBezTo>
                <a:cubicBezTo>
                  <a:pt x="575457" y="266678"/>
                  <a:pt x="636760" y="262550"/>
                  <a:pt x="697117" y="253497"/>
                </a:cubicBezTo>
                <a:cubicBezTo>
                  <a:pt x="1023058" y="270212"/>
                  <a:pt x="1312090" y="258209"/>
                  <a:pt x="1620570" y="325924"/>
                </a:cubicBezTo>
                <a:cubicBezTo>
                  <a:pt x="1739627" y="352058"/>
                  <a:pt x="1778297" y="372783"/>
                  <a:pt x="1883121" y="416459"/>
                </a:cubicBezTo>
                <a:cubicBezTo>
                  <a:pt x="1964346" y="497686"/>
                  <a:pt x="1947267" y="455764"/>
                  <a:pt x="1964602" y="525101"/>
                </a:cubicBezTo>
                <a:cubicBezTo>
                  <a:pt x="1961584" y="588475"/>
                  <a:pt x="1964217" y="652372"/>
                  <a:pt x="1955548" y="715223"/>
                </a:cubicBezTo>
                <a:cubicBezTo>
                  <a:pt x="1950521" y="751669"/>
                  <a:pt x="1917561" y="813764"/>
                  <a:pt x="1892174" y="841972"/>
                </a:cubicBezTo>
                <a:cubicBezTo>
                  <a:pt x="1879247" y="856335"/>
                  <a:pt x="1861270" y="865259"/>
                  <a:pt x="1846907" y="878186"/>
                </a:cubicBezTo>
                <a:cubicBezTo>
                  <a:pt x="1809084" y="912227"/>
                  <a:pt x="1796110" y="938757"/>
                  <a:pt x="1747319" y="959667"/>
                </a:cubicBezTo>
                <a:cubicBezTo>
                  <a:pt x="1707776" y="976614"/>
                  <a:pt x="1644356" y="981591"/>
                  <a:pt x="1602463" y="986827"/>
                </a:cubicBezTo>
                <a:cubicBezTo>
                  <a:pt x="1484768" y="980791"/>
                  <a:pt x="1364883" y="992113"/>
                  <a:pt x="1249378" y="968720"/>
                </a:cubicBezTo>
                <a:cubicBezTo>
                  <a:pt x="1124030" y="943333"/>
                  <a:pt x="1001630" y="899168"/>
                  <a:pt x="887239" y="841972"/>
                </a:cubicBezTo>
                <a:cubicBezTo>
                  <a:pt x="805007" y="800856"/>
                  <a:pt x="736156" y="770408"/>
                  <a:pt x="660903" y="715223"/>
                </a:cubicBezTo>
                <a:cubicBezTo>
                  <a:pt x="522022" y="613377"/>
                  <a:pt x="534964" y="621106"/>
                  <a:pt x="452673" y="525101"/>
                </a:cubicBezTo>
                <a:cubicBezTo>
                  <a:pt x="446637" y="510012"/>
                  <a:pt x="433216" y="496029"/>
                  <a:pt x="434566" y="479833"/>
                </a:cubicBezTo>
                <a:cubicBezTo>
                  <a:pt x="439432" y="421440"/>
                  <a:pt x="448243" y="361905"/>
                  <a:pt x="470780" y="307817"/>
                </a:cubicBezTo>
                <a:cubicBezTo>
                  <a:pt x="485796" y="271779"/>
                  <a:pt x="581920" y="236491"/>
                  <a:pt x="606582" y="226336"/>
                </a:cubicBezTo>
                <a:cubicBezTo>
                  <a:pt x="630424" y="216519"/>
                  <a:pt x="654075" y="205738"/>
                  <a:pt x="679010" y="199176"/>
                </a:cubicBezTo>
                <a:cubicBezTo>
                  <a:pt x="756910" y="178676"/>
                  <a:pt x="815397" y="178238"/>
                  <a:pt x="896293" y="172016"/>
                </a:cubicBezTo>
                <a:cubicBezTo>
                  <a:pt x="1134546" y="189885"/>
                  <a:pt x="1198620" y="167768"/>
                  <a:pt x="1376127" y="235390"/>
                </a:cubicBezTo>
                <a:cubicBezTo>
                  <a:pt x="1401351" y="244999"/>
                  <a:pt x="1426361" y="256240"/>
                  <a:pt x="1448554" y="271604"/>
                </a:cubicBezTo>
                <a:cubicBezTo>
                  <a:pt x="1474975" y="289896"/>
                  <a:pt x="1509931" y="337007"/>
                  <a:pt x="1530035" y="362138"/>
                </a:cubicBezTo>
                <a:cubicBezTo>
                  <a:pt x="1547415" y="483789"/>
                  <a:pt x="1553130" y="479988"/>
                  <a:pt x="1502875" y="660903"/>
                </a:cubicBezTo>
                <a:cubicBezTo>
                  <a:pt x="1490329" y="706070"/>
                  <a:pt x="1409495" y="804152"/>
                  <a:pt x="1376127" y="832918"/>
                </a:cubicBezTo>
                <a:cubicBezTo>
                  <a:pt x="1277724" y="917749"/>
                  <a:pt x="1203283" y="982392"/>
                  <a:pt x="1086416" y="1023041"/>
                </a:cubicBezTo>
                <a:cubicBezTo>
                  <a:pt x="1051159" y="1035304"/>
                  <a:pt x="1014595" y="1044065"/>
                  <a:pt x="977774" y="1050202"/>
                </a:cubicBezTo>
                <a:cubicBezTo>
                  <a:pt x="941929" y="1056176"/>
                  <a:pt x="905346" y="1056237"/>
                  <a:pt x="869132" y="1059255"/>
                </a:cubicBezTo>
                <a:cubicBezTo>
                  <a:pt x="790972" y="1056813"/>
                  <a:pt x="619223" y="1075085"/>
                  <a:pt x="516047" y="1032095"/>
                </a:cubicBezTo>
                <a:cubicBezTo>
                  <a:pt x="499804" y="1025327"/>
                  <a:pt x="485869" y="1013988"/>
                  <a:pt x="470780" y="1004934"/>
                </a:cubicBezTo>
                <a:cubicBezTo>
                  <a:pt x="458709" y="989845"/>
                  <a:pt x="444508" y="976237"/>
                  <a:pt x="434566" y="959667"/>
                </a:cubicBezTo>
                <a:cubicBezTo>
                  <a:pt x="426205" y="945732"/>
                  <a:pt x="420400" y="930166"/>
                  <a:pt x="416459" y="914400"/>
                </a:cubicBezTo>
                <a:cubicBezTo>
                  <a:pt x="400151" y="849167"/>
                  <a:pt x="407406" y="754731"/>
                  <a:pt x="407406" y="697116"/>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Shape 46">
            <a:extLst>
              <a:ext uri="{FF2B5EF4-FFF2-40B4-BE49-F238E27FC236}">
                <a16:creationId xmlns:a16="http://schemas.microsoft.com/office/drawing/2014/main" id="{CB7A7BED-0A58-4375-9C00-B526EE778E76}"/>
              </a:ext>
            </a:extLst>
          </p:cNvPr>
          <p:cNvSpPr/>
          <p:nvPr/>
        </p:nvSpPr>
        <p:spPr bwMode="gray">
          <a:xfrm>
            <a:off x="6606581" y="1863437"/>
            <a:ext cx="1003333" cy="775302"/>
          </a:xfrm>
          <a:custGeom>
            <a:avLst/>
            <a:gdLst>
              <a:gd name="connsiteX0" fmla="*/ 889607 w 1704418"/>
              <a:gd name="connsiteY0" fmla="*/ 478095 h 1265747"/>
              <a:gd name="connsiteX1" fmla="*/ 835286 w 1704418"/>
              <a:gd name="connsiteY1" fmla="*/ 514309 h 1265747"/>
              <a:gd name="connsiteX2" fmla="*/ 799072 w 1704418"/>
              <a:gd name="connsiteY2" fmla="*/ 541470 h 1265747"/>
              <a:gd name="connsiteX3" fmla="*/ 726644 w 1704418"/>
              <a:gd name="connsiteY3" fmla="*/ 568630 h 1265747"/>
              <a:gd name="connsiteX4" fmla="*/ 690430 w 1704418"/>
              <a:gd name="connsiteY4" fmla="*/ 595790 h 1265747"/>
              <a:gd name="connsiteX5" fmla="*/ 636110 w 1704418"/>
              <a:gd name="connsiteY5" fmla="*/ 622951 h 1265747"/>
              <a:gd name="connsiteX6" fmla="*/ 554628 w 1704418"/>
              <a:gd name="connsiteY6" fmla="*/ 659165 h 1265747"/>
              <a:gd name="connsiteX7" fmla="*/ 527468 w 1704418"/>
              <a:gd name="connsiteY7" fmla="*/ 677272 h 1265747"/>
              <a:gd name="connsiteX8" fmla="*/ 436933 w 1704418"/>
              <a:gd name="connsiteY8" fmla="*/ 695379 h 1265747"/>
              <a:gd name="connsiteX9" fmla="*/ 373559 w 1704418"/>
              <a:gd name="connsiteY9" fmla="*/ 686325 h 1265747"/>
              <a:gd name="connsiteX10" fmla="*/ 400719 w 1704418"/>
              <a:gd name="connsiteY10" fmla="*/ 613897 h 1265747"/>
              <a:gd name="connsiteX11" fmla="*/ 518414 w 1704418"/>
              <a:gd name="connsiteY11" fmla="*/ 514309 h 1265747"/>
              <a:gd name="connsiteX12" fmla="*/ 636110 w 1704418"/>
              <a:gd name="connsiteY12" fmla="*/ 459988 h 1265747"/>
              <a:gd name="connsiteX13" fmla="*/ 799072 w 1704418"/>
              <a:gd name="connsiteY13" fmla="*/ 441882 h 1265747"/>
              <a:gd name="connsiteX14" fmla="*/ 1079729 w 1704418"/>
              <a:gd name="connsiteY14" fmla="*/ 496202 h 1265747"/>
              <a:gd name="connsiteX15" fmla="*/ 1106890 w 1704418"/>
              <a:gd name="connsiteY15" fmla="*/ 523363 h 1265747"/>
              <a:gd name="connsiteX16" fmla="*/ 1097836 w 1704418"/>
              <a:gd name="connsiteY16" fmla="*/ 758753 h 1265747"/>
              <a:gd name="connsiteX17" fmla="*/ 1052569 w 1704418"/>
              <a:gd name="connsiteY17" fmla="*/ 876448 h 1265747"/>
              <a:gd name="connsiteX18" fmla="*/ 980141 w 1704418"/>
              <a:gd name="connsiteY18" fmla="*/ 976036 h 1265747"/>
              <a:gd name="connsiteX19" fmla="*/ 898660 w 1704418"/>
              <a:gd name="connsiteY19" fmla="*/ 1030357 h 1265747"/>
              <a:gd name="connsiteX20" fmla="*/ 844339 w 1704418"/>
              <a:gd name="connsiteY20" fmla="*/ 1057517 h 1265747"/>
              <a:gd name="connsiteX21" fmla="*/ 672323 w 1704418"/>
              <a:gd name="connsiteY21" fmla="*/ 1039410 h 1265747"/>
              <a:gd name="connsiteX22" fmla="*/ 608949 w 1704418"/>
              <a:gd name="connsiteY22" fmla="*/ 994143 h 1265747"/>
              <a:gd name="connsiteX23" fmla="*/ 527468 w 1704418"/>
              <a:gd name="connsiteY23" fmla="*/ 957929 h 1265747"/>
              <a:gd name="connsiteX24" fmla="*/ 355452 w 1704418"/>
              <a:gd name="connsiteY24" fmla="*/ 858341 h 1265747"/>
              <a:gd name="connsiteX25" fmla="*/ 210597 w 1704418"/>
              <a:gd name="connsiteY25" fmla="*/ 794967 h 1265747"/>
              <a:gd name="connsiteX26" fmla="*/ 147222 w 1704418"/>
              <a:gd name="connsiteY26" fmla="*/ 767806 h 1265747"/>
              <a:gd name="connsiteX27" fmla="*/ 201543 w 1704418"/>
              <a:gd name="connsiteY27" fmla="*/ 650111 h 1265747"/>
              <a:gd name="connsiteX28" fmla="*/ 246811 w 1704418"/>
              <a:gd name="connsiteY28" fmla="*/ 622951 h 1265747"/>
              <a:gd name="connsiteX29" fmla="*/ 310185 w 1704418"/>
              <a:gd name="connsiteY29" fmla="*/ 568630 h 1265747"/>
              <a:gd name="connsiteX30" fmla="*/ 455040 w 1704418"/>
              <a:gd name="connsiteY30" fmla="*/ 514309 h 1265747"/>
              <a:gd name="connsiteX31" fmla="*/ 527468 w 1704418"/>
              <a:gd name="connsiteY31" fmla="*/ 496202 h 1265747"/>
              <a:gd name="connsiteX32" fmla="*/ 717591 w 1704418"/>
              <a:gd name="connsiteY32" fmla="*/ 532416 h 1265747"/>
              <a:gd name="connsiteX33" fmla="*/ 744751 w 1704418"/>
              <a:gd name="connsiteY33" fmla="*/ 559577 h 1265747"/>
              <a:gd name="connsiteX34" fmla="*/ 762858 w 1704418"/>
              <a:gd name="connsiteY34" fmla="*/ 613897 h 1265747"/>
              <a:gd name="connsiteX35" fmla="*/ 771912 w 1704418"/>
              <a:gd name="connsiteY35" fmla="*/ 641058 h 1265747"/>
              <a:gd name="connsiteX36" fmla="*/ 762858 w 1704418"/>
              <a:gd name="connsiteY36" fmla="*/ 785913 h 1265747"/>
              <a:gd name="connsiteX37" fmla="*/ 744751 w 1704418"/>
              <a:gd name="connsiteY37" fmla="*/ 813074 h 1265747"/>
              <a:gd name="connsiteX38" fmla="*/ 735698 w 1704418"/>
              <a:gd name="connsiteY38" fmla="*/ 840234 h 1265747"/>
              <a:gd name="connsiteX39" fmla="*/ 672323 w 1704418"/>
              <a:gd name="connsiteY39" fmla="*/ 885501 h 1265747"/>
              <a:gd name="connsiteX40" fmla="*/ 590842 w 1704418"/>
              <a:gd name="connsiteY40" fmla="*/ 903608 h 1265747"/>
              <a:gd name="connsiteX41" fmla="*/ 500308 w 1704418"/>
              <a:gd name="connsiteY41" fmla="*/ 921715 h 1265747"/>
              <a:gd name="connsiteX42" fmla="*/ 391666 w 1704418"/>
              <a:gd name="connsiteY42" fmla="*/ 903608 h 1265747"/>
              <a:gd name="connsiteX43" fmla="*/ 382613 w 1704418"/>
              <a:gd name="connsiteY43" fmla="*/ 867394 h 1265747"/>
              <a:gd name="connsiteX44" fmla="*/ 373559 w 1704418"/>
              <a:gd name="connsiteY44" fmla="*/ 794967 h 1265747"/>
              <a:gd name="connsiteX45" fmla="*/ 400719 w 1704418"/>
              <a:gd name="connsiteY45" fmla="*/ 604844 h 1265747"/>
              <a:gd name="connsiteX46" fmla="*/ 418826 w 1704418"/>
              <a:gd name="connsiteY46" fmla="*/ 559577 h 1265747"/>
              <a:gd name="connsiteX47" fmla="*/ 482201 w 1704418"/>
              <a:gd name="connsiteY47" fmla="*/ 450935 h 1265747"/>
              <a:gd name="connsiteX48" fmla="*/ 509361 w 1704418"/>
              <a:gd name="connsiteY48" fmla="*/ 405668 h 1265747"/>
              <a:gd name="connsiteX49" fmla="*/ 563682 w 1704418"/>
              <a:gd name="connsiteY49" fmla="*/ 333240 h 1265747"/>
              <a:gd name="connsiteX50" fmla="*/ 581789 w 1704418"/>
              <a:gd name="connsiteY50" fmla="*/ 306080 h 1265747"/>
              <a:gd name="connsiteX51" fmla="*/ 563682 w 1704418"/>
              <a:gd name="connsiteY51" fmla="*/ 686325 h 1265747"/>
              <a:gd name="connsiteX52" fmla="*/ 554628 w 1704418"/>
              <a:gd name="connsiteY52" fmla="*/ 776860 h 1265747"/>
              <a:gd name="connsiteX53" fmla="*/ 536521 w 1704418"/>
              <a:gd name="connsiteY53" fmla="*/ 849287 h 1265747"/>
              <a:gd name="connsiteX54" fmla="*/ 527468 w 1704418"/>
              <a:gd name="connsiteY54" fmla="*/ 921715 h 1265747"/>
              <a:gd name="connsiteX55" fmla="*/ 482201 w 1704418"/>
              <a:gd name="connsiteY55" fmla="*/ 1039410 h 1265747"/>
              <a:gd name="connsiteX56" fmla="*/ 455040 w 1704418"/>
              <a:gd name="connsiteY56" fmla="*/ 1021303 h 1265747"/>
              <a:gd name="connsiteX57" fmla="*/ 427880 w 1704418"/>
              <a:gd name="connsiteY57" fmla="*/ 994143 h 1265747"/>
              <a:gd name="connsiteX58" fmla="*/ 355452 w 1704418"/>
              <a:gd name="connsiteY58" fmla="*/ 966983 h 1265747"/>
              <a:gd name="connsiteX59" fmla="*/ 283024 w 1704418"/>
              <a:gd name="connsiteY59" fmla="*/ 976036 h 1265747"/>
              <a:gd name="connsiteX60" fmla="*/ 183436 w 1704418"/>
              <a:gd name="connsiteY60" fmla="*/ 1003196 h 1265747"/>
              <a:gd name="connsiteX61" fmla="*/ 147222 w 1704418"/>
              <a:gd name="connsiteY61" fmla="*/ 1012250 h 1265747"/>
              <a:gd name="connsiteX62" fmla="*/ 83848 w 1704418"/>
              <a:gd name="connsiteY62" fmla="*/ 1030357 h 1265747"/>
              <a:gd name="connsiteX63" fmla="*/ 29527 w 1704418"/>
              <a:gd name="connsiteY63" fmla="*/ 1075624 h 1265747"/>
              <a:gd name="connsiteX64" fmla="*/ 2367 w 1704418"/>
              <a:gd name="connsiteY64" fmla="*/ 1093731 h 1265747"/>
              <a:gd name="connsiteX65" fmla="*/ 92902 w 1704418"/>
              <a:gd name="connsiteY65" fmla="*/ 1057517 h 1265747"/>
              <a:gd name="connsiteX66" fmla="*/ 156276 w 1704418"/>
              <a:gd name="connsiteY66" fmla="*/ 1048464 h 1265747"/>
              <a:gd name="connsiteX67" fmla="*/ 219650 w 1704418"/>
              <a:gd name="connsiteY67" fmla="*/ 1030357 h 1265747"/>
              <a:gd name="connsiteX68" fmla="*/ 373559 w 1704418"/>
              <a:gd name="connsiteY68" fmla="*/ 1012250 h 1265747"/>
              <a:gd name="connsiteX69" fmla="*/ 427880 w 1704418"/>
              <a:gd name="connsiteY69" fmla="*/ 1003196 h 1265747"/>
              <a:gd name="connsiteX70" fmla="*/ 491254 w 1704418"/>
              <a:gd name="connsiteY70" fmla="*/ 994143 h 1265747"/>
              <a:gd name="connsiteX71" fmla="*/ 536521 w 1704418"/>
              <a:gd name="connsiteY71" fmla="*/ 976036 h 1265747"/>
              <a:gd name="connsiteX72" fmla="*/ 563682 w 1704418"/>
              <a:gd name="connsiteY72" fmla="*/ 948876 h 1265747"/>
              <a:gd name="connsiteX73" fmla="*/ 590842 w 1704418"/>
              <a:gd name="connsiteY73" fmla="*/ 930769 h 1265747"/>
              <a:gd name="connsiteX74" fmla="*/ 599896 w 1704418"/>
              <a:gd name="connsiteY74" fmla="*/ 903608 h 1265747"/>
              <a:gd name="connsiteX75" fmla="*/ 590842 w 1704418"/>
              <a:gd name="connsiteY75" fmla="*/ 604844 h 1265747"/>
              <a:gd name="connsiteX76" fmla="*/ 545575 w 1704418"/>
              <a:gd name="connsiteY76" fmla="*/ 514309 h 1265747"/>
              <a:gd name="connsiteX77" fmla="*/ 500308 w 1704418"/>
              <a:gd name="connsiteY77" fmla="*/ 469042 h 1265747"/>
              <a:gd name="connsiteX78" fmla="*/ 455040 w 1704418"/>
              <a:gd name="connsiteY78" fmla="*/ 459988 h 1265747"/>
              <a:gd name="connsiteX79" fmla="*/ 391666 w 1704418"/>
              <a:gd name="connsiteY79" fmla="*/ 514309 h 1265747"/>
              <a:gd name="connsiteX80" fmla="*/ 346399 w 1704418"/>
              <a:gd name="connsiteY80" fmla="*/ 550523 h 1265747"/>
              <a:gd name="connsiteX81" fmla="*/ 310185 w 1704418"/>
              <a:gd name="connsiteY81" fmla="*/ 595790 h 1265747"/>
              <a:gd name="connsiteX82" fmla="*/ 237757 w 1704418"/>
              <a:gd name="connsiteY82" fmla="*/ 704432 h 1265747"/>
              <a:gd name="connsiteX83" fmla="*/ 183436 w 1704418"/>
              <a:gd name="connsiteY83" fmla="*/ 785913 h 1265747"/>
              <a:gd name="connsiteX84" fmla="*/ 156276 w 1704418"/>
              <a:gd name="connsiteY84" fmla="*/ 858341 h 1265747"/>
              <a:gd name="connsiteX85" fmla="*/ 129115 w 1704418"/>
              <a:gd name="connsiteY85" fmla="*/ 921715 h 1265747"/>
              <a:gd name="connsiteX86" fmla="*/ 147222 w 1704418"/>
              <a:gd name="connsiteY86" fmla="*/ 1075624 h 1265747"/>
              <a:gd name="connsiteX87" fmla="*/ 156276 w 1704418"/>
              <a:gd name="connsiteY87" fmla="*/ 1102785 h 1265747"/>
              <a:gd name="connsiteX88" fmla="*/ 301131 w 1704418"/>
              <a:gd name="connsiteY88" fmla="*/ 1157105 h 1265747"/>
              <a:gd name="connsiteX89" fmla="*/ 473147 w 1704418"/>
              <a:gd name="connsiteY89" fmla="*/ 1184266 h 1265747"/>
              <a:gd name="connsiteX90" fmla="*/ 871500 w 1704418"/>
              <a:gd name="connsiteY90" fmla="*/ 1175212 h 1265747"/>
              <a:gd name="connsiteX91" fmla="*/ 916767 w 1704418"/>
              <a:gd name="connsiteY91" fmla="*/ 1157105 h 1265747"/>
              <a:gd name="connsiteX92" fmla="*/ 952981 w 1704418"/>
              <a:gd name="connsiteY92" fmla="*/ 1120891 h 1265747"/>
              <a:gd name="connsiteX93" fmla="*/ 943927 w 1704418"/>
              <a:gd name="connsiteY93" fmla="*/ 1066571 h 1265747"/>
              <a:gd name="connsiteX94" fmla="*/ 871500 w 1704418"/>
              <a:gd name="connsiteY94" fmla="*/ 994143 h 1265747"/>
              <a:gd name="connsiteX95" fmla="*/ 808125 w 1704418"/>
              <a:gd name="connsiteY95" fmla="*/ 939822 h 1265747"/>
              <a:gd name="connsiteX96" fmla="*/ 744751 w 1704418"/>
              <a:gd name="connsiteY96" fmla="*/ 912662 h 1265747"/>
              <a:gd name="connsiteX97" fmla="*/ 690430 w 1704418"/>
              <a:gd name="connsiteY97" fmla="*/ 885501 h 1265747"/>
              <a:gd name="connsiteX98" fmla="*/ 618003 w 1704418"/>
              <a:gd name="connsiteY98" fmla="*/ 858341 h 1265747"/>
              <a:gd name="connsiteX99" fmla="*/ 554628 w 1704418"/>
              <a:gd name="connsiteY99" fmla="*/ 831181 h 1265747"/>
              <a:gd name="connsiteX100" fmla="*/ 328292 w 1704418"/>
              <a:gd name="connsiteY100" fmla="*/ 849287 h 1265747"/>
              <a:gd name="connsiteX101" fmla="*/ 283024 w 1704418"/>
              <a:gd name="connsiteY101" fmla="*/ 903608 h 1265747"/>
              <a:gd name="connsiteX102" fmla="*/ 264917 w 1704418"/>
              <a:gd name="connsiteY102" fmla="*/ 939822 h 1265747"/>
              <a:gd name="connsiteX103" fmla="*/ 246811 w 1704418"/>
              <a:gd name="connsiteY103" fmla="*/ 1003196 h 1265747"/>
              <a:gd name="connsiteX104" fmla="*/ 246811 w 1704418"/>
              <a:gd name="connsiteY104" fmla="*/ 1193319 h 1265747"/>
              <a:gd name="connsiteX105" fmla="*/ 283024 w 1704418"/>
              <a:gd name="connsiteY105" fmla="*/ 1211426 h 1265747"/>
              <a:gd name="connsiteX106" fmla="*/ 355452 w 1704418"/>
              <a:gd name="connsiteY106" fmla="*/ 1247640 h 1265747"/>
              <a:gd name="connsiteX107" fmla="*/ 491254 w 1704418"/>
              <a:gd name="connsiteY107" fmla="*/ 1265747 h 1265747"/>
              <a:gd name="connsiteX108" fmla="*/ 699484 w 1704418"/>
              <a:gd name="connsiteY108" fmla="*/ 1247640 h 1265747"/>
              <a:gd name="connsiteX109" fmla="*/ 744751 w 1704418"/>
              <a:gd name="connsiteY109" fmla="*/ 1238587 h 1265747"/>
              <a:gd name="connsiteX110" fmla="*/ 790018 w 1704418"/>
              <a:gd name="connsiteY110" fmla="*/ 1220480 h 1265747"/>
              <a:gd name="connsiteX111" fmla="*/ 817179 w 1704418"/>
              <a:gd name="connsiteY111" fmla="*/ 1211426 h 1265747"/>
              <a:gd name="connsiteX112" fmla="*/ 699484 w 1704418"/>
              <a:gd name="connsiteY112" fmla="*/ 1129945 h 1265747"/>
              <a:gd name="connsiteX113" fmla="*/ 618003 w 1704418"/>
              <a:gd name="connsiteY113" fmla="*/ 1066571 h 1265747"/>
              <a:gd name="connsiteX114" fmla="*/ 536521 w 1704418"/>
              <a:gd name="connsiteY114" fmla="*/ 1012250 h 1265747"/>
              <a:gd name="connsiteX115" fmla="*/ 482201 w 1704418"/>
              <a:gd name="connsiteY115" fmla="*/ 957929 h 1265747"/>
              <a:gd name="connsiteX116" fmla="*/ 409773 w 1704418"/>
              <a:gd name="connsiteY116" fmla="*/ 867394 h 1265747"/>
              <a:gd name="connsiteX117" fmla="*/ 427880 w 1704418"/>
              <a:gd name="connsiteY117" fmla="*/ 650111 h 1265747"/>
              <a:gd name="connsiteX118" fmla="*/ 464094 w 1704418"/>
              <a:gd name="connsiteY118" fmla="*/ 577684 h 1265747"/>
              <a:gd name="connsiteX119" fmla="*/ 654216 w 1704418"/>
              <a:gd name="connsiteY119" fmla="*/ 387561 h 1265747"/>
              <a:gd name="connsiteX120" fmla="*/ 744751 w 1704418"/>
              <a:gd name="connsiteY120" fmla="*/ 333240 h 1265747"/>
              <a:gd name="connsiteX121" fmla="*/ 835286 w 1704418"/>
              <a:gd name="connsiteY121" fmla="*/ 306080 h 1265747"/>
              <a:gd name="connsiteX122" fmla="*/ 980141 w 1704418"/>
              <a:gd name="connsiteY122" fmla="*/ 278919 h 1265747"/>
              <a:gd name="connsiteX123" fmla="*/ 1134050 w 1704418"/>
              <a:gd name="connsiteY123" fmla="*/ 287973 h 1265747"/>
              <a:gd name="connsiteX124" fmla="*/ 1143104 w 1704418"/>
              <a:gd name="connsiteY124" fmla="*/ 315133 h 1265747"/>
              <a:gd name="connsiteX125" fmla="*/ 1134050 w 1704418"/>
              <a:gd name="connsiteY125" fmla="*/ 487149 h 1265747"/>
              <a:gd name="connsiteX126" fmla="*/ 1079729 w 1704418"/>
              <a:gd name="connsiteY126" fmla="*/ 659165 h 1265747"/>
              <a:gd name="connsiteX127" fmla="*/ 1043515 w 1704418"/>
              <a:gd name="connsiteY127" fmla="*/ 740646 h 1265747"/>
              <a:gd name="connsiteX128" fmla="*/ 989195 w 1704418"/>
              <a:gd name="connsiteY128" fmla="*/ 813074 h 1265747"/>
              <a:gd name="connsiteX129" fmla="*/ 943927 w 1704418"/>
              <a:gd name="connsiteY129" fmla="*/ 885501 h 1265747"/>
              <a:gd name="connsiteX130" fmla="*/ 898660 w 1704418"/>
              <a:gd name="connsiteY130" fmla="*/ 921715 h 1265747"/>
              <a:gd name="connsiteX131" fmla="*/ 862446 w 1704418"/>
              <a:gd name="connsiteY131" fmla="*/ 966983 h 1265747"/>
              <a:gd name="connsiteX132" fmla="*/ 808125 w 1704418"/>
              <a:gd name="connsiteY132" fmla="*/ 1003196 h 1265747"/>
              <a:gd name="connsiteX133" fmla="*/ 835286 w 1704418"/>
              <a:gd name="connsiteY133" fmla="*/ 831181 h 1265747"/>
              <a:gd name="connsiteX134" fmla="*/ 862446 w 1704418"/>
              <a:gd name="connsiteY134" fmla="*/ 758753 h 1265747"/>
              <a:gd name="connsiteX135" fmla="*/ 952981 w 1704418"/>
              <a:gd name="connsiteY135" fmla="*/ 550523 h 1265747"/>
              <a:gd name="connsiteX136" fmla="*/ 998248 w 1704418"/>
              <a:gd name="connsiteY136" fmla="*/ 450935 h 1265747"/>
              <a:gd name="connsiteX137" fmla="*/ 1061622 w 1704418"/>
              <a:gd name="connsiteY137" fmla="*/ 351347 h 1265747"/>
              <a:gd name="connsiteX138" fmla="*/ 1124997 w 1704418"/>
              <a:gd name="connsiteY138" fmla="*/ 215545 h 1265747"/>
              <a:gd name="connsiteX139" fmla="*/ 1043515 w 1704418"/>
              <a:gd name="connsiteY139" fmla="*/ 514309 h 1265747"/>
              <a:gd name="connsiteX140" fmla="*/ 980141 w 1704418"/>
              <a:gd name="connsiteY140" fmla="*/ 704432 h 1265747"/>
              <a:gd name="connsiteX141" fmla="*/ 943927 w 1704418"/>
              <a:gd name="connsiteY141" fmla="*/ 776860 h 1265747"/>
              <a:gd name="connsiteX142" fmla="*/ 916767 w 1704418"/>
              <a:gd name="connsiteY142" fmla="*/ 840234 h 1265747"/>
              <a:gd name="connsiteX143" fmla="*/ 907714 w 1704418"/>
              <a:gd name="connsiteY143" fmla="*/ 894555 h 1265747"/>
              <a:gd name="connsiteX144" fmla="*/ 862446 w 1704418"/>
              <a:gd name="connsiteY144" fmla="*/ 966983 h 1265747"/>
              <a:gd name="connsiteX145" fmla="*/ 799072 w 1704418"/>
              <a:gd name="connsiteY145" fmla="*/ 912662 h 1265747"/>
              <a:gd name="connsiteX146" fmla="*/ 518414 w 1704418"/>
              <a:gd name="connsiteY146" fmla="*/ 541470 h 1265747"/>
              <a:gd name="connsiteX147" fmla="*/ 400719 w 1704418"/>
              <a:gd name="connsiteY147" fmla="*/ 396614 h 1265747"/>
              <a:gd name="connsiteX148" fmla="*/ 310185 w 1704418"/>
              <a:gd name="connsiteY148" fmla="*/ 224598 h 1265747"/>
              <a:gd name="connsiteX149" fmla="*/ 246811 w 1704418"/>
              <a:gd name="connsiteY149" fmla="*/ 125010 h 1265747"/>
              <a:gd name="connsiteX150" fmla="*/ 201543 w 1704418"/>
              <a:gd name="connsiteY150" fmla="*/ 7315 h 1265747"/>
              <a:gd name="connsiteX151" fmla="*/ 255864 w 1704418"/>
              <a:gd name="connsiteY151" fmla="*/ 115957 h 1265747"/>
              <a:gd name="connsiteX152" fmla="*/ 310185 w 1704418"/>
              <a:gd name="connsiteY152" fmla="*/ 251759 h 1265747"/>
              <a:gd name="connsiteX153" fmla="*/ 400719 w 1704418"/>
              <a:gd name="connsiteY153" fmla="*/ 414721 h 1265747"/>
              <a:gd name="connsiteX154" fmla="*/ 491254 w 1704418"/>
              <a:gd name="connsiteY154" fmla="*/ 604844 h 1265747"/>
              <a:gd name="connsiteX155" fmla="*/ 672323 w 1704418"/>
              <a:gd name="connsiteY155" fmla="*/ 858341 h 1265747"/>
              <a:gd name="connsiteX156" fmla="*/ 817179 w 1704418"/>
              <a:gd name="connsiteY156" fmla="*/ 1012250 h 1265747"/>
              <a:gd name="connsiteX157" fmla="*/ 844339 w 1704418"/>
              <a:gd name="connsiteY157" fmla="*/ 1048464 h 1265747"/>
              <a:gd name="connsiteX158" fmla="*/ 808125 w 1704418"/>
              <a:gd name="connsiteY158" fmla="*/ 994143 h 1265747"/>
              <a:gd name="connsiteX159" fmla="*/ 654216 w 1704418"/>
              <a:gd name="connsiteY159" fmla="*/ 804020 h 1265747"/>
              <a:gd name="connsiteX160" fmla="*/ 445987 w 1704418"/>
              <a:gd name="connsiteY160" fmla="*/ 641058 h 1265747"/>
              <a:gd name="connsiteX161" fmla="*/ 364506 w 1704418"/>
              <a:gd name="connsiteY161" fmla="*/ 604844 h 1265747"/>
              <a:gd name="connsiteX162" fmla="*/ 328292 w 1704418"/>
              <a:gd name="connsiteY162" fmla="*/ 586737 h 1265747"/>
              <a:gd name="connsiteX163" fmla="*/ 283024 w 1704418"/>
              <a:gd name="connsiteY163" fmla="*/ 957929 h 1265747"/>
              <a:gd name="connsiteX164" fmla="*/ 246811 w 1704418"/>
              <a:gd name="connsiteY164" fmla="*/ 1057517 h 1265747"/>
              <a:gd name="connsiteX165" fmla="*/ 219650 w 1704418"/>
              <a:gd name="connsiteY165" fmla="*/ 1012250 h 1265747"/>
              <a:gd name="connsiteX166" fmla="*/ 174383 w 1704418"/>
              <a:gd name="connsiteY166" fmla="*/ 976036 h 1265747"/>
              <a:gd name="connsiteX167" fmla="*/ 101955 w 1704418"/>
              <a:gd name="connsiteY167" fmla="*/ 912662 h 1265747"/>
              <a:gd name="connsiteX168" fmla="*/ 500308 w 1704418"/>
              <a:gd name="connsiteY168" fmla="*/ 903608 h 1265747"/>
              <a:gd name="connsiteX169" fmla="*/ 1034462 w 1704418"/>
              <a:gd name="connsiteY169" fmla="*/ 957929 h 1265747"/>
              <a:gd name="connsiteX170" fmla="*/ 1287959 w 1704418"/>
              <a:gd name="connsiteY170" fmla="*/ 985089 h 1265747"/>
              <a:gd name="connsiteX171" fmla="*/ 1496189 w 1704418"/>
              <a:gd name="connsiteY171" fmla="*/ 1003196 h 1265747"/>
              <a:gd name="connsiteX172" fmla="*/ 1704418 w 1704418"/>
              <a:gd name="connsiteY172" fmla="*/ 1030357 h 1265747"/>
              <a:gd name="connsiteX173" fmla="*/ 1297013 w 1704418"/>
              <a:gd name="connsiteY173" fmla="*/ 1048464 h 1265747"/>
              <a:gd name="connsiteX174" fmla="*/ 1206478 w 1704418"/>
              <a:gd name="connsiteY174" fmla="*/ 1057517 h 1265747"/>
              <a:gd name="connsiteX175" fmla="*/ 943927 w 1704418"/>
              <a:gd name="connsiteY175" fmla="*/ 1048464 h 1265747"/>
              <a:gd name="connsiteX176" fmla="*/ 916767 w 1704418"/>
              <a:gd name="connsiteY176" fmla="*/ 1039410 h 1265747"/>
              <a:gd name="connsiteX177" fmla="*/ 581789 w 1704418"/>
              <a:gd name="connsiteY177" fmla="*/ 749699 h 1265747"/>
              <a:gd name="connsiteX178" fmla="*/ 527468 w 1704418"/>
              <a:gd name="connsiteY178" fmla="*/ 668218 h 1265747"/>
              <a:gd name="connsiteX179" fmla="*/ 491254 w 1704418"/>
              <a:gd name="connsiteY179" fmla="*/ 604844 h 1265747"/>
              <a:gd name="connsiteX180" fmla="*/ 464094 w 1704418"/>
              <a:gd name="connsiteY180" fmla="*/ 487149 h 1265747"/>
              <a:gd name="connsiteX181" fmla="*/ 473147 w 1704418"/>
              <a:gd name="connsiteY181" fmla="*/ 396614 h 1265747"/>
              <a:gd name="connsiteX182" fmla="*/ 491254 w 1704418"/>
              <a:gd name="connsiteY182" fmla="*/ 369454 h 1265747"/>
              <a:gd name="connsiteX183" fmla="*/ 527468 w 1704418"/>
              <a:gd name="connsiteY183" fmla="*/ 333240 h 1265747"/>
              <a:gd name="connsiteX184" fmla="*/ 663270 w 1704418"/>
              <a:gd name="connsiteY184" fmla="*/ 287973 h 1265747"/>
              <a:gd name="connsiteX185" fmla="*/ 1043515 w 1704418"/>
              <a:gd name="connsiteY185" fmla="*/ 297026 h 1265747"/>
              <a:gd name="connsiteX186" fmla="*/ 1124997 w 1704418"/>
              <a:gd name="connsiteY186" fmla="*/ 315133 h 1265747"/>
              <a:gd name="connsiteX187" fmla="*/ 1188371 w 1704418"/>
              <a:gd name="connsiteY187" fmla="*/ 333240 h 1265747"/>
              <a:gd name="connsiteX188" fmla="*/ 1179317 w 1704418"/>
              <a:gd name="connsiteY188" fmla="*/ 378507 h 1265747"/>
              <a:gd name="connsiteX189" fmla="*/ 1097836 w 1704418"/>
              <a:gd name="connsiteY189" fmla="*/ 496202 h 1265747"/>
              <a:gd name="connsiteX190" fmla="*/ 980141 w 1704418"/>
              <a:gd name="connsiteY190" fmla="*/ 613897 h 1265747"/>
              <a:gd name="connsiteX191" fmla="*/ 835286 w 1704418"/>
              <a:gd name="connsiteY191" fmla="*/ 704432 h 1265747"/>
              <a:gd name="connsiteX192" fmla="*/ 717591 w 1704418"/>
              <a:gd name="connsiteY192" fmla="*/ 767806 h 1265747"/>
              <a:gd name="connsiteX193" fmla="*/ 645163 w 1704418"/>
              <a:gd name="connsiteY193" fmla="*/ 785913 h 1265747"/>
              <a:gd name="connsiteX194" fmla="*/ 627056 w 1704418"/>
              <a:gd name="connsiteY194" fmla="*/ 749699 h 1265747"/>
              <a:gd name="connsiteX195" fmla="*/ 645163 w 1704418"/>
              <a:gd name="connsiteY195" fmla="*/ 622951 h 1265747"/>
              <a:gd name="connsiteX196" fmla="*/ 663270 w 1704418"/>
              <a:gd name="connsiteY196" fmla="*/ 686325 h 1265747"/>
              <a:gd name="connsiteX197" fmla="*/ 645163 w 1704418"/>
              <a:gd name="connsiteY197" fmla="*/ 948876 h 1265747"/>
              <a:gd name="connsiteX198" fmla="*/ 608949 w 1704418"/>
              <a:gd name="connsiteY198" fmla="*/ 903608 h 1265747"/>
              <a:gd name="connsiteX199" fmla="*/ 527468 w 1704418"/>
              <a:gd name="connsiteY199" fmla="*/ 722539 h 1265747"/>
              <a:gd name="connsiteX200" fmla="*/ 500308 w 1704418"/>
              <a:gd name="connsiteY200" fmla="*/ 650111 h 1265747"/>
              <a:gd name="connsiteX201" fmla="*/ 464094 w 1704418"/>
              <a:gd name="connsiteY201" fmla="*/ 568630 h 1265747"/>
              <a:gd name="connsiteX202" fmla="*/ 445987 w 1704418"/>
              <a:gd name="connsiteY202" fmla="*/ 487149 h 1265747"/>
              <a:gd name="connsiteX203" fmla="*/ 418826 w 1704418"/>
              <a:gd name="connsiteY203" fmla="*/ 297026 h 1265747"/>
              <a:gd name="connsiteX204" fmla="*/ 427880 w 1704418"/>
              <a:gd name="connsiteY204" fmla="*/ 106903 h 1265747"/>
              <a:gd name="connsiteX205" fmla="*/ 445987 w 1704418"/>
              <a:gd name="connsiteY205" fmla="*/ 134064 h 1265747"/>
              <a:gd name="connsiteX206" fmla="*/ 455040 w 1704418"/>
              <a:gd name="connsiteY206" fmla="*/ 206491 h 1265747"/>
              <a:gd name="connsiteX207" fmla="*/ 473147 w 1704418"/>
              <a:gd name="connsiteY207" fmla="*/ 306080 h 1265747"/>
              <a:gd name="connsiteX208" fmla="*/ 482201 w 1704418"/>
              <a:gd name="connsiteY208" fmla="*/ 405668 h 1265747"/>
              <a:gd name="connsiteX209" fmla="*/ 500308 w 1704418"/>
              <a:gd name="connsiteY209" fmla="*/ 487149 h 1265747"/>
              <a:gd name="connsiteX210" fmla="*/ 545575 w 1704418"/>
              <a:gd name="connsiteY210" fmla="*/ 668218 h 1265747"/>
              <a:gd name="connsiteX211" fmla="*/ 473147 w 1704418"/>
              <a:gd name="connsiteY211" fmla="*/ 677272 h 1265747"/>
              <a:gd name="connsiteX212" fmla="*/ 391666 w 1704418"/>
              <a:gd name="connsiteY212" fmla="*/ 632004 h 1265747"/>
              <a:gd name="connsiteX213" fmla="*/ 310185 w 1704418"/>
              <a:gd name="connsiteY213" fmla="*/ 568630 h 1265747"/>
              <a:gd name="connsiteX214" fmla="*/ 219650 w 1704418"/>
              <a:gd name="connsiteY214" fmla="*/ 505256 h 1265747"/>
              <a:gd name="connsiteX215" fmla="*/ 147222 w 1704418"/>
              <a:gd name="connsiteY215" fmla="*/ 459988 h 1265747"/>
              <a:gd name="connsiteX216" fmla="*/ 56688 w 1704418"/>
              <a:gd name="connsiteY216" fmla="*/ 414721 h 1265747"/>
              <a:gd name="connsiteX217" fmla="*/ 111009 w 1704418"/>
              <a:gd name="connsiteY217" fmla="*/ 559577 h 1265747"/>
              <a:gd name="connsiteX218" fmla="*/ 156276 w 1704418"/>
              <a:gd name="connsiteY218" fmla="*/ 622951 h 1265747"/>
              <a:gd name="connsiteX219" fmla="*/ 201543 w 1704418"/>
              <a:gd name="connsiteY219" fmla="*/ 677272 h 1265747"/>
              <a:gd name="connsiteX220" fmla="*/ 219650 w 1704418"/>
              <a:gd name="connsiteY220" fmla="*/ 686325 h 126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704418" h="1265747">
                <a:moveTo>
                  <a:pt x="889607" y="478095"/>
                </a:moveTo>
                <a:cubicBezTo>
                  <a:pt x="871500" y="490166"/>
                  <a:pt x="853114" y="501829"/>
                  <a:pt x="835286" y="514309"/>
                </a:cubicBezTo>
                <a:cubicBezTo>
                  <a:pt x="822924" y="522962"/>
                  <a:pt x="812568" y="534722"/>
                  <a:pt x="799072" y="541470"/>
                </a:cubicBezTo>
                <a:cubicBezTo>
                  <a:pt x="776010" y="553001"/>
                  <a:pt x="749706" y="557099"/>
                  <a:pt x="726644" y="568630"/>
                </a:cubicBezTo>
                <a:cubicBezTo>
                  <a:pt x="713148" y="575378"/>
                  <a:pt x="703369" y="588027"/>
                  <a:pt x="690430" y="595790"/>
                </a:cubicBezTo>
                <a:cubicBezTo>
                  <a:pt x="673071" y="606206"/>
                  <a:pt x="653882" y="613257"/>
                  <a:pt x="636110" y="622951"/>
                </a:cubicBezTo>
                <a:cubicBezTo>
                  <a:pt x="569849" y="659094"/>
                  <a:pt x="615213" y="644018"/>
                  <a:pt x="554628" y="659165"/>
                </a:cubicBezTo>
                <a:cubicBezTo>
                  <a:pt x="545575" y="665201"/>
                  <a:pt x="537200" y="672406"/>
                  <a:pt x="527468" y="677272"/>
                </a:cubicBezTo>
                <a:cubicBezTo>
                  <a:pt x="502188" y="689912"/>
                  <a:pt x="460282" y="692043"/>
                  <a:pt x="436933" y="695379"/>
                </a:cubicBezTo>
                <a:cubicBezTo>
                  <a:pt x="415808" y="692361"/>
                  <a:pt x="388648" y="701414"/>
                  <a:pt x="373559" y="686325"/>
                </a:cubicBezTo>
                <a:cubicBezTo>
                  <a:pt x="359894" y="672659"/>
                  <a:pt x="391652" y="623972"/>
                  <a:pt x="400719" y="613897"/>
                </a:cubicBezTo>
                <a:cubicBezTo>
                  <a:pt x="454103" y="554581"/>
                  <a:pt x="457723" y="552931"/>
                  <a:pt x="518414" y="514309"/>
                </a:cubicBezTo>
                <a:cubicBezTo>
                  <a:pt x="555309" y="490831"/>
                  <a:pt x="591872" y="468495"/>
                  <a:pt x="636110" y="459988"/>
                </a:cubicBezTo>
                <a:cubicBezTo>
                  <a:pt x="689781" y="449667"/>
                  <a:pt x="799072" y="441882"/>
                  <a:pt x="799072" y="441882"/>
                </a:cubicBezTo>
                <a:cubicBezTo>
                  <a:pt x="843734" y="445765"/>
                  <a:pt x="1018772" y="435245"/>
                  <a:pt x="1079729" y="496202"/>
                </a:cubicBezTo>
                <a:lnTo>
                  <a:pt x="1106890" y="523363"/>
                </a:lnTo>
                <a:cubicBezTo>
                  <a:pt x="1103872" y="601826"/>
                  <a:pt x="1109776" y="681145"/>
                  <a:pt x="1097836" y="758753"/>
                </a:cubicBezTo>
                <a:cubicBezTo>
                  <a:pt x="1091445" y="800298"/>
                  <a:pt x="1075885" y="841474"/>
                  <a:pt x="1052569" y="876448"/>
                </a:cubicBezTo>
                <a:cubicBezTo>
                  <a:pt x="1033683" y="904778"/>
                  <a:pt x="1005046" y="951131"/>
                  <a:pt x="980141" y="976036"/>
                </a:cubicBezTo>
                <a:cubicBezTo>
                  <a:pt x="960052" y="996124"/>
                  <a:pt x="921643" y="1015992"/>
                  <a:pt x="898660" y="1030357"/>
                </a:cubicBezTo>
                <a:cubicBezTo>
                  <a:pt x="858546" y="1055429"/>
                  <a:pt x="886220" y="1043558"/>
                  <a:pt x="844339" y="1057517"/>
                </a:cubicBezTo>
                <a:cubicBezTo>
                  <a:pt x="787000" y="1051481"/>
                  <a:pt x="727996" y="1054399"/>
                  <a:pt x="672323" y="1039410"/>
                </a:cubicBezTo>
                <a:cubicBezTo>
                  <a:pt x="647255" y="1032661"/>
                  <a:pt x="631575" y="1006870"/>
                  <a:pt x="608949" y="994143"/>
                </a:cubicBezTo>
                <a:cubicBezTo>
                  <a:pt x="583044" y="979571"/>
                  <a:pt x="553667" y="971964"/>
                  <a:pt x="527468" y="957929"/>
                </a:cubicBezTo>
                <a:cubicBezTo>
                  <a:pt x="469066" y="926642"/>
                  <a:pt x="416152" y="884897"/>
                  <a:pt x="355452" y="858341"/>
                </a:cubicBezTo>
                <a:cubicBezTo>
                  <a:pt x="307167" y="837216"/>
                  <a:pt x="257737" y="818537"/>
                  <a:pt x="210597" y="794967"/>
                </a:cubicBezTo>
                <a:cubicBezTo>
                  <a:pt x="165847" y="772592"/>
                  <a:pt x="187187" y="781128"/>
                  <a:pt x="147222" y="767806"/>
                </a:cubicBezTo>
                <a:cubicBezTo>
                  <a:pt x="162278" y="707582"/>
                  <a:pt x="155792" y="690779"/>
                  <a:pt x="201543" y="650111"/>
                </a:cubicBezTo>
                <a:cubicBezTo>
                  <a:pt x="214695" y="638420"/>
                  <a:pt x="232733" y="633509"/>
                  <a:pt x="246811" y="622951"/>
                </a:cubicBezTo>
                <a:cubicBezTo>
                  <a:pt x="269069" y="606257"/>
                  <a:pt x="285518" y="581500"/>
                  <a:pt x="310185" y="568630"/>
                </a:cubicBezTo>
                <a:cubicBezTo>
                  <a:pt x="355905" y="544776"/>
                  <a:pt x="405011" y="526816"/>
                  <a:pt x="455040" y="514309"/>
                </a:cubicBezTo>
                <a:lnTo>
                  <a:pt x="527468" y="496202"/>
                </a:lnTo>
                <a:cubicBezTo>
                  <a:pt x="581479" y="502556"/>
                  <a:pt x="664776" y="494690"/>
                  <a:pt x="717591" y="532416"/>
                </a:cubicBezTo>
                <a:cubicBezTo>
                  <a:pt x="728010" y="539858"/>
                  <a:pt x="735698" y="550523"/>
                  <a:pt x="744751" y="559577"/>
                </a:cubicBezTo>
                <a:lnTo>
                  <a:pt x="762858" y="613897"/>
                </a:lnTo>
                <a:lnTo>
                  <a:pt x="771912" y="641058"/>
                </a:lnTo>
                <a:cubicBezTo>
                  <a:pt x="768894" y="689343"/>
                  <a:pt x="770404" y="738126"/>
                  <a:pt x="762858" y="785913"/>
                </a:cubicBezTo>
                <a:cubicBezTo>
                  <a:pt x="761161" y="796661"/>
                  <a:pt x="749617" y="803342"/>
                  <a:pt x="744751" y="813074"/>
                </a:cubicBezTo>
                <a:cubicBezTo>
                  <a:pt x="740483" y="821610"/>
                  <a:pt x="740992" y="832294"/>
                  <a:pt x="735698" y="840234"/>
                </a:cubicBezTo>
                <a:cubicBezTo>
                  <a:pt x="720332" y="863283"/>
                  <a:pt x="697497" y="876061"/>
                  <a:pt x="672323" y="885501"/>
                </a:cubicBezTo>
                <a:cubicBezTo>
                  <a:pt x="656256" y="891526"/>
                  <a:pt x="604933" y="900477"/>
                  <a:pt x="590842" y="903608"/>
                </a:cubicBezTo>
                <a:cubicBezTo>
                  <a:pt x="509796" y="921618"/>
                  <a:pt x="606768" y="903972"/>
                  <a:pt x="500308" y="921715"/>
                </a:cubicBezTo>
                <a:cubicBezTo>
                  <a:pt x="464094" y="915679"/>
                  <a:pt x="425000" y="918993"/>
                  <a:pt x="391666" y="903608"/>
                </a:cubicBezTo>
                <a:cubicBezTo>
                  <a:pt x="380368" y="898394"/>
                  <a:pt x="384659" y="879668"/>
                  <a:pt x="382613" y="867394"/>
                </a:cubicBezTo>
                <a:cubicBezTo>
                  <a:pt x="378613" y="843395"/>
                  <a:pt x="376577" y="819109"/>
                  <a:pt x="373559" y="794967"/>
                </a:cubicBezTo>
                <a:cubicBezTo>
                  <a:pt x="382612" y="731593"/>
                  <a:pt x="388629" y="667710"/>
                  <a:pt x="400719" y="604844"/>
                </a:cubicBezTo>
                <a:cubicBezTo>
                  <a:pt x="403788" y="588885"/>
                  <a:pt x="412101" y="574372"/>
                  <a:pt x="418826" y="559577"/>
                </a:cubicBezTo>
                <a:cubicBezTo>
                  <a:pt x="448996" y="493205"/>
                  <a:pt x="441985" y="514132"/>
                  <a:pt x="482201" y="450935"/>
                </a:cubicBezTo>
                <a:cubicBezTo>
                  <a:pt x="491648" y="436089"/>
                  <a:pt x="499345" y="420136"/>
                  <a:pt x="509361" y="405668"/>
                </a:cubicBezTo>
                <a:cubicBezTo>
                  <a:pt x="526539" y="380856"/>
                  <a:pt x="546942" y="358350"/>
                  <a:pt x="563682" y="333240"/>
                </a:cubicBezTo>
                <a:lnTo>
                  <a:pt x="581789" y="306080"/>
                </a:lnTo>
                <a:cubicBezTo>
                  <a:pt x="570353" y="683451"/>
                  <a:pt x="584164" y="491751"/>
                  <a:pt x="563682" y="686325"/>
                </a:cubicBezTo>
                <a:cubicBezTo>
                  <a:pt x="560507" y="716487"/>
                  <a:pt x="559614" y="746944"/>
                  <a:pt x="554628" y="776860"/>
                </a:cubicBezTo>
                <a:cubicBezTo>
                  <a:pt x="550537" y="801407"/>
                  <a:pt x="542557" y="825145"/>
                  <a:pt x="536521" y="849287"/>
                </a:cubicBezTo>
                <a:cubicBezTo>
                  <a:pt x="533503" y="873430"/>
                  <a:pt x="533041" y="898031"/>
                  <a:pt x="527468" y="921715"/>
                </a:cubicBezTo>
                <a:cubicBezTo>
                  <a:pt x="513500" y="981080"/>
                  <a:pt x="504881" y="994051"/>
                  <a:pt x="482201" y="1039410"/>
                </a:cubicBezTo>
                <a:cubicBezTo>
                  <a:pt x="473147" y="1033374"/>
                  <a:pt x="463399" y="1028269"/>
                  <a:pt x="455040" y="1021303"/>
                </a:cubicBezTo>
                <a:cubicBezTo>
                  <a:pt x="445204" y="1013107"/>
                  <a:pt x="438299" y="1001585"/>
                  <a:pt x="427880" y="994143"/>
                </a:cubicBezTo>
                <a:cubicBezTo>
                  <a:pt x="402387" y="975934"/>
                  <a:pt x="384615" y="974273"/>
                  <a:pt x="355452" y="966983"/>
                </a:cubicBezTo>
                <a:cubicBezTo>
                  <a:pt x="331309" y="970001"/>
                  <a:pt x="306938" y="971552"/>
                  <a:pt x="283024" y="976036"/>
                </a:cubicBezTo>
                <a:cubicBezTo>
                  <a:pt x="189167" y="993634"/>
                  <a:pt x="238873" y="987357"/>
                  <a:pt x="183436" y="1003196"/>
                </a:cubicBezTo>
                <a:cubicBezTo>
                  <a:pt x="171472" y="1006614"/>
                  <a:pt x="159186" y="1008832"/>
                  <a:pt x="147222" y="1012250"/>
                </a:cubicBezTo>
                <a:cubicBezTo>
                  <a:pt x="56304" y="1038227"/>
                  <a:pt x="197061" y="1002052"/>
                  <a:pt x="83848" y="1030357"/>
                </a:cubicBezTo>
                <a:cubicBezTo>
                  <a:pt x="16415" y="1075313"/>
                  <a:pt x="99236" y="1017534"/>
                  <a:pt x="29527" y="1075624"/>
                </a:cubicBezTo>
                <a:cubicBezTo>
                  <a:pt x="21168" y="1082590"/>
                  <a:pt x="-8514" y="1093731"/>
                  <a:pt x="2367" y="1093731"/>
                </a:cubicBezTo>
                <a:cubicBezTo>
                  <a:pt x="50249" y="1093731"/>
                  <a:pt x="53223" y="1068338"/>
                  <a:pt x="92902" y="1057517"/>
                </a:cubicBezTo>
                <a:cubicBezTo>
                  <a:pt x="113489" y="1051902"/>
                  <a:pt x="135151" y="1051482"/>
                  <a:pt x="156276" y="1048464"/>
                </a:cubicBezTo>
                <a:cubicBezTo>
                  <a:pt x="177401" y="1042428"/>
                  <a:pt x="198168" y="1034960"/>
                  <a:pt x="219650" y="1030357"/>
                </a:cubicBezTo>
                <a:cubicBezTo>
                  <a:pt x="260360" y="1021633"/>
                  <a:pt x="336674" y="1016861"/>
                  <a:pt x="373559" y="1012250"/>
                </a:cubicBezTo>
                <a:cubicBezTo>
                  <a:pt x="391774" y="1009973"/>
                  <a:pt x="409737" y="1005987"/>
                  <a:pt x="427880" y="1003196"/>
                </a:cubicBezTo>
                <a:cubicBezTo>
                  <a:pt x="448971" y="999951"/>
                  <a:pt x="470129" y="997161"/>
                  <a:pt x="491254" y="994143"/>
                </a:cubicBezTo>
                <a:cubicBezTo>
                  <a:pt x="506343" y="988107"/>
                  <a:pt x="522740" y="984649"/>
                  <a:pt x="536521" y="976036"/>
                </a:cubicBezTo>
                <a:cubicBezTo>
                  <a:pt x="547378" y="969250"/>
                  <a:pt x="553846" y="957073"/>
                  <a:pt x="563682" y="948876"/>
                </a:cubicBezTo>
                <a:cubicBezTo>
                  <a:pt x="572041" y="941910"/>
                  <a:pt x="581789" y="936805"/>
                  <a:pt x="590842" y="930769"/>
                </a:cubicBezTo>
                <a:cubicBezTo>
                  <a:pt x="593860" y="921715"/>
                  <a:pt x="598024" y="912966"/>
                  <a:pt x="599896" y="903608"/>
                </a:cubicBezTo>
                <a:cubicBezTo>
                  <a:pt x="621124" y="797468"/>
                  <a:pt x="606727" y="731925"/>
                  <a:pt x="590842" y="604844"/>
                </a:cubicBezTo>
                <a:cubicBezTo>
                  <a:pt x="584802" y="556528"/>
                  <a:pt x="570874" y="549728"/>
                  <a:pt x="545575" y="514309"/>
                </a:cubicBezTo>
                <a:cubicBezTo>
                  <a:pt x="529383" y="491639"/>
                  <a:pt x="528571" y="479641"/>
                  <a:pt x="500308" y="469042"/>
                </a:cubicBezTo>
                <a:cubicBezTo>
                  <a:pt x="485900" y="463639"/>
                  <a:pt x="470129" y="463006"/>
                  <a:pt x="455040" y="459988"/>
                </a:cubicBezTo>
                <a:cubicBezTo>
                  <a:pt x="399683" y="496893"/>
                  <a:pt x="457527" y="455765"/>
                  <a:pt x="391666" y="514309"/>
                </a:cubicBezTo>
                <a:cubicBezTo>
                  <a:pt x="377224" y="527147"/>
                  <a:pt x="360063" y="536859"/>
                  <a:pt x="346399" y="550523"/>
                </a:cubicBezTo>
                <a:cubicBezTo>
                  <a:pt x="332735" y="564187"/>
                  <a:pt x="321329" y="580003"/>
                  <a:pt x="310185" y="595790"/>
                </a:cubicBezTo>
                <a:cubicBezTo>
                  <a:pt x="285085" y="631348"/>
                  <a:pt x="260150" y="667111"/>
                  <a:pt x="237757" y="704432"/>
                </a:cubicBezTo>
                <a:cubicBezTo>
                  <a:pt x="202834" y="762638"/>
                  <a:pt x="221155" y="735622"/>
                  <a:pt x="183436" y="785913"/>
                </a:cubicBezTo>
                <a:cubicBezTo>
                  <a:pt x="160201" y="878859"/>
                  <a:pt x="191780" y="763665"/>
                  <a:pt x="156276" y="858341"/>
                </a:cubicBezTo>
                <a:cubicBezTo>
                  <a:pt x="131221" y="925154"/>
                  <a:pt x="165809" y="866675"/>
                  <a:pt x="129115" y="921715"/>
                </a:cubicBezTo>
                <a:cubicBezTo>
                  <a:pt x="135151" y="973018"/>
                  <a:pt x="139559" y="1024539"/>
                  <a:pt x="147222" y="1075624"/>
                </a:cubicBezTo>
                <a:cubicBezTo>
                  <a:pt x="148638" y="1085062"/>
                  <a:pt x="148743" y="1096926"/>
                  <a:pt x="156276" y="1102785"/>
                </a:cubicBezTo>
                <a:cubicBezTo>
                  <a:pt x="198269" y="1135446"/>
                  <a:pt x="251098" y="1145987"/>
                  <a:pt x="301131" y="1157105"/>
                </a:cubicBezTo>
                <a:cubicBezTo>
                  <a:pt x="394994" y="1177964"/>
                  <a:pt x="381918" y="1174129"/>
                  <a:pt x="473147" y="1184266"/>
                </a:cubicBezTo>
                <a:cubicBezTo>
                  <a:pt x="605931" y="1181248"/>
                  <a:pt x="738930" y="1183329"/>
                  <a:pt x="871500" y="1175212"/>
                </a:cubicBezTo>
                <a:cubicBezTo>
                  <a:pt x="887721" y="1174219"/>
                  <a:pt x="903245" y="1166120"/>
                  <a:pt x="916767" y="1157105"/>
                </a:cubicBezTo>
                <a:cubicBezTo>
                  <a:pt x="930971" y="1147635"/>
                  <a:pt x="940910" y="1132962"/>
                  <a:pt x="952981" y="1120891"/>
                </a:cubicBezTo>
                <a:cubicBezTo>
                  <a:pt x="949963" y="1102784"/>
                  <a:pt x="953853" y="1082012"/>
                  <a:pt x="943927" y="1066571"/>
                </a:cubicBezTo>
                <a:cubicBezTo>
                  <a:pt x="925464" y="1037851"/>
                  <a:pt x="895643" y="1018286"/>
                  <a:pt x="871500" y="994143"/>
                </a:cubicBezTo>
                <a:cubicBezTo>
                  <a:pt x="846813" y="969456"/>
                  <a:pt x="839091" y="959176"/>
                  <a:pt x="808125" y="939822"/>
                </a:cubicBezTo>
                <a:cubicBezTo>
                  <a:pt x="759571" y="909475"/>
                  <a:pt x="787406" y="931620"/>
                  <a:pt x="744751" y="912662"/>
                </a:cubicBezTo>
                <a:cubicBezTo>
                  <a:pt x="726251" y="904440"/>
                  <a:pt x="709037" y="893476"/>
                  <a:pt x="690430" y="885501"/>
                </a:cubicBezTo>
                <a:cubicBezTo>
                  <a:pt x="666731" y="875344"/>
                  <a:pt x="641943" y="867917"/>
                  <a:pt x="618003" y="858341"/>
                </a:cubicBezTo>
                <a:cubicBezTo>
                  <a:pt x="596664" y="849805"/>
                  <a:pt x="575753" y="840234"/>
                  <a:pt x="554628" y="831181"/>
                </a:cubicBezTo>
                <a:cubicBezTo>
                  <a:pt x="479183" y="837216"/>
                  <a:pt x="402878" y="836427"/>
                  <a:pt x="328292" y="849287"/>
                </a:cubicBezTo>
                <a:cubicBezTo>
                  <a:pt x="289421" y="855989"/>
                  <a:pt x="293702" y="878694"/>
                  <a:pt x="283024" y="903608"/>
                </a:cubicBezTo>
                <a:cubicBezTo>
                  <a:pt x="277707" y="916013"/>
                  <a:pt x="270233" y="927417"/>
                  <a:pt x="264917" y="939822"/>
                </a:cubicBezTo>
                <a:cubicBezTo>
                  <a:pt x="257126" y="958002"/>
                  <a:pt x="251404" y="984824"/>
                  <a:pt x="246811" y="1003196"/>
                </a:cubicBezTo>
                <a:cubicBezTo>
                  <a:pt x="241598" y="1055328"/>
                  <a:pt x="227145" y="1142186"/>
                  <a:pt x="246811" y="1193319"/>
                </a:cubicBezTo>
                <a:cubicBezTo>
                  <a:pt x="251656" y="1205915"/>
                  <a:pt x="271306" y="1204730"/>
                  <a:pt x="283024" y="1211426"/>
                </a:cubicBezTo>
                <a:cubicBezTo>
                  <a:pt x="320879" y="1233058"/>
                  <a:pt x="304306" y="1233691"/>
                  <a:pt x="355452" y="1247640"/>
                </a:cubicBezTo>
                <a:cubicBezTo>
                  <a:pt x="383385" y="1255258"/>
                  <a:pt x="470941" y="1263490"/>
                  <a:pt x="491254" y="1265747"/>
                </a:cubicBezTo>
                <a:cubicBezTo>
                  <a:pt x="560664" y="1259711"/>
                  <a:pt x="630209" y="1255062"/>
                  <a:pt x="699484" y="1247640"/>
                </a:cubicBezTo>
                <a:cubicBezTo>
                  <a:pt x="714784" y="1246001"/>
                  <a:pt x="730012" y="1243009"/>
                  <a:pt x="744751" y="1238587"/>
                </a:cubicBezTo>
                <a:cubicBezTo>
                  <a:pt x="760317" y="1233917"/>
                  <a:pt x="774801" y="1226186"/>
                  <a:pt x="790018" y="1220480"/>
                </a:cubicBezTo>
                <a:cubicBezTo>
                  <a:pt x="798954" y="1217129"/>
                  <a:pt x="808125" y="1214444"/>
                  <a:pt x="817179" y="1211426"/>
                </a:cubicBezTo>
                <a:cubicBezTo>
                  <a:pt x="777947" y="1184266"/>
                  <a:pt x="738074" y="1158010"/>
                  <a:pt x="699484" y="1129945"/>
                </a:cubicBezTo>
                <a:cubicBezTo>
                  <a:pt x="671657" y="1109707"/>
                  <a:pt x="646633" y="1085657"/>
                  <a:pt x="618003" y="1066571"/>
                </a:cubicBezTo>
                <a:cubicBezTo>
                  <a:pt x="590842" y="1048464"/>
                  <a:pt x="562011" y="1032642"/>
                  <a:pt x="536521" y="1012250"/>
                </a:cubicBezTo>
                <a:cubicBezTo>
                  <a:pt x="516525" y="996253"/>
                  <a:pt x="499063" y="977200"/>
                  <a:pt x="482201" y="957929"/>
                </a:cubicBezTo>
                <a:cubicBezTo>
                  <a:pt x="456752" y="928844"/>
                  <a:pt x="409773" y="867394"/>
                  <a:pt x="409773" y="867394"/>
                </a:cubicBezTo>
                <a:cubicBezTo>
                  <a:pt x="397237" y="767115"/>
                  <a:pt x="390961" y="776689"/>
                  <a:pt x="427880" y="650111"/>
                </a:cubicBezTo>
                <a:cubicBezTo>
                  <a:pt x="435438" y="624199"/>
                  <a:pt x="448050" y="599390"/>
                  <a:pt x="464094" y="577684"/>
                </a:cubicBezTo>
                <a:cubicBezTo>
                  <a:pt x="532666" y="484911"/>
                  <a:pt x="568573" y="444657"/>
                  <a:pt x="654216" y="387561"/>
                </a:cubicBezTo>
                <a:cubicBezTo>
                  <a:pt x="683499" y="368039"/>
                  <a:pt x="712657" y="347682"/>
                  <a:pt x="744751" y="333240"/>
                </a:cubicBezTo>
                <a:cubicBezTo>
                  <a:pt x="773483" y="320311"/>
                  <a:pt x="804928" y="314513"/>
                  <a:pt x="835286" y="306080"/>
                </a:cubicBezTo>
                <a:cubicBezTo>
                  <a:pt x="913858" y="284255"/>
                  <a:pt x="900091" y="288926"/>
                  <a:pt x="980141" y="278919"/>
                </a:cubicBezTo>
                <a:cubicBezTo>
                  <a:pt x="1031444" y="281937"/>
                  <a:pt x="1083882" y="276825"/>
                  <a:pt x="1134050" y="287973"/>
                </a:cubicBezTo>
                <a:cubicBezTo>
                  <a:pt x="1143366" y="290043"/>
                  <a:pt x="1143104" y="305590"/>
                  <a:pt x="1143104" y="315133"/>
                </a:cubicBezTo>
                <a:cubicBezTo>
                  <a:pt x="1143104" y="372551"/>
                  <a:pt x="1140167" y="430058"/>
                  <a:pt x="1134050" y="487149"/>
                </a:cubicBezTo>
                <a:cubicBezTo>
                  <a:pt x="1127083" y="552175"/>
                  <a:pt x="1105026" y="599086"/>
                  <a:pt x="1079729" y="659165"/>
                </a:cubicBezTo>
                <a:cubicBezTo>
                  <a:pt x="1068195" y="686558"/>
                  <a:pt x="1058585" y="715027"/>
                  <a:pt x="1043515" y="740646"/>
                </a:cubicBezTo>
                <a:cubicBezTo>
                  <a:pt x="1028214" y="766658"/>
                  <a:pt x="1006292" y="788206"/>
                  <a:pt x="989195" y="813074"/>
                </a:cubicBezTo>
                <a:cubicBezTo>
                  <a:pt x="973066" y="836534"/>
                  <a:pt x="962153" y="863630"/>
                  <a:pt x="943927" y="885501"/>
                </a:cubicBezTo>
                <a:cubicBezTo>
                  <a:pt x="931556" y="900346"/>
                  <a:pt x="912324" y="908051"/>
                  <a:pt x="898660" y="921715"/>
                </a:cubicBezTo>
                <a:cubicBezTo>
                  <a:pt x="884996" y="935379"/>
                  <a:pt x="876809" y="954056"/>
                  <a:pt x="862446" y="966983"/>
                </a:cubicBezTo>
                <a:cubicBezTo>
                  <a:pt x="846271" y="981541"/>
                  <a:pt x="808125" y="1003196"/>
                  <a:pt x="808125" y="1003196"/>
                </a:cubicBezTo>
                <a:cubicBezTo>
                  <a:pt x="817179" y="945858"/>
                  <a:pt x="822693" y="887847"/>
                  <a:pt x="835286" y="831181"/>
                </a:cubicBezTo>
                <a:cubicBezTo>
                  <a:pt x="840879" y="806011"/>
                  <a:pt x="852475" y="782531"/>
                  <a:pt x="862446" y="758753"/>
                </a:cubicBezTo>
                <a:cubicBezTo>
                  <a:pt x="891716" y="688955"/>
                  <a:pt x="922431" y="619770"/>
                  <a:pt x="952981" y="550523"/>
                </a:cubicBezTo>
                <a:cubicBezTo>
                  <a:pt x="967699" y="517161"/>
                  <a:pt x="978671" y="481699"/>
                  <a:pt x="998248" y="450935"/>
                </a:cubicBezTo>
                <a:cubicBezTo>
                  <a:pt x="1019373" y="417739"/>
                  <a:pt x="1043421" y="386232"/>
                  <a:pt x="1061622" y="351347"/>
                </a:cubicBezTo>
                <a:cubicBezTo>
                  <a:pt x="1168435" y="146623"/>
                  <a:pt x="1069219" y="299210"/>
                  <a:pt x="1124997" y="215545"/>
                </a:cubicBezTo>
                <a:cubicBezTo>
                  <a:pt x="1083599" y="484628"/>
                  <a:pt x="1141859" y="153708"/>
                  <a:pt x="1043515" y="514309"/>
                </a:cubicBezTo>
                <a:cubicBezTo>
                  <a:pt x="1016955" y="611696"/>
                  <a:pt x="1020488" y="613650"/>
                  <a:pt x="980141" y="704432"/>
                </a:cubicBezTo>
                <a:cubicBezTo>
                  <a:pt x="969178" y="729098"/>
                  <a:pt x="955342" y="752400"/>
                  <a:pt x="943927" y="776860"/>
                </a:cubicBezTo>
                <a:cubicBezTo>
                  <a:pt x="934208" y="797687"/>
                  <a:pt x="925820" y="819109"/>
                  <a:pt x="916767" y="840234"/>
                </a:cubicBezTo>
                <a:cubicBezTo>
                  <a:pt x="913749" y="858341"/>
                  <a:pt x="914945" y="877682"/>
                  <a:pt x="907714" y="894555"/>
                </a:cubicBezTo>
                <a:cubicBezTo>
                  <a:pt x="896499" y="920723"/>
                  <a:pt x="862446" y="966983"/>
                  <a:pt x="862446" y="966983"/>
                </a:cubicBezTo>
                <a:cubicBezTo>
                  <a:pt x="841321" y="948876"/>
                  <a:pt x="817294" y="933687"/>
                  <a:pt x="799072" y="912662"/>
                </a:cubicBezTo>
                <a:cubicBezTo>
                  <a:pt x="588321" y="669488"/>
                  <a:pt x="680163" y="754978"/>
                  <a:pt x="518414" y="541470"/>
                </a:cubicBezTo>
                <a:cubicBezTo>
                  <a:pt x="480846" y="491880"/>
                  <a:pt x="434885" y="448607"/>
                  <a:pt x="400719" y="396614"/>
                </a:cubicBezTo>
                <a:cubicBezTo>
                  <a:pt x="365135" y="342464"/>
                  <a:pt x="342130" y="280971"/>
                  <a:pt x="310185" y="224598"/>
                </a:cubicBezTo>
                <a:cubicBezTo>
                  <a:pt x="290786" y="190365"/>
                  <a:pt x="264408" y="160203"/>
                  <a:pt x="246811" y="125010"/>
                </a:cubicBezTo>
                <a:cubicBezTo>
                  <a:pt x="228013" y="87414"/>
                  <a:pt x="182745" y="-30281"/>
                  <a:pt x="201543" y="7315"/>
                </a:cubicBezTo>
                <a:cubicBezTo>
                  <a:pt x="219650" y="43529"/>
                  <a:pt x="239420" y="78958"/>
                  <a:pt x="255864" y="115957"/>
                </a:cubicBezTo>
                <a:cubicBezTo>
                  <a:pt x="275665" y="160509"/>
                  <a:pt x="288915" y="207889"/>
                  <a:pt x="310185" y="251759"/>
                </a:cubicBezTo>
                <a:cubicBezTo>
                  <a:pt x="337295" y="307674"/>
                  <a:pt x="372363" y="359427"/>
                  <a:pt x="400719" y="414721"/>
                </a:cubicBezTo>
                <a:cubicBezTo>
                  <a:pt x="432749" y="477180"/>
                  <a:pt x="454603" y="544980"/>
                  <a:pt x="491254" y="604844"/>
                </a:cubicBezTo>
                <a:cubicBezTo>
                  <a:pt x="545475" y="693405"/>
                  <a:pt x="601154" y="782724"/>
                  <a:pt x="672323" y="858341"/>
                </a:cubicBezTo>
                <a:cubicBezTo>
                  <a:pt x="720608" y="909644"/>
                  <a:pt x="774908" y="955888"/>
                  <a:pt x="817179" y="1012250"/>
                </a:cubicBezTo>
                <a:cubicBezTo>
                  <a:pt x="826232" y="1024321"/>
                  <a:pt x="851087" y="1061960"/>
                  <a:pt x="844339" y="1048464"/>
                </a:cubicBezTo>
                <a:cubicBezTo>
                  <a:pt x="834606" y="1029000"/>
                  <a:pt x="821818" y="1011057"/>
                  <a:pt x="808125" y="994143"/>
                </a:cubicBezTo>
                <a:cubicBezTo>
                  <a:pt x="756822" y="930769"/>
                  <a:pt x="716855" y="856219"/>
                  <a:pt x="654216" y="804020"/>
                </a:cubicBezTo>
                <a:cubicBezTo>
                  <a:pt x="600309" y="759098"/>
                  <a:pt x="508581" y="678615"/>
                  <a:pt x="445987" y="641058"/>
                </a:cubicBezTo>
                <a:cubicBezTo>
                  <a:pt x="420501" y="625766"/>
                  <a:pt x="391492" y="617299"/>
                  <a:pt x="364506" y="604844"/>
                </a:cubicBezTo>
                <a:cubicBezTo>
                  <a:pt x="352252" y="599188"/>
                  <a:pt x="340363" y="592773"/>
                  <a:pt x="328292" y="586737"/>
                </a:cubicBezTo>
                <a:cubicBezTo>
                  <a:pt x="172042" y="625797"/>
                  <a:pt x="320434" y="576340"/>
                  <a:pt x="283024" y="957929"/>
                </a:cubicBezTo>
                <a:cubicBezTo>
                  <a:pt x="279578" y="993083"/>
                  <a:pt x="258882" y="1024321"/>
                  <a:pt x="246811" y="1057517"/>
                </a:cubicBezTo>
                <a:cubicBezTo>
                  <a:pt x="237757" y="1042428"/>
                  <a:pt x="231341" y="1025402"/>
                  <a:pt x="219650" y="1012250"/>
                </a:cubicBezTo>
                <a:cubicBezTo>
                  <a:pt x="206812" y="997808"/>
                  <a:pt x="188825" y="988874"/>
                  <a:pt x="174383" y="976036"/>
                </a:cubicBezTo>
                <a:cubicBezTo>
                  <a:pt x="90000" y="901028"/>
                  <a:pt x="184971" y="974923"/>
                  <a:pt x="101955" y="912662"/>
                </a:cubicBezTo>
                <a:cubicBezTo>
                  <a:pt x="7542" y="771039"/>
                  <a:pt x="63159" y="870301"/>
                  <a:pt x="500308" y="903608"/>
                </a:cubicBezTo>
                <a:cubicBezTo>
                  <a:pt x="678760" y="917204"/>
                  <a:pt x="856511" y="938863"/>
                  <a:pt x="1034462" y="957929"/>
                </a:cubicBezTo>
                <a:lnTo>
                  <a:pt x="1287959" y="985089"/>
                </a:lnTo>
                <a:cubicBezTo>
                  <a:pt x="1357298" y="991887"/>
                  <a:pt x="1426968" y="995285"/>
                  <a:pt x="1496189" y="1003196"/>
                </a:cubicBezTo>
                <a:cubicBezTo>
                  <a:pt x="1954893" y="1055620"/>
                  <a:pt x="1280288" y="991797"/>
                  <a:pt x="1704418" y="1030357"/>
                </a:cubicBezTo>
                <a:cubicBezTo>
                  <a:pt x="1536235" y="1063992"/>
                  <a:pt x="1709925" y="1031947"/>
                  <a:pt x="1297013" y="1048464"/>
                </a:cubicBezTo>
                <a:cubicBezTo>
                  <a:pt x="1266708" y="1049676"/>
                  <a:pt x="1236656" y="1054499"/>
                  <a:pt x="1206478" y="1057517"/>
                </a:cubicBezTo>
                <a:cubicBezTo>
                  <a:pt x="1118961" y="1054499"/>
                  <a:pt x="1031325" y="1053926"/>
                  <a:pt x="943927" y="1048464"/>
                </a:cubicBezTo>
                <a:cubicBezTo>
                  <a:pt x="934402" y="1047869"/>
                  <a:pt x="924652" y="1044786"/>
                  <a:pt x="916767" y="1039410"/>
                </a:cubicBezTo>
                <a:cubicBezTo>
                  <a:pt x="795749" y="956898"/>
                  <a:pt x="672724" y="866616"/>
                  <a:pt x="581789" y="749699"/>
                </a:cubicBezTo>
                <a:cubicBezTo>
                  <a:pt x="561748" y="723932"/>
                  <a:pt x="544769" y="695899"/>
                  <a:pt x="527468" y="668218"/>
                </a:cubicBezTo>
                <a:cubicBezTo>
                  <a:pt x="514573" y="647586"/>
                  <a:pt x="500838" y="627207"/>
                  <a:pt x="491254" y="604844"/>
                </a:cubicBezTo>
                <a:cubicBezTo>
                  <a:pt x="475469" y="568013"/>
                  <a:pt x="470605" y="526216"/>
                  <a:pt x="464094" y="487149"/>
                </a:cubicBezTo>
                <a:cubicBezTo>
                  <a:pt x="467112" y="456971"/>
                  <a:pt x="466327" y="426166"/>
                  <a:pt x="473147" y="396614"/>
                </a:cubicBezTo>
                <a:cubicBezTo>
                  <a:pt x="475594" y="386012"/>
                  <a:pt x="484173" y="377715"/>
                  <a:pt x="491254" y="369454"/>
                </a:cubicBezTo>
                <a:cubicBezTo>
                  <a:pt x="502364" y="356492"/>
                  <a:pt x="513065" y="342405"/>
                  <a:pt x="527468" y="333240"/>
                </a:cubicBezTo>
                <a:cubicBezTo>
                  <a:pt x="567330" y="307874"/>
                  <a:pt x="618772" y="299098"/>
                  <a:pt x="663270" y="287973"/>
                </a:cubicBezTo>
                <a:cubicBezTo>
                  <a:pt x="790018" y="290991"/>
                  <a:pt x="916950" y="289581"/>
                  <a:pt x="1043515" y="297026"/>
                </a:cubicBezTo>
                <a:cubicBezTo>
                  <a:pt x="1071290" y="298660"/>
                  <a:pt x="1097886" y="308877"/>
                  <a:pt x="1124997" y="315133"/>
                </a:cubicBezTo>
                <a:cubicBezTo>
                  <a:pt x="1161937" y="323658"/>
                  <a:pt x="1155950" y="322433"/>
                  <a:pt x="1188371" y="333240"/>
                </a:cubicBezTo>
                <a:cubicBezTo>
                  <a:pt x="1185353" y="348329"/>
                  <a:pt x="1185235" y="364303"/>
                  <a:pt x="1179317" y="378507"/>
                </a:cubicBezTo>
                <a:cubicBezTo>
                  <a:pt x="1161317" y="421709"/>
                  <a:pt x="1129709" y="462558"/>
                  <a:pt x="1097836" y="496202"/>
                </a:cubicBezTo>
                <a:cubicBezTo>
                  <a:pt x="1059678" y="536479"/>
                  <a:pt x="1027190" y="584491"/>
                  <a:pt x="980141" y="613897"/>
                </a:cubicBezTo>
                <a:cubicBezTo>
                  <a:pt x="931856" y="644075"/>
                  <a:pt x="881620" y="671336"/>
                  <a:pt x="835286" y="704432"/>
                </a:cubicBezTo>
                <a:cubicBezTo>
                  <a:pt x="768312" y="752270"/>
                  <a:pt x="787768" y="747755"/>
                  <a:pt x="717591" y="767806"/>
                </a:cubicBezTo>
                <a:cubicBezTo>
                  <a:pt x="693663" y="774643"/>
                  <a:pt x="645163" y="785913"/>
                  <a:pt x="645163" y="785913"/>
                </a:cubicBezTo>
                <a:cubicBezTo>
                  <a:pt x="639127" y="773842"/>
                  <a:pt x="627954" y="763165"/>
                  <a:pt x="627056" y="749699"/>
                </a:cubicBezTo>
                <a:cubicBezTo>
                  <a:pt x="622649" y="683585"/>
                  <a:pt x="629671" y="669429"/>
                  <a:pt x="645163" y="622951"/>
                </a:cubicBezTo>
                <a:cubicBezTo>
                  <a:pt x="651199" y="644076"/>
                  <a:pt x="662538" y="664367"/>
                  <a:pt x="663270" y="686325"/>
                </a:cubicBezTo>
                <a:cubicBezTo>
                  <a:pt x="667921" y="825873"/>
                  <a:pt x="661805" y="849017"/>
                  <a:pt x="645163" y="948876"/>
                </a:cubicBezTo>
                <a:cubicBezTo>
                  <a:pt x="633092" y="933787"/>
                  <a:pt x="619323" y="919911"/>
                  <a:pt x="608949" y="903608"/>
                </a:cubicBezTo>
                <a:cubicBezTo>
                  <a:pt x="588256" y="871090"/>
                  <a:pt x="528405" y="725037"/>
                  <a:pt x="527468" y="722539"/>
                </a:cubicBezTo>
                <a:cubicBezTo>
                  <a:pt x="518415" y="698396"/>
                  <a:pt x="510125" y="673953"/>
                  <a:pt x="500308" y="650111"/>
                </a:cubicBezTo>
                <a:cubicBezTo>
                  <a:pt x="488991" y="622628"/>
                  <a:pt x="473493" y="596827"/>
                  <a:pt x="464094" y="568630"/>
                </a:cubicBezTo>
                <a:cubicBezTo>
                  <a:pt x="455296" y="542235"/>
                  <a:pt x="451444" y="514432"/>
                  <a:pt x="445987" y="487149"/>
                </a:cubicBezTo>
                <a:cubicBezTo>
                  <a:pt x="424808" y="381255"/>
                  <a:pt x="429122" y="399980"/>
                  <a:pt x="418826" y="297026"/>
                </a:cubicBezTo>
                <a:cubicBezTo>
                  <a:pt x="421844" y="233652"/>
                  <a:pt x="417449" y="169486"/>
                  <a:pt x="427880" y="106903"/>
                </a:cubicBezTo>
                <a:cubicBezTo>
                  <a:pt x="429669" y="96170"/>
                  <a:pt x="443124" y="123566"/>
                  <a:pt x="445987" y="134064"/>
                </a:cubicBezTo>
                <a:cubicBezTo>
                  <a:pt x="452389" y="157537"/>
                  <a:pt x="451245" y="182459"/>
                  <a:pt x="455040" y="206491"/>
                </a:cubicBezTo>
                <a:cubicBezTo>
                  <a:pt x="460302" y="239819"/>
                  <a:pt x="468588" y="272649"/>
                  <a:pt x="473147" y="306080"/>
                </a:cubicBezTo>
                <a:cubicBezTo>
                  <a:pt x="477651" y="339107"/>
                  <a:pt x="477256" y="372704"/>
                  <a:pt x="482201" y="405668"/>
                </a:cubicBezTo>
                <a:cubicBezTo>
                  <a:pt x="486328" y="433183"/>
                  <a:pt x="494633" y="459911"/>
                  <a:pt x="500308" y="487149"/>
                </a:cubicBezTo>
                <a:cubicBezTo>
                  <a:pt x="533294" y="645485"/>
                  <a:pt x="509394" y="577766"/>
                  <a:pt x="545575" y="668218"/>
                </a:cubicBezTo>
                <a:cubicBezTo>
                  <a:pt x="531590" y="724157"/>
                  <a:pt x="546770" y="714084"/>
                  <a:pt x="473147" y="677272"/>
                </a:cubicBezTo>
                <a:cubicBezTo>
                  <a:pt x="445357" y="663377"/>
                  <a:pt x="417518" y="649239"/>
                  <a:pt x="391666" y="632004"/>
                </a:cubicBezTo>
                <a:cubicBezTo>
                  <a:pt x="363037" y="612918"/>
                  <a:pt x="337886" y="589041"/>
                  <a:pt x="310185" y="568630"/>
                </a:cubicBezTo>
                <a:cubicBezTo>
                  <a:pt x="280529" y="546778"/>
                  <a:pt x="250300" y="525690"/>
                  <a:pt x="219650" y="505256"/>
                </a:cubicBezTo>
                <a:cubicBezTo>
                  <a:pt x="195961" y="489464"/>
                  <a:pt x="172109" y="473814"/>
                  <a:pt x="147222" y="459988"/>
                </a:cubicBezTo>
                <a:cubicBezTo>
                  <a:pt x="117728" y="443602"/>
                  <a:pt x="56688" y="414721"/>
                  <a:pt x="56688" y="414721"/>
                </a:cubicBezTo>
                <a:cubicBezTo>
                  <a:pt x="68122" y="449022"/>
                  <a:pt x="96574" y="537924"/>
                  <a:pt x="111009" y="559577"/>
                </a:cubicBezTo>
                <a:cubicBezTo>
                  <a:pt x="153666" y="623565"/>
                  <a:pt x="100146" y="544370"/>
                  <a:pt x="156276" y="622951"/>
                </a:cubicBezTo>
                <a:cubicBezTo>
                  <a:pt x="175812" y="650301"/>
                  <a:pt x="173365" y="654730"/>
                  <a:pt x="201543" y="677272"/>
                </a:cubicBezTo>
                <a:cubicBezTo>
                  <a:pt x="206812" y="681487"/>
                  <a:pt x="213614" y="683307"/>
                  <a:pt x="219650" y="686325"/>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Graphic 54" descr="Angel face outline with solid fill">
            <a:extLst>
              <a:ext uri="{FF2B5EF4-FFF2-40B4-BE49-F238E27FC236}">
                <a16:creationId xmlns:a16="http://schemas.microsoft.com/office/drawing/2014/main" id="{74C04ABA-DBE0-4596-BF9F-BB4CECC236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34888" y="4287953"/>
            <a:ext cx="689232" cy="689232"/>
          </a:xfrm>
          <a:prstGeom prst="rect">
            <a:avLst/>
          </a:prstGeom>
        </p:spPr>
      </p:pic>
      <p:sp>
        <p:nvSpPr>
          <p:cNvPr id="48" name="Rectangle 47">
            <a:extLst>
              <a:ext uri="{FF2B5EF4-FFF2-40B4-BE49-F238E27FC236}">
                <a16:creationId xmlns:a16="http://schemas.microsoft.com/office/drawing/2014/main" id="{C3AAA40B-95BE-42B5-A77B-20FFD44580F9}"/>
              </a:ext>
            </a:extLst>
          </p:cNvPr>
          <p:cNvSpPr/>
          <p:nvPr/>
        </p:nvSpPr>
        <p:spPr bwMode="gray">
          <a:xfrm>
            <a:off x="4151996" y="4524714"/>
            <a:ext cx="1330686" cy="452471"/>
          </a:xfrm>
          <a:prstGeom prst="rect">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i="1">
                <a:solidFill>
                  <a:srgbClr val="443247"/>
                </a:solidFill>
                <a:latin typeface="Arial" panose="020B0604020202020204" pitchFamily="34" charset="0"/>
              </a:rPr>
              <a:t>Numbers</a:t>
            </a:r>
            <a:endParaRPr lang="en-US" sz="1400" b="1" i="1">
              <a:solidFill>
                <a:srgbClr val="443247"/>
              </a:solidFill>
              <a:latin typeface="Arial" panose="020B0604020202020204" pitchFamily="34" charset="0"/>
            </a:endParaRPr>
          </a:p>
        </p:txBody>
      </p:sp>
      <p:sp>
        <p:nvSpPr>
          <p:cNvPr id="49" name="Rectangle 48">
            <a:extLst>
              <a:ext uri="{FF2B5EF4-FFF2-40B4-BE49-F238E27FC236}">
                <a16:creationId xmlns:a16="http://schemas.microsoft.com/office/drawing/2014/main" id="{57B93385-A5B2-4336-B863-5496C2971209}"/>
              </a:ext>
            </a:extLst>
          </p:cNvPr>
          <p:cNvSpPr/>
          <p:nvPr/>
        </p:nvSpPr>
        <p:spPr bwMode="gray">
          <a:xfrm>
            <a:off x="4509194" y="2357839"/>
            <a:ext cx="768127" cy="452471"/>
          </a:xfrm>
          <a:prstGeom prst="rect">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i="1">
                <a:solidFill>
                  <a:srgbClr val="443247"/>
                </a:solidFill>
                <a:latin typeface="Arial" panose="020B0604020202020204" pitchFamily="34" charset="0"/>
              </a:rPr>
              <a:t>Text</a:t>
            </a:r>
          </a:p>
        </p:txBody>
      </p:sp>
      <p:sp>
        <p:nvSpPr>
          <p:cNvPr id="26" name="Rectangle 25">
            <a:extLst>
              <a:ext uri="{FF2B5EF4-FFF2-40B4-BE49-F238E27FC236}">
                <a16:creationId xmlns:a16="http://schemas.microsoft.com/office/drawing/2014/main" id="{BDFA5FFC-0AA6-497D-8F8D-8DDD4CEC0BEB}"/>
              </a:ext>
            </a:extLst>
          </p:cNvPr>
          <p:cNvSpPr/>
          <p:nvPr/>
        </p:nvSpPr>
        <p:spPr bwMode="gray">
          <a:xfrm>
            <a:off x="8198077" y="3753672"/>
            <a:ext cx="2236289" cy="614309"/>
          </a:xfrm>
          <a:prstGeom prst="rect">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r>
              <a:rPr lang="en-US" sz="1600" b="1" i="1">
                <a:solidFill>
                  <a:srgbClr val="00BCFF"/>
                </a:solidFill>
                <a:latin typeface="Arial" panose="020B0604020202020204" pitchFamily="34" charset="0"/>
              </a:rPr>
              <a:t>Traditional method </a:t>
            </a:r>
            <a:r>
              <a:rPr lang="en-US" sz="1600" b="1">
                <a:solidFill>
                  <a:schemeClr val="tx1"/>
                </a:solidFill>
                <a:latin typeface="Arial" panose="020B0604020202020204" pitchFamily="34" charset="0"/>
              </a:rPr>
              <a:t>one-hot</a:t>
            </a:r>
            <a:endParaRPr lang="en-US" sz="1400" b="1">
              <a:solidFill>
                <a:schemeClr val="tx1"/>
              </a:solidFill>
              <a:latin typeface="Arial" panose="020B0604020202020204" pitchFamily="34" charset="0"/>
            </a:endParaRPr>
          </a:p>
        </p:txBody>
      </p:sp>
      <p:sp>
        <p:nvSpPr>
          <p:cNvPr id="27" name="Rectangle 26">
            <a:extLst>
              <a:ext uri="{FF2B5EF4-FFF2-40B4-BE49-F238E27FC236}">
                <a16:creationId xmlns:a16="http://schemas.microsoft.com/office/drawing/2014/main" id="{402DBB2C-9C6A-4229-9576-C6E8F7D48DB2}"/>
              </a:ext>
            </a:extLst>
          </p:cNvPr>
          <p:cNvSpPr/>
          <p:nvPr/>
        </p:nvSpPr>
        <p:spPr bwMode="gray">
          <a:xfrm>
            <a:off x="8259790" y="5085329"/>
            <a:ext cx="2236289" cy="452471"/>
          </a:xfrm>
          <a:prstGeom prst="rect">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r>
              <a:rPr lang="en-US" sz="1600" b="1" i="1">
                <a:solidFill>
                  <a:srgbClr val="00BCFF"/>
                </a:solidFill>
                <a:latin typeface="Arial" panose="020B0604020202020204" pitchFamily="34" charset="0"/>
              </a:rPr>
              <a:t>Advanced method </a:t>
            </a:r>
            <a:r>
              <a:rPr lang="en-US" sz="1600" b="1">
                <a:solidFill>
                  <a:schemeClr val="tx1"/>
                </a:solidFill>
                <a:latin typeface="Arial" panose="020B0604020202020204" pitchFamily="34" charset="0"/>
              </a:rPr>
              <a:t>language model</a:t>
            </a:r>
            <a:endParaRPr lang="en-US" sz="1400" b="1">
              <a:solidFill>
                <a:schemeClr val="tx1"/>
              </a:solidFill>
              <a:latin typeface="Arial" panose="020B0604020202020204" pitchFamily="34" charset="0"/>
            </a:endParaRPr>
          </a:p>
        </p:txBody>
      </p:sp>
      <p:cxnSp>
        <p:nvCxnSpPr>
          <p:cNvPr id="31" name="Connector: Elbow 30">
            <a:extLst>
              <a:ext uri="{FF2B5EF4-FFF2-40B4-BE49-F238E27FC236}">
                <a16:creationId xmlns:a16="http://schemas.microsoft.com/office/drawing/2014/main" id="{A0713A47-8724-4C5F-A58A-69767536C91A}"/>
              </a:ext>
            </a:extLst>
          </p:cNvPr>
          <p:cNvCxnSpPr>
            <a:cxnSpLocks/>
            <a:stCxn id="45" idx="3"/>
            <a:endCxn id="26" idx="1"/>
          </p:cNvCxnSpPr>
          <p:nvPr/>
        </p:nvCxnSpPr>
        <p:spPr bwMode="gray">
          <a:xfrm flipV="1">
            <a:off x="7408387" y="4060827"/>
            <a:ext cx="789690" cy="693208"/>
          </a:xfrm>
          <a:prstGeom prst="bentConnector3">
            <a:avLst>
              <a:gd name="adj1" fmla="val 50000"/>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C3360723-1FEA-4427-8603-139F3CEFE53C}"/>
              </a:ext>
            </a:extLst>
          </p:cNvPr>
          <p:cNvCxnSpPr>
            <a:cxnSpLocks/>
            <a:stCxn id="45" idx="3"/>
            <a:endCxn id="27" idx="1"/>
          </p:cNvCxnSpPr>
          <p:nvPr/>
        </p:nvCxnSpPr>
        <p:spPr bwMode="gray">
          <a:xfrm>
            <a:off x="7408387" y="4754035"/>
            <a:ext cx="851403" cy="557530"/>
          </a:xfrm>
          <a:prstGeom prst="bentConnector3">
            <a:avLst>
              <a:gd name="adj1" fmla="val 45525"/>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0C90E45E-FBC3-4171-AB1E-94E490C1DCE0}"/>
              </a:ext>
            </a:extLst>
          </p:cNvPr>
          <p:cNvGrpSpPr/>
          <p:nvPr/>
        </p:nvGrpSpPr>
        <p:grpSpPr>
          <a:xfrm>
            <a:off x="8495106" y="-8203"/>
            <a:ext cx="563328" cy="563328"/>
            <a:chOff x="7649686" y="2791782"/>
            <a:chExt cx="563328" cy="563328"/>
          </a:xfrm>
        </p:grpSpPr>
        <p:pic>
          <p:nvPicPr>
            <p:cNvPr id="34" name="Graphic 33" descr="Document outline">
              <a:extLst>
                <a:ext uri="{FF2B5EF4-FFF2-40B4-BE49-F238E27FC236}">
                  <a16:creationId xmlns:a16="http://schemas.microsoft.com/office/drawing/2014/main" id="{89F9E1EB-C3E9-43C4-90DB-365C9E518C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49686" y="2791782"/>
              <a:ext cx="563328" cy="563328"/>
            </a:xfrm>
            <a:prstGeom prst="rect">
              <a:avLst/>
            </a:prstGeom>
          </p:spPr>
        </p:pic>
        <p:sp>
          <p:nvSpPr>
            <p:cNvPr id="35" name="Rectangle 34">
              <a:extLst>
                <a:ext uri="{FF2B5EF4-FFF2-40B4-BE49-F238E27FC236}">
                  <a16:creationId xmlns:a16="http://schemas.microsoft.com/office/drawing/2014/main" id="{7B11BF76-CD63-4DFE-A3CB-B461DE5625CB}"/>
                </a:ext>
              </a:extLst>
            </p:cNvPr>
            <p:cNvSpPr/>
            <p:nvPr/>
          </p:nvSpPr>
          <p:spPr bwMode="gray">
            <a:xfrm>
              <a:off x="7803387" y="3028265"/>
              <a:ext cx="255926" cy="45719"/>
            </a:xfrm>
            <a:prstGeom prst="rect">
              <a:avLst/>
            </a:prstGeom>
            <a:noFill/>
            <a:ln w="19050">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a:extLst>
              <a:ext uri="{FF2B5EF4-FFF2-40B4-BE49-F238E27FC236}">
                <a16:creationId xmlns:a16="http://schemas.microsoft.com/office/drawing/2014/main" id="{3217442A-6246-4135-B99A-4F09EFFC01D4}"/>
              </a:ext>
            </a:extLst>
          </p:cNvPr>
          <p:cNvGrpSpPr/>
          <p:nvPr/>
        </p:nvGrpSpPr>
        <p:grpSpPr>
          <a:xfrm>
            <a:off x="9287312" y="213929"/>
            <a:ext cx="583548" cy="119064"/>
            <a:chOff x="9252602" y="2936080"/>
            <a:chExt cx="583548" cy="119064"/>
          </a:xfrm>
        </p:grpSpPr>
        <p:grpSp>
          <p:nvGrpSpPr>
            <p:cNvPr id="37" name="Group 36">
              <a:extLst>
                <a:ext uri="{FF2B5EF4-FFF2-40B4-BE49-F238E27FC236}">
                  <a16:creationId xmlns:a16="http://schemas.microsoft.com/office/drawing/2014/main" id="{17BBDF0C-1C84-4135-AC24-A85003057BFF}"/>
                </a:ext>
              </a:extLst>
            </p:cNvPr>
            <p:cNvGrpSpPr/>
            <p:nvPr/>
          </p:nvGrpSpPr>
          <p:grpSpPr>
            <a:xfrm>
              <a:off x="9252602" y="2936080"/>
              <a:ext cx="497972" cy="119064"/>
              <a:chOff x="9453765" y="2960328"/>
              <a:chExt cx="497972" cy="119064"/>
            </a:xfrm>
          </p:grpSpPr>
          <p:sp>
            <p:nvSpPr>
              <p:cNvPr id="40" name="Rectangle 39">
                <a:extLst>
                  <a:ext uri="{FF2B5EF4-FFF2-40B4-BE49-F238E27FC236}">
                    <a16:creationId xmlns:a16="http://schemas.microsoft.com/office/drawing/2014/main" id="{F9634F1E-9EA1-4E2E-A8F0-9C1D7147127B}"/>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2BB9BBF0-B251-47B6-8A02-573A7B2C84EB}"/>
                  </a:ext>
                </a:extLst>
              </p:cNvPr>
              <p:cNvCxnSpPr>
                <a:cxnSpLocks/>
              </p:cNvCxnSpPr>
              <p:nvPr/>
            </p:nvCxnSpPr>
            <p:spPr bwMode="gray">
              <a:xfrm>
                <a:off x="9639300"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51" name="Straight Connector 50">
                <a:extLst>
                  <a:ext uri="{FF2B5EF4-FFF2-40B4-BE49-F238E27FC236}">
                    <a16:creationId xmlns:a16="http://schemas.microsoft.com/office/drawing/2014/main" id="{4954493C-BAF8-46D5-85CD-01C7EF8B35F4}"/>
                  </a:ext>
                </a:extLst>
              </p:cNvPr>
              <p:cNvCxnSpPr>
                <a:cxnSpLocks/>
              </p:cNvCxnSpPr>
              <p:nvPr/>
            </p:nvCxnSpPr>
            <p:spPr bwMode="gray">
              <a:xfrm>
                <a:off x="9951737"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grpSp>
        <p:sp>
          <p:nvSpPr>
            <p:cNvPr id="38" name="Rectangle 37">
              <a:extLst>
                <a:ext uri="{FF2B5EF4-FFF2-40B4-BE49-F238E27FC236}">
                  <a16:creationId xmlns:a16="http://schemas.microsoft.com/office/drawing/2014/main" id="{60ADB75D-3FA7-43B7-9790-F177671FA0F2}"/>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18F96D3F-8133-4A12-AFED-421B8E2D5A1A}"/>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 name="Group 51">
            <a:extLst>
              <a:ext uri="{FF2B5EF4-FFF2-40B4-BE49-F238E27FC236}">
                <a16:creationId xmlns:a16="http://schemas.microsoft.com/office/drawing/2014/main" id="{6208F932-C4AA-4D93-B6F2-8A3CDE697479}"/>
              </a:ext>
            </a:extLst>
          </p:cNvPr>
          <p:cNvGrpSpPr/>
          <p:nvPr/>
        </p:nvGrpSpPr>
        <p:grpSpPr>
          <a:xfrm>
            <a:off x="10171709" y="213929"/>
            <a:ext cx="583548" cy="119064"/>
            <a:chOff x="9252602" y="2936080"/>
            <a:chExt cx="583548" cy="119064"/>
          </a:xfrm>
        </p:grpSpPr>
        <p:grpSp>
          <p:nvGrpSpPr>
            <p:cNvPr id="53" name="Group 52">
              <a:extLst>
                <a:ext uri="{FF2B5EF4-FFF2-40B4-BE49-F238E27FC236}">
                  <a16:creationId xmlns:a16="http://schemas.microsoft.com/office/drawing/2014/main" id="{A435D0B0-A39E-4626-9D73-B9217DAC50AC}"/>
                </a:ext>
              </a:extLst>
            </p:cNvPr>
            <p:cNvGrpSpPr/>
            <p:nvPr/>
          </p:nvGrpSpPr>
          <p:grpSpPr>
            <a:xfrm>
              <a:off x="9252602" y="2936080"/>
              <a:ext cx="497972" cy="119064"/>
              <a:chOff x="9453765" y="2960328"/>
              <a:chExt cx="497972" cy="119064"/>
            </a:xfrm>
          </p:grpSpPr>
          <p:sp>
            <p:nvSpPr>
              <p:cNvPr id="57" name="Rectangle 56">
                <a:extLst>
                  <a:ext uri="{FF2B5EF4-FFF2-40B4-BE49-F238E27FC236}">
                    <a16:creationId xmlns:a16="http://schemas.microsoft.com/office/drawing/2014/main" id="{12A5D878-A24F-41B2-9F93-0B0AC3DB516E}"/>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8B26EB27-AE9D-46A3-87C3-B0B78C84B6ED}"/>
                  </a:ext>
                </a:extLst>
              </p:cNvPr>
              <p:cNvCxnSpPr>
                <a:cxnSpLocks/>
              </p:cNvCxnSpPr>
              <p:nvPr/>
            </p:nvCxnSpPr>
            <p:spPr bwMode="gray">
              <a:xfrm>
                <a:off x="9639300"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cxnSp>
            <p:nvCxnSpPr>
              <p:cNvPr id="59" name="Straight Connector 58">
                <a:extLst>
                  <a:ext uri="{FF2B5EF4-FFF2-40B4-BE49-F238E27FC236}">
                    <a16:creationId xmlns:a16="http://schemas.microsoft.com/office/drawing/2014/main" id="{517AA7F3-1751-46FC-AE44-0D9A52BEBB5B}"/>
                  </a:ext>
                </a:extLst>
              </p:cNvPr>
              <p:cNvCxnSpPr>
                <a:cxnSpLocks/>
              </p:cNvCxnSpPr>
              <p:nvPr/>
            </p:nvCxnSpPr>
            <p:spPr bwMode="gray">
              <a:xfrm>
                <a:off x="9951737"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grpSp>
        <p:sp>
          <p:nvSpPr>
            <p:cNvPr id="54" name="Rectangle 53">
              <a:extLst>
                <a:ext uri="{FF2B5EF4-FFF2-40B4-BE49-F238E27FC236}">
                  <a16:creationId xmlns:a16="http://schemas.microsoft.com/office/drawing/2014/main" id="{5EBC0C5A-BAD7-49D5-B7A4-04F79B3C89C9}"/>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23A8257D-933F-4F55-9DA1-DE859AF4BBB2}"/>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a:extLst>
              <a:ext uri="{FF2B5EF4-FFF2-40B4-BE49-F238E27FC236}">
                <a16:creationId xmlns:a16="http://schemas.microsoft.com/office/drawing/2014/main" id="{8D86A5D3-9633-4719-8312-54437BAF5D94}"/>
              </a:ext>
            </a:extLst>
          </p:cNvPr>
          <p:cNvGrpSpPr/>
          <p:nvPr/>
        </p:nvGrpSpPr>
        <p:grpSpPr>
          <a:xfrm>
            <a:off x="10220568" y="181294"/>
            <a:ext cx="102202" cy="194364"/>
            <a:chOff x="11265694" y="3243264"/>
            <a:chExt cx="88106" cy="83344"/>
          </a:xfrm>
        </p:grpSpPr>
        <p:cxnSp>
          <p:nvCxnSpPr>
            <p:cNvPr id="61" name="Straight Connector 60">
              <a:extLst>
                <a:ext uri="{FF2B5EF4-FFF2-40B4-BE49-F238E27FC236}">
                  <a16:creationId xmlns:a16="http://schemas.microsoft.com/office/drawing/2014/main" id="{89423229-E5A4-4DEB-BAC6-A7C7AB998C3E}"/>
                </a:ext>
              </a:extLst>
            </p:cNvPr>
            <p:cNvCxnSpPr>
              <a:cxnSpLocks/>
            </p:cNvCxnSpPr>
            <p:nvPr/>
          </p:nvCxnSpPr>
          <p:spPr bwMode="gray">
            <a:xfrm>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62" name="Straight Connector 61">
              <a:extLst>
                <a:ext uri="{FF2B5EF4-FFF2-40B4-BE49-F238E27FC236}">
                  <a16:creationId xmlns:a16="http://schemas.microsoft.com/office/drawing/2014/main" id="{13C31DFF-DDAF-49CE-AC9F-FE81738DDB77}"/>
                </a:ext>
              </a:extLst>
            </p:cNvPr>
            <p:cNvCxnSpPr>
              <a:cxnSpLocks/>
            </p:cNvCxnSpPr>
            <p:nvPr/>
          </p:nvCxnSpPr>
          <p:spPr bwMode="gray">
            <a:xfrm flipV="1">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grpSp>
      <p:grpSp>
        <p:nvGrpSpPr>
          <p:cNvPr id="63" name="Group 62">
            <a:extLst>
              <a:ext uri="{FF2B5EF4-FFF2-40B4-BE49-F238E27FC236}">
                <a16:creationId xmlns:a16="http://schemas.microsoft.com/office/drawing/2014/main" id="{4C7EF9CA-4D0A-49B2-9C0E-FB16E6DD6217}"/>
              </a:ext>
            </a:extLst>
          </p:cNvPr>
          <p:cNvGrpSpPr/>
          <p:nvPr/>
        </p:nvGrpSpPr>
        <p:grpSpPr>
          <a:xfrm>
            <a:off x="10947419" y="121406"/>
            <a:ext cx="1176925" cy="304109"/>
            <a:chOff x="7530052" y="5001373"/>
            <a:chExt cx="1176925" cy="304109"/>
          </a:xfrm>
        </p:grpSpPr>
        <p:sp>
          <p:nvSpPr>
            <p:cNvPr id="64" name="Rectangle 63">
              <a:extLst>
                <a:ext uri="{FF2B5EF4-FFF2-40B4-BE49-F238E27FC236}">
                  <a16:creationId xmlns:a16="http://schemas.microsoft.com/office/drawing/2014/main" id="{04C0803A-953A-4C4D-80D8-3E96C5595572}"/>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dirty="0">
                  <a:ln w="0"/>
                  <a:solidFill>
                    <a:schemeClr val="tx1"/>
                  </a:solidFill>
                  <a:effectLst>
                    <a:outerShdw blurRad="38100" dist="19050" dir="2700000" algn="tl" rotWithShape="0">
                      <a:schemeClr val="dk1">
                        <a:alpha val="40000"/>
                      </a:schemeClr>
                    </a:outerShdw>
                  </a:effectLst>
                </a:rPr>
                <a:t>text  》numbers</a:t>
              </a:r>
              <a:endParaRPr lang="en-US" sz="1100" b="0" cap="none" spc="0" dirty="0">
                <a:ln w="0"/>
                <a:solidFill>
                  <a:schemeClr val="tx1"/>
                </a:solidFill>
                <a:effectLst>
                  <a:outerShdw blurRad="38100" dist="19050" dir="2700000" algn="tl" rotWithShape="0">
                    <a:schemeClr val="dk1">
                      <a:alpha val="40000"/>
                    </a:schemeClr>
                  </a:outerShdw>
                </a:effectLst>
              </a:endParaRPr>
            </a:p>
          </p:txBody>
        </p:sp>
        <p:sp>
          <p:nvSpPr>
            <p:cNvPr id="65" name="Flowchart: Connector 64">
              <a:extLst>
                <a:ext uri="{FF2B5EF4-FFF2-40B4-BE49-F238E27FC236}">
                  <a16:creationId xmlns:a16="http://schemas.microsoft.com/office/drawing/2014/main" id="{C77DADF1-831E-4165-857D-B58638D15F8C}"/>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Flowchart: Connector 65">
              <a:extLst>
                <a:ext uri="{FF2B5EF4-FFF2-40B4-BE49-F238E27FC236}">
                  <a16:creationId xmlns:a16="http://schemas.microsoft.com/office/drawing/2014/main" id="{88D37A03-A03D-4AF0-BF6C-33B5AEEA0848}"/>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67" name="Straight Arrow Connector 66">
            <a:extLst>
              <a:ext uri="{FF2B5EF4-FFF2-40B4-BE49-F238E27FC236}">
                <a16:creationId xmlns:a16="http://schemas.microsoft.com/office/drawing/2014/main" id="{4CF7196B-76F1-4D46-B4A6-0FBFDF7B1833}"/>
              </a:ext>
            </a:extLst>
          </p:cNvPr>
          <p:cNvCxnSpPr>
            <a:cxnSpLocks/>
          </p:cNvCxnSpPr>
          <p:nvPr/>
        </p:nvCxnSpPr>
        <p:spPr bwMode="gray">
          <a:xfrm>
            <a:off x="9058434" y="273461"/>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4C1C05D-9A76-4A9A-8A94-F21D728416D1}"/>
              </a:ext>
            </a:extLst>
          </p:cNvPr>
          <p:cNvCxnSpPr>
            <a:cxnSpLocks/>
          </p:cNvCxnSpPr>
          <p:nvPr/>
        </p:nvCxnSpPr>
        <p:spPr bwMode="gray">
          <a:xfrm>
            <a:off x="9928014" y="273461"/>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2AA005AE-DC0D-44A8-BD7B-9B412DACBD0C}"/>
              </a:ext>
            </a:extLst>
          </p:cNvPr>
          <p:cNvCxnSpPr>
            <a:cxnSpLocks/>
          </p:cNvCxnSpPr>
          <p:nvPr/>
        </p:nvCxnSpPr>
        <p:spPr bwMode="gray">
          <a:xfrm>
            <a:off x="10771065" y="271834"/>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749A609A-1E50-4845-B1AB-84E3957070EF}"/>
              </a:ext>
            </a:extLst>
          </p:cNvPr>
          <p:cNvSpPr/>
          <p:nvPr/>
        </p:nvSpPr>
        <p:spPr bwMode="gray">
          <a:xfrm>
            <a:off x="8753167" y="32034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a:t>
            </a:r>
          </a:p>
        </p:txBody>
      </p:sp>
      <p:sp>
        <p:nvSpPr>
          <p:cNvPr id="72" name="Oval 71">
            <a:extLst>
              <a:ext uri="{FF2B5EF4-FFF2-40B4-BE49-F238E27FC236}">
                <a16:creationId xmlns:a16="http://schemas.microsoft.com/office/drawing/2014/main" id="{62D298C0-3CF9-4509-9675-DBE57D5DBD84}"/>
              </a:ext>
            </a:extLst>
          </p:cNvPr>
          <p:cNvSpPr/>
          <p:nvPr/>
        </p:nvSpPr>
        <p:spPr bwMode="gray">
          <a:xfrm>
            <a:off x="9764232" y="32034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2</a:t>
            </a:r>
          </a:p>
        </p:txBody>
      </p:sp>
      <p:sp>
        <p:nvSpPr>
          <p:cNvPr id="73" name="Oval 72">
            <a:extLst>
              <a:ext uri="{FF2B5EF4-FFF2-40B4-BE49-F238E27FC236}">
                <a16:creationId xmlns:a16="http://schemas.microsoft.com/office/drawing/2014/main" id="{72D19D17-27F0-41FF-978A-CF2FFD270D5E}"/>
              </a:ext>
            </a:extLst>
          </p:cNvPr>
          <p:cNvSpPr/>
          <p:nvPr/>
        </p:nvSpPr>
        <p:spPr bwMode="gray">
          <a:xfrm>
            <a:off x="10730064" y="32034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3</a:t>
            </a:r>
          </a:p>
        </p:txBody>
      </p:sp>
      <p:sp>
        <p:nvSpPr>
          <p:cNvPr id="74" name="Oval 73">
            <a:extLst>
              <a:ext uri="{FF2B5EF4-FFF2-40B4-BE49-F238E27FC236}">
                <a16:creationId xmlns:a16="http://schemas.microsoft.com/office/drawing/2014/main" id="{93817E81-7EF4-49ED-83AC-F3E8C7FCA8A8}"/>
              </a:ext>
            </a:extLst>
          </p:cNvPr>
          <p:cNvSpPr/>
          <p:nvPr/>
        </p:nvSpPr>
        <p:spPr bwMode="gray">
          <a:xfrm>
            <a:off x="11930010" y="34859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a:t>
            </a:r>
          </a:p>
        </p:txBody>
      </p:sp>
    </p:spTree>
    <p:extLst>
      <p:ext uri="{BB962C8B-B14F-4D97-AF65-F5344CB8AC3E}">
        <p14:creationId xmlns:p14="http://schemas.microsoft.com/office/powerpoint/2010/main" val="61744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Flowchart: Process 85">
            <a:extLst>
              <a:ext uri="{FF2B5EF4-FFF2-40B4-BE49-F238E27FC236}">
                <a16:creationId xmlns:a16="http://schemas.microsoft.com/office/drawing/2014/main" id="{FED0C5A1-6DD6-4DBF-999C-8F65560DA886}"/>
              </a:ext>
            </a:extLst>
          </p:cNvPr>
          <p:cNvSpPr/>
          <p:nvPr/>
        </p:nvSpPr>
        <p:spPr bwMode="gray">
          <a:xfrm>
            <a:off x="6456261" y="1909847"/>
            <a:ext cx="5100467" cy="4035568"/>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800" baseline="-25000">
              <a:solidFill>
                <a:schemeClr val="tx1"/>
              </a:solidFill>
              <a:latin typeface="Arial" panose="020B0604020202020204" pitchFamily="34" charset="0"/>
            </a:endParaRPr>
          </a:p>
        </p:txBody>
      </p:sp>
      <p:sp>
        <p:nvSpPr>
          <p:cNvPr id="14" name="Subtitle 1">
            <a:extLst>
              <a:ext uri="{FF2B5EF4-FFF2-40B4-BE49-F238E27FC236}">
                <a16:creationId xmlns:a16="http://schemas.microsoft.com/office/drawing/2014/main" id="{D80E3F28-A55B-4499-9B7C-9730F0C3CC6F}"/>
              </a:ext>
            </a:extLst>
          </p:cNvPr>
          <p:cNvSpPr>
            <a:spLocks noGrp="1"/>
          </p:cNvSpPr>
          <p:nvPr>
            <p:ph type="subTitle" idx="13"/>
          </p:nvPr>
        </p:nvSpPr>
        <p:spPr/>
        <p:txBody>
          <a:bodyPr/>
          <a:lstStyle/>
          <a:p>
            <a:endParaRPr lang="en-US"/>
          </a:p>
        </p:txBody>
      </p:sp>
      <p:sp>
        <p:nvSpPr>
          <p:cNvPr id="5" name="Titel 4"/>
          <p:cNvSpPr>
            <a:spLocks noGrp="1"/>
          </p:cNvSpPr>
          <p:nvPr>
            <p:ph type="title"/>
          </p:nvPr>
        </p:nvSpPr>
        <p:spPr bwMode="gray"/>
        <p:txBody>
          <a:bodyPr vert="horz" lIns="0" tIns="0" rIns="0" bIns="0" rtlCol="0" anchor="b">
            <a:normAutofit/>
          </a:bodyPr>
          <a:lstStyle/>
          <a:p>
            <a:r>
              <a:rPr lang="en-US"/>
              <a:t>Step 4-Traditional semantic representation: One-Hot</a:t>
            </a:r>
          </a:p>
        </p:txBody>
      </p:sp>
      <p:sp>
        <p:nvSpPr>
          <p:cNvPr id="8" name="Footer Placeholder 7"/>
          <p:cNvSpPr>
            <a:spLocks noGrp="1"/>
          </p:cNvSpPr>
          <p:nvPr>
            <p:ph type="ftr" sz="quarter" idx="11"/>
          </p:nvPr>
        </p:nvSpPr>
        <p:spPr bwMode="gray">
          <a:xfrm>
            <a:off x="1727147"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948318"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13</a:t>
            </a:fld>
            <a:endParaRPr lang="en-US">
              <a:solidFill>
                <a:srgbClr val="443247"/>
              </a:solidFill>
            </a:endParaRPr>
          </a:p>
        </p:txBody>
      </p:sp>
      <p:sp>
        <p:nvSpPr>
          <p:cNvPr id="64" name="Rectangle 63">
            <a:extLst>
              <a:ext uri="{FF2B5EF4-FFF2-40B4-BE49-F238E27FC236}">
                <a16:creationId xmlns:a16="http://schemas.microsoft.com/office/drawing/2014/main" id="{4C4D255D-88F7-4661-82F0-E9E19A04E90C}"/>
              </a:ext>
            </a:extLst>
          </p:cNvPr>
          <p:cNvSpPr/>
          <p:nvPr/>
        </p:nvSpPr>
        <p:spPr bwMode="gray">
          <a:xfrm>
            <a:off x="8492211" y="3504301"/>
            <a:ext cx="2514000" cy="927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Arial" panose="020B0604020202020204" pitchFamily="34" charset="0"/>
                <a:cs typeface="MV Boli" panose="02000500030200090000" pitchFamily="2" charset="0"/>
              </a:rPr>
              <a:t>[1,1,1,1,1,1,1,1,1,1,1,0,…,0</a:t>
            </a:r>
            <a:r>
              <a:rPr lang="en-US" sz="1400" baseline="-25000">
                <a:solidFill>
                  <a:schemeClr val="tx1"/>
                </a:solidFill>
                <a:latin typeface="Arial" panose="020B0604020202020204" pitchFamily="34" charset="0"/>
                <a:cs typeface="MV Boli" panose="02000500030200090000" pitchFamily="2" charset="0"/>
              </a:rPr>
              <a:t>th</a:t>
            </a:r>
            <a:r>
              <a:rPr lang="en-US" sz="1400">
                <a:solidFill>
                  <a:schemeClr val="tx1"/>
                </a:solidFill>
                <a:latin typeface="Arial" panose="020B0604020202020204" pitchFamily="34" charset="0"/>
                <a:cs typeface="MV Boli" panose="02000500030200090000" pitchFamily="2" charset="0"/>
              </a:rPr>
              <a:t>]</a:t>
            </a:r>
            <a:endParaRPr lang="en-US" sz="1400" baseline="-25000">
              <a:solidFill>
                <a:schemeClr val="tx1"/>
              </a:solidFill>
              <a:latin typeface="MV Boli" panose="02000500030200090000" pitchFamily="2" charset="0"/>
              <a:cs typeface="MV Boli" panose="02000500030200090000" pitchFamily="2" charset="0"/>
            </a:endParaRPr>
          </a:p>
        </p:txBody>
      </p:sp>
      <p:cxnSp>
        <p:nvCxnSpPr>
          <p:cNvPr id="52" name="Connector: Elbow 51">
            <a:extLst>
              <a:ext uri="{FF2B5EF4-FFF2-40B4-BE49-F238E27FC236}">
                <a16:creationId xmlns:a16="http://schemas.microsoft.com/office/drawing/2014/main" id="{32F66379-876A-43DE-982F-2142D68AA279}"/>
              </a:ext>
            </a:extLst>
          </p:cNvPr>
          <p:cNvCxnSpPr>
            <a:cxnSpLocks/>
          </p:cNvCxnSpPr>
          <p:nvPr/>
        </p:nvCxnSpPr>
        <p:spPr bwMode="gray">
          <a:xfrm flipV="1">
            <a:off x="8051277" y="2928704"/>
            <a:ext cx="784093" cy="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59" name="Table 3">
            <a:extLst>
              <a:ext uri="{FF2B5EF4-FFF2-40B4-BE49-F238E27FC236}">
                <a16:creationId xmlns:a16="http://schemas.microsoft.com/office/drawing/2014/main" id="{F3714631-6F9F-419D-8D51-7CC787BF99A3}"/>
              </a:ext>
            </a:extLst>
          </p:cNvPr>
          <p:cNvGraphicFramePr>
            <a:graphicFrameLocks noGrp="1"/>
          </p:cNvGraphicFramePr>
          <p:nvPr/>
        </p:nvGraphicFramePr>
        <p:xfrm>
          <a:off x="6961476" y="2725480"/>
          <a:ext cx="944582" cy="2651628"/>
        </p:xfrm>
        <a:graphic>
          <a:graphicData uri="http://schemas.openxmlformats.org/drawingml/2006/table">
            <a:tbl>
              <a:tblPr bandRow="1">
                <a:tableStyleId>{7E9639D4-E3E2-4D34-9284-5A2195B3D0D7}</a:tableStyleId>
              </a:tblPr>
              <a:tblGrid>
                <a:gridCol w="944582">
                  <a:extLst>
                    <a:ext uri="{9D8B030D-6E8A-4147-A177-3AD203B41FA5}">
                      <a16:colId xmlns:a16="http://schemas.microsoft.com/office/drawing/2014/main" val="209644703"/>
                    </a:ext>
                  </a:extLst>
                </a:gridCol>
              </a:tblGrid>
              <a:tr h="219663">
                <a:tc>
                  <a:txBody>
                    <a:bodyPr/>
                    <a:lstStyle/>
                    <a:p>
                      <a:pPr algn="ctr"/>
                      <a:r>
                        <a:rPr lang="zh-CN" altLang="en-US" sz="900"/>
                        <a:t>目的</a:t>
                      </a:r>
                      <a:endParaRPr lang="en-US" sz="900"/>
                    </a:p>
                  </a:txBody>
                  <a:tcPr marL="91428" marR="91428" marT="45714" marB="45714"/>
                </a:tc>
                <a:extLst>
                  <a:ext uri="{0D108BD9-81ED-4DB2-BD59-A6C34878D82A}">
                    <a16:rowId xmlns:a16="http://schemas.microsoft.com/office/drawing/2014/main" val="939006580"/>
                  </a:ext>
                </a:extLst>
              </a:tr>
              <a:tr h="219663">
                <a:tc>
                  <a:txBody>
                    <a:bodyPr/>
                    <a:lstStyle/>
                    <a:p>
                      <a:pPr algn="ctr"/>
                      <a:r>
                        <a:rPr lang="zh-CN" altLang="en-US" sz="900"/>
                        <a:t>评价</a:t>
                      </a:r>
                      <a:endParaRPr lang="en-US" sz="900"/>
                    </a:p>
                  </a:txBody>
                  <a:tcPr marL="91428" marR="91428" marT="45714" marB="45714"/>
                </a:tc>
                <a:extLst>
                  <a:ext uri="{0D108BD9-81ED-4DB2-BD59-A6C34878D82A}">
                    <a16:rowId xmlns:a16="http://schemas.microsoft.com/office/drawing/2014/main" val="417594047"/>
                  </a:ext>
                </a:extLst>
              </a:tr>
              <a:tr h="219663">
                <a:tc>
                  <a:txBody>
                    <a:bodyPr/>
                    <a:lstStyle/>
                    <a:p>
                      <a:pPr algn="ctr"/>
                      <a:r>
                        <a:rPr lang="zh-CN" altLang="en-US" sz="900"/>
                        <a:t>地诺孕素</a:t>
                      </a:r>
                      <a:endParaRPr lang="en-US" sz="900"/>
                    </a:p>
                  </a:txBody>
                  <a:tcPr marL="91428" marR="91428" marT="45714" marB="45714"/>
                </a:tc>
                <a:extLst>
                  <a:ext uri="{0D108BD9-81ED-4DB2-BD59-A6C34878D82A}">
                    <a16:rowId xmlns:a16="http://schemas.microsoft.com/office/drawing/2014/main" val="949254293"/>
                  </a:ext>
                </a:extLst>
              </a:tr>
              <a:tr h="219663">
                <a:tc>
                  <a:txBody>
                    <a:bodyPr/>
                    <a:lstStyle/>
                    <a:p>
                      <a:pPr algn="ctr"/>
                      <a:r>
                        <a:rPr lang="en-US" sz="900"/>
                        <a:t>DNG</a:t>
                      </a:r>
                    </a:p>
                  </a:txBody>
                  <a:tcPr marL="91428" marR="91428" marT="45714" marB="45714"/>
                </a:tc>
                <a:extLst>
                  <a:ext uri="{0D108BD9-81ED-4DB2-BD59-A6C34878D82A}">
                    <a16:rowId xmlns:a16="http://schemas.microsoft.com/office/drawing/2014/main" val="1190618164"/>
                  </a:ext>
                </a:extLst>
              </a:tr>
              <a:tr h="219663">
                <a:tc>
                  <a:txBody>
                    <a:bodyPr/>
                    <a:lstStyle/>
                    <a:p>
                      <a:pPr algn="ctr"/>
                      <a:r>
                        <a:rPr lang="zh-CN" altLang="en-US" sz="900"/>
                        <a:t>难治性</a:t>
                      </a:r>
                      <a:endParaRPr lang="en-US" sz="900"/>
                    </a:p>
                  </a:txBody>
                  <a:tcPr marL="91428" marR="91428" marT="45714" marB="45714"/>
                </a:tc>
                <a:extLst>
                  <a:ext uri="{0D108BD9-81ED-4DB2-BD59-A6C34878D82A}">
                    <a16:rowId xmlns:a16="http://schemas.microsoft.com/office/drawing/2014/main" val="1740961047"/>
                  </a:ext>
                </a:extLst>
              </a:tr>
              <a:tr h="219663">
                <a:tc>
                  <a:txBody>
                    <a:bodyPr/>
                    <a:lstStyle/>
                    <a:p>
                      <a:pPr algn="ctr"/>
                      <a:r>
                        <a:rPr lang="zh-CN" altLang="en-US" sz="900"/>
                        <a:t>子宫内膜异位症</a:t>
                      </a:r>
                      <a:endParaRPr lang="en-US" sz="900"/>
                    </a:p>
                  </a:txBody>
                  <a:tcPr marL="91428" marR="91428" marT="45714" marB="45714"/>
                </a:tc>
                <a:extLst>
                  <a:ext uri="{0D108BD9-81ED-4DB2-BD59-A6C34878D82A}">
                    <a16:rowId xmlns:a16="http://schemas.microsoft.com/office/drawing/2014/main" val="4009392884"/>
                  </a:ext>
                </a:extLst>
              </a:tr>
              <a:tr h="219663">
                <a:tc>
                  <a:txBody>
                    <a:bodyPr/>
                    <a:lstStyle/>
                    <a:p>
                      <a:pPr algn="ctr"/>
                      <a:r>
                        <a:rPr lang="zh-CN" altLang="en-US" sz="900"/>
                        <a:t>内异症</a:t>
                      </a:r>
                      <a:endParaRPr lang="en-US" sz="900"/>
                    </a:p>
                  </a:txBody>
                  <a:tcPr marL="91428" marR="91428" marT="45714" marB="45714"/>
                </a:tc>
                <a:extLst>
                  <a:ext uri="{0D108BD9-81ED-4DB2-BD59-A6C34878D82A}">
                    <a16:rowId xmlns:a16="http://schemas.microsoft.com/office/drawing/2014/main" val="2733372880"/>
                  </a:ext>
                </a:extLst>
              </a:tr>
              <a:tr h="219663">
                <a:tc>
                  <a:txBody>
                    <a:bodyPr/>
                    <a:lstStyle/>
                    <a:p>
                      <a:pPr algn="ctr"/>
                      <a:r>
                        <a:rPr lang="zh-CN" altLang="en-US" sz="900"/>
                        <a:t>疼痛</a:t>
                      </a:r>
                      <a:endParaRPr lang="en-US" sz="900"/>
                    </a:p>
                  </a:txBody>
                  <a:tcPr marL="91428" marR="91428" marT="45714" marB="45714"/>
                </a:tc>
                <a:extLst>
                  <a:ext uri="{0D108BD9-81ED-4DB2-BD59-A6C34878D82A}">
                    <a16:rowId xmlns:a16="http://schemas.microsoft.com/office/drawing/2014/main" val="2155363146"/>
                  </a:ext>
                </a:extLst>
              </a:tr>
              <a:tr h="219663">
                <a:tc>
                  <a:txBody>
                    <a:bodyPr/>
                    <a:lstStyle/>
                    <a:p>
                      <a:pPr algn="ctr"/>
                      <a:r>
                        <a:rPr lang="zh-CN" altLang="en-US" sz="900"/>
                        <a:t>临床</a:t>
                      </a:r>
                      <a:endParaRPr lang="en-US" sz="900"/>
                    </a:p>
                  </a:txBody>
                  <a:tcPr marL="91428" marR="91428" marT="45714" marB="45714"/>
                </a:tc>
                <a:extLst>
                  <a:ext uri="{0D108BD9-81ED-4DB2-BD59-A6C34878D82A}">
                    <a16:rowId xmlns:a16="http://schemas.microsoft.com/office/drawing/2014/main" val="615231188"/>
                  </a:ext>
                </a:extLst>
              </a:tr>
              <a:tr h="219663">
                <a:tc>
                  <a:txBody>
                    <a:bodyPr/>
                    <a:lstStyle/>
                    <a:p>
                      <a:pPr algn="ctr"/>
                      <a:r>
                        <a:rPr lang="zh-CN" altLang="en-US" sz="900"/>
                        <a:t>疗效</a:t>
                      </a:r>
                      <a:endParaRPr lang="en-US" sz="900"/>
                    </a:p>
                  </a:txBody>
                  <a:tcPr marL="91428" marR="91428" marT="45714" marB="45714"/>
                </a:tc>
                <a:extLst>
                  <a:ext uri="{0D108BD9-81ED-4DB2-BD59-A6C34878D82A}">
                    <a16:rowId xmlns:a16="http://schemas.microsoft.com/office/drawing/2014/main" val="1157345881"/>
                  </a:ext>
                </a:extLst>
              </a:tr>
              <a:tr h="219663">
                <a:tc>
                  <a:txBody>
                    <a:bodyPr/>
                    <a:lstStyle/>
                    <a:p>
                      <a:pPr algn="ctr"/>
                      <a:r>
                        <a:rPr lang="zh-CN" altLang="en-US" sz="900"/>
                        <a:t>安全性</a:t>
                      </a:r>
                      <a:endParaRPr lang="en-US" sz="900"/>
                    </a:p>
                  </a:txBody>
                  <a:tcPr marL="91428" marR="91428" marT="45714" marB="45714"/>
                </a:tc>
                <a:extLst>
                  <a:ext uri="{0D108BD9-81ED-4DB2-BD59-A6C34878D82A}">
                    <a16:rowId xmlns:a16="http://schemas.microsoft.com/office/drawing/2014/main" val="3986667901"/>
                  </a:ext>
                </a:extLst>
              </a:tr>
            </a:tbl>
          </a:graphicData>
        </a:graphic>
      </p:graphicFrame>
      <p:pic>
        <p:nvPicPr>
          <p:cNvPr id="62" name="Graphic 61" descr="Caret Right with solid fill">
            <a:extLst>
              <a:ext uri="{FF2B5EF4-FFF2-40B4-BE49-F238E27FC236}">
                <a16:creationId xmlns:a16="http://schemas.microsoft.com/office/drawing/2014/main" id="{62D6FB17-FBC1-473C-B3FD-B3AA0F2586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19730" y="3683795"/>
            <a:ext cx="684590" cy="684590"/>
          </a:xfrm>
          <a:prstGeom prst="rect">
            <a:avLst/>
          </a:prstGeom>
        </p:spPr>
      </p:pic>
      <p:sp>
        <p:nvSpPr>
          <p:cNvPr id="66" name="TextBox 65">
            <a:extLst>
              <a:ext uri="{FF2B5EF4-FFF2-40B4-BE49-F238E27FC236}">
                <a16:creationId xmlns:a16="http://schemas.microsoft.com/office/drawing/2014/main" id="{FD307913-01DE-4626-9783-E62C20D81983}"/>
              </a:ext>
            </a:extLst>
          </p:cNvPr>
          <p:cNvSpPr txBox="1"/>
          <p:nvPr/>
        </p:nvSpPr>
        <p:spPr bwMode="gray">
          <a:xfrm>
            <a:off x="6877718" y="5577964"/>
            <a:ext cx="3176597" cy="253916"/>
          </a:xfrm>
          <a:prstGeom prst="rect">
            <a:avLst/>
          </a:prstGeom>
          <a:noFill/>
        </p:spPr>
        <p:txBody>
          <a:bodyPr wrap="square">
            <a:spAutoFit/>
          </a:bodyPr>
          <a:lstStyle/>
          <a:p>
            <a:r>
              <a:rPr lang="en-US" sz="1050" err="1">
                <a:cs typeface="MV Boli" panose="02000500030200090000" pitchFamily="2" charset="0"/>
              </a:rPr>
              <a:t>Sentence</a:t>
            </a:r>
            <a:r>
              <a:rPr lang="en-US" sz="1050" baseline="-25000" err="1">
                <a:cs typeface="MV Boli" panose="02000500030200090000" pitchFamily="2" charset="0"/>
              </a:rPr>
              <a:t>i</a:t>
            </a:r>
            <a:r>
              <a:rPr lang="en-US" sz="1050">
                <a:cs typeface="MV Boli" panose="02000500030200090000" pitchFamily="2" charset="0"/>
              </a:rPr>
              <a:t> = [v</a:t>
            </a:r>
            <a:r>
              <a:rPr lang="en-US" sz="1050" baseline="-25000">
                <a:cs typeface="MV Boli" panose="02000500030200090000" pitchFamily="2" charset="0"/>
              </a:rPr>
              <a:t>i1</a:t>
            </a:r>
            <a:r>
              <a:rPr lang="en-US" sz="1050">
                <a:cs typeface="MV Boli" panose="02000500030200090000" pitchFamily="2" charset="0"/>
              </a:rPr>
              <a:t>,v</a:t>
            </a:r>
            <a:r>
              <a:rPr lang="en-US" sz="1050" baseline="-25000">
                <a:cs typeface="MV Boli" panose="02000500030200090000" pitchFamily="2" charset="0"/>
              </a:rPr>
              <a:t>i2</a:t>
            </a:r>
            <a:r>
              <a:rPr lang="en-US" sz="1050">
                <a:cs typeface="MV Boli" panose="02000500030200090000" pitchFamily="2" charset="0"/>
              </a:rPr>
              <a:t>,v</a:t>
            </a:r>
            <a:r>
              <a:rPr lang="en-US" sz="1050" baseline="-25000">
                <a:cs typeface="MV Boli" panose="02000500030200090000" pitchFamily="2" charset="0"/>
              </a:rPr>
              <a:t>i3</a:t>
            </a:r>
            <a:r>
              <a:rPr lang="en-US" sz="1050">
                <a:cs typeface="MV Boli" panose="02000500030200090000" pitchFamily="2" charset="0"/>
              </a:rPr>
              <a:t>,…,</a:t>
            </a:r>
            <a:r>
              <a:rPr lang="en-US" sz="1050" err="1">
                <a:cs typeface="MV Boli" panose="02000500030200090000" pitchFamily="2" charset="0"/>
              </a:rPr>
              <a:t>v</a:t>
            </a:r>
            <a:r>
              <a:rPr lang="en-US" sz="1050" baseline="-25000" err="1">
                <a:cs typeface="MV Boli" panose="02000500030200090000" pitchFamily="2" charset="0"/>
              </a:rPr>
              <a:t>ij</a:t>
            </a:r>
            <a:r>
              <a:rPr lang="en-US" sz="1050" baseline="-25000">
                <a:cs typeface="MV Boli" panose="02000500030200090000" pitchFamily="2" charset="0"/>
              </a:rPr>
              <a:t>,…,</a:t>
            </a:r>
            <a:r>
              <a:rPr lang="en-US" sz="1050">
                <a:cs typeface="MV Boli" panose="02000500030200090000" pitchFamily="2" charset="0"/>
              </a:rPr>
              <a:t>v</a:t>
            </a:r>
            <a:r>
              <a:rPr lang="en-US" sz="1050" baseline="-25000">
                <a:cs typeface="MV Boli" panose="02000500030200090000" pitchFamily="2" charset="0"/>
              </a:rPr>
              <a:t>in</a:t>
            </a:r>
            <a:r>
              <a:rPr lang="en-US" sz="1050">
                <a:cs typeface="MV Boli" panose="02000500030200090000" pitchFamily="2" charset="0"/>
              </a:rPr>
              <a:t>]</a:t>
            </a:r>
          </a:p>
        </p:txBody>
      </p:sp>
      <p:sp>
        <p:nvSpPr>
          <p:cNvPr id="68" name="Rectangle 67">
            <a:extLst>
              <a:ext uri="{FF2B5EF4-FFF2-40B4-BE49-F238E27FC236}">
                <a16:creationId xmlns:a16="http://schemas.microsoft.com/office/drawing/2014/main" id="{AF75BB88-4157-4D92-96B8-8B33B47106EF}"/>
              </a:ext>
            </a:extLst>
          </p:cNvPr>
          <p:cNvSpPr/>
          <p:nvPr/>
        </p:nvSpPr>
        <p:spPr bwMode="gray">
          <a:xfrm>
            <a:off x="6751273" y="5814291"/>
            <a:ext cx="4510442" cy="178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a:solidFill>
                  <a:schemeClr val="tx1"/>
                </a:solidFill>
                <a:cs typeface="MV Boli" panose="02000500030200090000" pitchFamily="2" charset="0"/>
              </a:rPr>
              <a:t>,Where </a:t>
            </a:r>
            <a:r>
              <a:rPr lang="en-US" altLang="zh-CN" sz="1050" err="1">
                <a:solidFill>
                  <a:schemeClr val="tx1"/>
                </a:solidFill>
                <a:cs typeface="MV Boli" panose="02000500030200090000" pitchFamily="2" charset="0"/>
              </a:rPr>
              <a:t>v</a:t>
            </a:r>
            <a:r>
              <a:rPr lang="en-US" altLang="zh-CN" sz="1050" baseline="-25000" err="1">
                <a:solidFill>
                  <a:schemeClr val="tx1"/>
                </a:solidFill>
                <a:cs typeface="MV Boli" panose="02000500030200090000" pitchFamily="2" charset="0"/>
              </a:rPr>
              <a:t>ij</a:t>
            </a:r>
            <a:r>
              <a:rPr lang="en-US" altLang="zh-CN" sz="1050">
                <a:solidFill>
                  <a:schemeClr val="tx1"/>
                </a:solidFill>
                <a:cs typeface="MV Boli" panose="02000500030200090000" pitchFamily="2" charset="0"/>
              </a:rPr>
              <a:t> = the number of the specific word in the current sentence</a:t>
            </a:r>
            <a:endParaRPr lang="en-US" sz="1050" i="1">
              <a:solidFill>
                <a:schemeClr val="tx1"/>
              </a:solidFill>
              <a:cs typeface="MV Boli" panose="02000500030200090000" pitchFamily="2" charset="0"/>
            </a:endParaRPr>
          </a:p>
        </p:txBody>
      </p:sp>
      <p:sp>
        <p:nvSpPr>
          <p:cNvPr id="82" name="Flowchart: Process 81">
            <a:extLst>
              <a:ext uri="{FF2B5EF4-FFF2-40B4-BE49-F238E27FC236}">
                <a16:creationId xmlns:a16="http://schemas.microsoft.com/office/drawing/2014/main" id="{06C0CDF4-C012-4344-A124-E367EE74BCD4}"/>
              </a:ext>
            </a:extLst>
          </p:cNvPr>
          <p:cNvSpPr/>
          <p:nvPr/>
        </p:nvSpPr>
        <p:spPr bwMode="gray">
          <a:xfrm>
            <a:off x="1002843" y="1909847"/>
            <a:ext cx="5100467" cy="4035568"/>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77" indent="-228577">
              <a:buAutoNum type="arabicPlain"/>
            </a:pPr>
            <a:r>
              <a:rPr lang="zh-CN" altLang="en-US" sz="900">
                <a:solidFill>
                  <a:schemeClr val="tx1"/>
                </a:solidFill>
                <a:latin typeface="Arial" panose="020B0604020202020204" pitchFamily="34" charset="0"/>
              </a:rPr>
              <a:t>目的</a:t>
            </a:r>
            <a:r>
              <a:rPr lang="en-US" altLang="zh-CN" sz="900">
                <a:solidFill>
                  <a:schemeClr val="tx1"/>
                </a:solidFill>
                <a:latin typeface="Arial" panose="020B0604020202020204" pitchFamily="34" charset="0"/>
              </a:rPr>
              <a:t>	[</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 …………………………………….,0]	n-dimensional</a:t>
            </a:r>
          </a:p>
          <a:p>
            <a:pPr marL="228577" indent="-228577">
              <a:buAutoNum type="arabicPlain"/>
            </a:pPr>
            <a:r>
              <a:rPr lang="zh-CN" altLang="en-US" sz="900">
                <a:solidFill>
                  <a:schemeClr val="tx1"/>
                </a:solidFill>
                <a:latin typeface="Arial" panose="020B0604020202020204" pitchFamily="34" charset="0"/>
              </a:rPr>
              <a:t>评价</a:t>
            </a:r>
            <a:r>
              <a:rPr lang="en-US" altLang="zh-CN" sz="900">
                <a:solidFill>
                  <a:schemeClr val="tx1"/>
                </a:solidFill>
                <a:latin typeface="Arial" panose="020B0604020202020204" pitchFamily="34" charset="0"/>
              </a:rPr>
              <a:t>	[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 ………………………………….…,0]	n-dimensional</a:t>
            </a:r>
          </a:p>
          <a:p>
            <a:pPr marL="228577" indent="-228577">
              <a:buAutoNum type="arabicPlain"/>
            </a:pPr>
            <a:r>
              <a:rPr lang="zh-CN" altLang="en-US" sz="900">
                <a:solidFill>
                  <a:schemeClr val="tx1"/>
                </a:solidFill>
                <a:latin typeface="Arial" panose="020B0604020202020204" pitchFamily="34" charset="0"/>
              </a:rPr>
              <a:t>地诺孕素</a:t>
            </a:r>
            <a:r>
              <a:rPr lang="en-US" altLang="zh-CN" sz="900">
                <a:solidFill>
                  <a:schemeClr val="tx1"/>
                </a:solidFill>
                <a:latin typeface="Arial" panose="020B0604020202020204" pitchFamily="34" charset="0"/>
              </a:rPr>
              <a:t>	[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	n-dimensional</a:t>
            </a:r>
          </a:p>
          <a:p>
            <a:pPr marL="228577" indent="-228577">
              <a:buAutoNum type="arabicPlain"/>
            </a:pPr>
            <a:r>
              <a:rPr lang="en-US" altLang="zh-CN" sz="900">
                <a:solidFill>
                  <a:schemeClr val="tx1"/>
                </a:solidFill>
                <a:latin typeface="Arial" panose="020B0604020202020204" pitchFamily="34" charset="0"/>
              </a:rPr>
              <a:t>DNG	[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难治性</a:t>
            </a:r>
            <a:r>
              <a:rPr lang="en-US" altLang="zh-CN" sz="900">
                <a:solidFill>
                  <a:schemeClr val="tx1"/>
                </a:solidFill>
                <a:latin typeface="Arial" panose="020B0604020202020204" pitchFamily="34" charset="0"/>
              </a:rPr>
              <a:t>	[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子宫内膜异位症</a:t>
            </a:r>
            <a:r>
              <a:rPr lang="en-US" altLang="zh-CN" sz="900">
                <a:solidFill>
                  <a:schemeClr val="tx1"/>
                </a:solidFill>
                <a:latin typeface="Arial" panose="020B0604020202020204" pitchFamily="34" charset="0"/>
              </a:rPr>
              <a:t>[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内异症</a:t>
            </a:r>
            <a:r>
              <a:rPr lang="en-US" altLang="zh-CN" sz="900">
                <a:solidFill>
                  <a:schemeClr val="tx1"/>
                </a:solidFill>
                <a:latin typeface="Arial" panose="020B0604020202020204" pitchFamily="34" charset="0"/>
              </a:rPr>
              <a:t>	[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疼痛</a:t>
            </a:r>
            <a:r>
              <a:rPr lang="en-US" altLang="zh-CN" sz="900">
                <a:solidFill>
                  <a:schemeClr val="tx1"/>
                </a:solidFill>
                <a:latin typeface="Arial" panose="020B0604020202020204" pitchFamily="34" charset="0"/>
              </a:rPr>
              <a:t>	[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临床</a:t>
            </a:r>
            <a:r>
              <a:rPr lang="en-US" altLang="zh-CN" sz="900">
                <a:solidFill>
                  <a:schemeClr val="tx1"/>
                </a:solidFill>
                <a:latin typeface="Arial" panose="020B0604020202020204" pitchFamily="34" charset="0"/>
              </a:rPr>
              <a:t>	[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疗效</a:t>
            </a:r>
            <a:r>
              <a:rPr lang="en-US" altLang="zh-CN" sz="900">
                <a:solidFill>
                  <a:schemeClr val="tx1"/>
                </a:solidFill>
                <a:latin typeface="Arial" panose="020B0604020202020204" pitchFamily="34" charset="0"/>
              </a:rPr>
              <a:t>	[0,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安全性</a:t>
            </a:r>
            <a:r>
              <a:rPr lang="en-US" altLang="zh-CN" sz="900">
                <a:solidFill>
                  <a:schemeClr val="tx1"/>
                </a:solidFill>
                <a:latin typeface="Arial" panose="020B0604020202020204" pitchFamily="34" charset="0"/>
              </a:rPr>
              <a:t>	[0,0,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方法</a:t>
            </a:r>
            <a:r>
              <a:rPr lang="en-US" altLang="zh-CN" sz="900">
                <a:solidFill>
                  <a:schemeClr val="tx1"/>
                </a:solidFill>
                <a:latin typeface="Arial" panose="020B0604020202020204" pitchFamily="34" charset="0"/>
              </a:rPr>
              <a:t>	[0,0,0,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本研究</a:t>
            </a:r>
            <a:r>
              <a:rPr lang="en-US" altLang="zh-CN" sz="900">
                <a:solidFill>
                  <a:schemeClr val="tx1"/>
                </a:solidFill>
                <a:latin typeface="Arial" panose="020B0604020202020204" pitchFamily="34" charset="0"/>
              </a:rPr>
              <a:t>	[0,0,0,0,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   …..…,0]	 n-dimensional</a:t>
            </a:r>
          </a:p>
          <a:p>
            <a:pPr marL="228577" indent="-228577">
              <a:buAutoNum type="arabicPlain"/>
            </a:pPr>
            <a:r>
              <a:rPr lang="zh-CN" altLang="en-US" sz="900">
                <a:solidFill>
                  <a:schemeClr val="tx1"/>
                </a:solidFill>
                <a:latin typeface="Arial" panose="020B0604020202020204" pitchFamily="34" charset="0"/>
              </a:rPr>
              <a:t>将</a:t>
            </a:r>
            <a:r>
              <a:rPr lang="en-US" altLang="zh-CN" sz="900">
                <a:solidFill>
                  <a:schemeClr val="tx1"/>
                </a:solidFill>
                <a:latin typeface="Arial" panose="020B0604020202020204" pitchFamily="34" charset="0"/>
              </a:rPr>
              <a:t>	[0,0,0,0,0,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   …..,0]	 n-dimensional</a:t>
            </a:r>
          </a:p>
          <a:p>
            <a:pPr marL="228577" indent="-228577">
              <a:buAutoNum type="arabicPlain"/>
            </a:pPr>
            <a:r>
              <a:rPr lang="zh-CN" altLang="en-US" sz="900">
                <a:solidFill>
                  <a:schemeClr val="tx1"/>
                </a:solidFill>
                <a:latin typeface="Arial" panose="020B0604020202020204" pitchFamily="34" charset="0"/>
              </a:rPr>
              <a:t>难治性</a:t>
            </a:r>
            <a:r>
              <a:rPr lang="en-US" altLang="zh-CN" sz="900">
                <a:solidFill>
                  <a:schemeClr val="tx1"/>
                </a:solidFill>
                <a:latin typeface="Arial" panose="020B0604020202020204" pitchFamily="34" charset="0"/>
              </a:rPr>
              <a:t>	[0,0,0,0,0,0,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  …,0]	 n-dimensional</a:t>
            </a:r>
          </a:p>
          <a:p>
            <a:pPr marL="228577" indent="-228577">
              <a:buAutoNum type="arabicPlain"/>
            </a:pPr>
            <a:r>
              <a:rPr lang="zh-CN" altLang="en-US" sz="900">
                <a:solidFill>
                  <a:schemeClr val="tx1"/>
                </a:solidFill>
                <a:latin typeface="Arial" panose="020B0604020202020204" pitchFamily="34" charset="0"/>
              </a:rPr>
              <a:t>定义</a:t>
            </a:r>
            <a:r>
              <a:rPr lang="en-US" altLang="zh-CN" sz="900">
                <a:solidFill>
                  <a:schemeClr val="tx1"/>
                </a:solidFill>
                <a:latin typeface="Arial" panose="020B0604020202020204" pitchFamily="34" charset="0"/>
              </a:rPr>
              <a:t>	[0,0,0,0,0,0,0,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   …,0]	 n-dimensional</a:t>
            </a:r>
          </a:p>
          <a:p>
            <a:pPr marL="228577" indent="-228577">
              <a:buAutoNum type="arabicPlain"/>
            </a:pPr>
            <a:r>
              <a:rPr lang="zh-CN" altLang="en-US" sz="900">
                <a:solidFill>
                  <a:schemeClr val="tx1"/>
                </a:solidFill>
                <a:latin typeface="Arial" panose="020B0604020202020204" pitchFamily="34" charset="0"/>
              </a:rPr>
              <a:t>相关</a:t>
            </a:r>
            <a:r>
              <a:rPr lang="en-US" altLang="zh-CN" sz="900">
                <a:solidFill>
                  <a:schemeClr val="tx1"/>
                </a:solidFill>
                <a:latin typeface="Arial" panose="020B0604020202020204" pitchFamily="34" charset="0"/>
              </a:rPr>
              <a:t>	[0,0,0,0,0,0,0,0,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0]	 n-dimensional</a:t>
            </a:r>
          </a:p>
          <a:p>
            <a:pPr marL="228577" indent="-228577">
              <a:buAutoNum type="arabicPlain"/>
            </a:pPr>
            <a:r>
              <a:rPr lang="zh-CN" altLang="en-US" sz="900">
                <a:solidFill>
                  <a:schemeClr val="tx1"/>
                </a:solidFill>
                <a:latin typeface="Arial" panose="020B0604020202020204" pitchFamily="34" charset="0"/>
              </a:rPr>
              <a:t>时间</a:t>
            </a:r>
            <a:r>
              <a:rPr lang="en-US" altLang="zh-CN" sz="900">
                <a:solidFill>
                  <a:schemeClr val="tx1"/>
                </a:solidFill>
                <a:latin typeface="Arial" panose="020B0604020202020204" pitchFamily="34" charset="0"/>
              </a:rPr>
              <a:t>	[0,0,0,0,0,0,0,0,0,0,0,0,0,0,0,0,0,</a:t>
            </a:r>
            <a:r>
              <a:rPr lang="en-US" altLang="zh-CN" sz="900" b="1">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	 n-dimensional</a:t>
            </a:r>
          </a:p>
          <a:p>
            <a:r>
              <a:rPr lang="en-US" altLang="zh-CN" sz="900">
                <a:solidFill>
                  <a:schemeClr val="tx1"/>
                </a:solidFill>
                <a:latin typeface="Arial" panose="020B0604020202020204" pitchFamily="34" charset="0"/>
              </a:rPr>
              <a:t>…        …	…		…</a:t>
            </a:r>
          </a:p>
          <a:p>
            <a:r>
              <a:rPr lang="en-US" altLang="zh-CN" sz="900" err="1">
                <a:solidFill>
                  <a:schemeClr val="tx1"/>
                </a:solidFill>
                <a:latin typeface="Arial" panose="020B0604020202020204" pitchFamily="34" charset="0"/>
              </a:rPr>
              <a:t>i</a:t>
            </a:r>
            <a:r>
              <a:rPr lang="en-US" altLang="zh-CN" sz="900">
                <a:solidFill>
                  <a:schemeClr val="tx1"/>
                </a:solidFill>
                <a:latin typeface="Arial" panose="020B0604020202020204" pitchFamily="34" charset="0"/>
              </a:rPr>
              <a:t>        </a:t>
            </a:r>
            <a:r>
              <a:rPr lang="en-US" altLang="zh-CN" sz="900" err="1">
                <a:solidFill>
                  <a:schemeClr val="tx1"/>
                </a:solidFill>
                <a:latin typeface="Arial" panose="020B0604020202020204" pitchFamily="34" charset="0"/>
              </a:rPr>
              <a:t>word</a:t>
            </a:r>
            <a:r>
              <a:rPr lang="en-US" altLang="zh-CN" sz="900" baseline="-25000" err="1">
                <a:solidFill>
                  <a:schemeClr val="tx1"/>
                </a:solidFill>
                <a:latin typeface="Arial" panose="020B0604020202020204" pitchFamily="34" charset="0"/>
              </a:rPr>
              <a:t>i</a:t>
            </a:r>
            <a:r>
              <a:rPr lang="en-US" altLang="zh-CN" sz="900" baseline="-25000">
                <a:solidFill>
                  <a:schemeClr val="tx1"/>
                </a:solidFill>
                <a:latin typeface="Arial" panose="020B0604020202020204" pitchFamily="34" charset="0"/>
              </a:rPr>
              <a:t>	</a:t>
            </a:r>
            <a:r>
              <a:rPr lang="en-US" altLang="zh-CN" sz="900">
                <a:solidFill>
                  <a:schemeClr val="tx1"/>
                </a:solidFill>
                <a:latin typeface="Arial" panose="020B0604020202020204" pitchFamily="34" charset="0"/>
              </a:rPr>
              <a:t>[0</a:t>
            </a:r>
            <a:r>
              <a:rPr lang="en-US" altLang="zh-CN" sz="900" baseline="-25000">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a:t>
            </a:r>
            <a:r>
              <a:rPr lang="en-US" altLang="zh-CN" sz="900" baseline="-25000">
                <a:solidFill>
                  <a:schemeClr val="tx1"/>
                </a:solidFill>
                <a:latin typeface="Arial" panose="020B0604020202020204" pitchFamily="34" charset="0"/>
              </a:rPr>
              <a:t>2</a:t>
            </a:r>
            <a:r>
              <a:rPr lang="en-US" altLang="zh-CN" sz="900">
                <a:solidFill>
                  <a:schemeClr val="tx1"/>
                </a:solidFill>
                <a:latin typeface="Arial" panose="020B0604020202020204" pitchFamily="34" charset="0"/>
              </a:rPr>
              <a:t>,………….,0</a:t>
            </a:r>
            <a:r>
              <a:rPr lang="en-US" altLang="zh-CN" sz="900" baseline="-25000">
                <a:solidFill>
                  <a:schemeClr val="tx1"/>
                </a:solidFill>
                <a:latin typeface="Arial" panose="020B0604020202020204" pitchFamily="34" charset="0"/>
              </a:rPr>
              <a:t>i-1</a:t>
            </a:r>
            <a:r>
              <a:rPr lang="en-US" altLang="zh-CN" sz="900">
                <a:solidFill>
                  <a:schemeClr val="tx1"/>
                </a:solidFill>
                <a:latin typeface="Arial" panose="020B0604020202020204" pitchFamily="34" charset="0"/>
              </a:rPr>
              <a:t>,1,0</a:t>
            </a:r>
            <a:r>
              <a:rPr lang="en-US" altLang="zh-CN" sz="900" baseline="-25000">
                <a:solidFill>
                  <a:schemeClr val="tx1"/>
                </a:solidFill>
                <a:latin typeface="Arial" panose="020B0604020202020204" pitchFamily="34" charset="0"/>
              </a:rPr>
              <a:t>i+1</a:t>
            </a:r>
            <a:r>
              <a:rPr lang="en-US" altLang="zh-CN" sz="900">
                <a:solidFill>
                  <a:schemeClr val="tx1"/>
                </a:solidFill>
                <a:latin typeface="Arial" panose="020B0604020202020204" pitchFamily="34" charset="0"/>
              </a:rPr>
              <a:t>,…………..,0</a:t>
            </a:r>
            <a:r>
              <a:rPr lang="en-US" altLang="zh-CN" sz="900" baseline="-25000">
                <a:solidFill>
                  <a:schemeClr val="tx1"/>
                </a:solidFill>
                <a:latin typeface="Arial" panose="020B0604020202020204" pitchFamily="34" charset="0"/>
              </a:rPr>
              <a:t>n</a:t>
            </a:r>
            <a:r>
              <a:rPr lang="en-US" altLang="zh-CN" sz="900">
                <a:solidFill>
                  <a:schemeClr val="tx1"/>
                </a:solidFill>
                <a:latin typeface="Arial" panose="020B0604020202020204" pitchFamily="34" charset="0"/>
              </a:rPr>
              <a:t>]	 n-dimensional</a:t>
            </a:r>
            <a:endParaRPr lang="en-US" altLang="zh-CN" sz="900" baseline="-25000">
              <a:solidFill>
                <a:schemeClr val="tx1"/>
              </a:solidFill>
              <a:latin typeface="Arial" panose="020B0604020202020204" pitchFamily="34" charset="0"/>
            </a:endParaRPr>
          </a:p>
          <a:p>
            <a:r>
              <a:rPr lang="en-US" altLang="zh-CN" sz="900">
                <a:solidFill>
                  <a:schemeClr val="tx1"/>
                </a:solidFill>
                <a:latin typeface="Arial" panose="020B0604020202020204" pitchFamily="34" charset="0"/>
              </a:rPr>
              <a:t>…        …	…		…</a:t>
            </a:r>
          </a:p>
          <a:p>
            <a:r>
              <a:rPr lang="en-US" altLang="zh-CN" sz="900">
                <a:solidFill>
                  <a:schemeClr val="tx1"/>
                </a:solidFill>
                <a:latin typeface="Arial" panose="020B0604020202020204" pitchFamily="34" charset="0"/>
              </a:rPr>
              <a:t>N       </a:t>
            </a:r>
            <a:r>
              <a:rPr lang="en-US" altLang="zh-CN" sz="900" err="1">
                <a:solidFill>
                  <a:schemeClr val="tx1"/>
                </a:solidFill>
                <a:latin typeface="Arial" panose="020B0604020202020204" pitchFamily="34" charset="0"/>
              </a:rPr>
              <a:t>word</a:t>
            </a:r>
            <a:r>
              <a:rPr lang="en-US" altLang="zh-CN" sz="900" baseline="-25000" err="1">
                <a:solidFill>
                  <a:schemeClr val="tx1"/>
                </a:solidFill>
                <a:latin typeface="Arial" panose="020B0604020202020204" pitchFamily="34" charset="0"/>
              </a:rPr>
              <a:t>n</a:t>
            </a:r>
            <a:r>
              <a:rPr lang="en-US" altLang="zh-CN" sz="900" baseline="-25000">
                <a:solidFill>
                  <a:schemeClr val="tx1"/>
                </a:solidFill>
                <a:latin typeface="Arial" panose="020B0604020202020204" pitchFamily="34" charset="0"/>
              </a:rPr>
              <a:t>	</a:t>
            </a:r>
            <a:r>
              <a:rPr lang="en-US" altLang="zh-CN" sz="900">
                <a:solidFill>
                  <a:schemeClr val="tx1"/>
                </a:solidFill>
                <a:latin typeface="Arial" panose="020B0604020202020204" pitchFamily="34" charset="0"/>
              </a:rPr>
              <a:t>[0</a:t>
            </a:r>
            <a:r>
              <a:rPr lang="en-US" altLang="zh-CN" sz="900" baseline="-25000">
                <a:solidFill>
                  <a:schemeClr val="tx1"/>
                </a:solidFill>
                <a:latin typeface="Arial" panose="020B0604020202020204" pitchFamily="34" charset="0"/>
              </a:rPr>
              <a:t>1</a:t>
            </a:r>
            <a:r>
              <a:rPr lang="en-US" altLang="zh-CN" sz="900">
                <a:solidFill>
                  <a:schemeClr val="tx1"/>
                </a:solidFill>
                <a:latin typeface="Arial" panose="020B0604020202020204" pitchFamily="34" charset="0"/>
              </a:rPr>
              <a:t>,0</a:t>
            </a:r>
            <a:r>
              <a:rPr lang="en-US" altLang="zh-CN" sz="900" baseline="-25000">
                <a:solidFill>
                  <a:schemeClr val="tx1"/>
                </a:solidFill>
                <a:latin typeface="Arial" panose="020B0604020202020204" pitchFamily="34" charset="0"/>
              </a:rPr>
              <a:t>2</a:t>
            </a:r>
            <a:r>
              <a:rPr lang="en-US" altLang="zh-CN" sz="900">
                <a:solidFill>
                  <a:schemeClr val="tx1"/>
                </a:solidFill>
                <a:latin typeface="Arial" panose="020B0604020202020204" pitchFamily="34" charset="0"/>
              </a:rPr>
              <a:t>,………………………………,0</a:t>
            </a:r>
            <a:r>
              <a:rPr lang="en-US" altLang="zh-CN" sz="900" baseline="-25000">
                <a:solidFill>
                  <a:schemeClr val="tx1"/>
                </a:solidFill>
                <a:latin typeface="Arial" panose="020B0604020202020204" pitchFamily="34" charset="0"/>
              </a:rPr>
              <a:t>n-1</a:t>
            </a:r>
            <a:r>
              <a:rPr lang="en-US" altLang="zh-CN" sz="900">
                <a:solidFill>
                  <a:schemeClr val="tx1"/>
                </a:solidFill>
                <a:latin typeface="Arial" panose="020B0604020202020204" pitchFamily="34" charset="0"/>
              </a:rPr>
              <a:t>,1]	 n-dimensional</a:t>
            </a:r>
            <a:endParaRPr lang="en-US" altLang="zh-CN" sz="900" baseline="-25000">
              <a:solidFill>
                <a:schemeClr val="tx1"/>
              </a:solidFill>
              <a:latin typeface="Arial" panose="020B0604020202020204" pitchFamily="34" charset="0"/>
            </a:endParaRPr>
          </a:p>
        </p:txBody>
      </p:sp>
      <p:sp>
        <p:nvSpPr>
          <p:cNvPr id="83" name="Rectangle 82">
            <a:extLst>
              <a:ext uri="{FF2B5EF4-FFF2-40B4-BE49-F238E27FC236}">
                <a16:creationId xmlns:a16="http://schemas.microsoft.com/office/drawing/2014/main" id="{77C7A38A-3A61-4A22-AB31-E4F680D5F6D7}"/>
              </a:ext>
            </a:extLst>
          </p:cNvPr>
          <p:cNvSpPr/>
          <p:nvPr/>
        </p:nvSpPr>
        <p:spPr bwMode="gray">
          <a:xfrm>
            <a:off x="1002843" y="5719701"/>
            <a:ext cx="4091673" cy="2519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cs typeface="MV Boli" panose="02000500030200090000" pitchFamily="2" charset="0"/>
              </a:rPr>
              <a:t>N is the number of non-repetitive words in the corpus</a:t>
            </a:r>
          </a:p>
        </p:txBody>
      </p:sp>
      <p:sp>
        <p:nvSpPr>
          <p:cNvPr id="19" name="TextBox 18">
            <a:extLst>
              <a:ext uri="{FF2B5EF4-FFF2-40B4-BE49-F238E27FC236}">
                <a16:creationId xmlns:a16="http://schemas.microsoft.com/office/drawing/2014/main" id="{CFF12FA1-2A2B-4675-B07E-7006EBC04F9C}"/>
              </a:ext>
            </a:extLst>
          </p:cNvPr>
          <p:cNvSpPr txBox="1"/>
          <p:nvPr/>
        </p:nvSpPr>
        <p:spPr bwMode="gray">
          <a:xfrm>
            <a:off x="1068683" y="2037604"/>
            <a:ext cx="4968785"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5"/>
              </a:buBlip>
              <a:defRPr>
                <a:solidFill>
                  <a:schemeClr val="accent1"/>
                </a:solidFill>
              </a:defRPr>
            </a:lvl2pPr>
            <a:lvl3pPr marL="539946" lvl="2" indent="-269973" defTabSz="914309">
              <a:spcBef>
                <a:spcPts val="300"/>
              </a:spcBef>
              <a:spcAft>
                <a:spcPts val="600"/>
              </a:spcAft>
              <a:buFontTx/>
              <a:buBlip>
                <a:blip r:embed="rId6"/>
              </a:buBlip>
              <a:defRPr>
                <a:solidFill>
                  <a:schemeClr val="accent1"/>
                </a:solidFill>
              </a:defRPr>
            </a:lvl3pPr>
            <a:lvl4pPr marL="809919" lvl="3" indent="-269973" defTabSz="914309">
              <a:spcBef>
                <a:spcPts val="300"/>
              </a:spcBef>
              <a:spcAft>
                <a:spcPts val="600"/>
              </a:spcAft>
              <a:buFontTx/>
              <a:buBlip>
                <a:blip r:embed="rId7"/>
              </a:buBlip>
              <a:defRPr>
                <a:solidFill>
                  <a:schemeClr val="accent1"/>
                </a:solidFill>
              </a:defRPr>
            </a:lvl4pPr>
            <a:lvl5pPr marL="1079892" lvl="4" indent="-269973" defTabSz="914309">
              <a:spcBef>
                <a:spcPts val="300"/>
              </a:spcBef>
              <a:spcAft>
                <a:spcPts val="600"/>
              </a:spcAft>
              <a:buFontTx/>
              <a:buBlip>
                <a:blip r:embed="rId8"/>
              </a:buBlip>
              <a:defRPr>
                <a:solidFill>
                  <a:schemeClr val="accent1"/>
                </a:solidFill>
              </a:defRPr>
            </a:lvl5pPr>
            <a:lvl6pPr marL="1079892" indent="-269973" defTabSz="914309">
              <a:spcBef>
                <a:spcPts val="300"/>
              </a:spcBef>
              <a:spcAft>
                <a:spcPts val="600"/>
              </a:spcAft>
              <a:buFontTx/>
              <a:buBlip>
                <a:blip r:embed="rId8"/>
              </a:buBlip>
            </a:lvl6pPr>
            <a:lvl7pPr marL="1079892" indent="-269973" defTabSz="914309">
              <a:spcBef>
                <a:spcPts val="300"/>
              </a:spcBef>
              <a:spcAft>
                <a:spcPts val="600"/>
              </a:spcAft>
              <a:buFontTx/>
              <a:buBlip>
                <a:blip r:embed="rId8"/>
              </a:buBlip>
            </a:lvl7pPr>
            <a:lvl8pPr marL="1079892" indent="-269973" defTabSz="914309">
              <a:spcBef>
                <a:spcPts val="300"/>
              </a:spcBef>
              <a:spcAft>
                <a:spcPts val="600"/>
              </a:spcAft>
              <a:buFontTx/>
              <a:buBlip>
                <a:blip r:embed="rId8"/>
              </a:buBlip>
            </a:lvl8pPr>
            <a:lvl9pPr marL="1079892" indent="-269973" defTabSz="914309">
              <a:spcBef>
                <a:spcPts val="300"/>
              </a:spcBef>
              <a:spcAft>
                <a:spcPts val="600"/>
              </a:spcAft>
              <a:buFontTx/>
              <a:buBlip>
                <a:blip r:embed="rId8"/>
              </a:buBlip>
            </a:lvl9pPr>
          </a:lstStyle>
          <a:p>
            <a:r>
              <a:rPr lang="en-US" b="1">
                <a:solidFill>
                  <a:schemeClr val="accent2"/>
                </a:solidFill>
              </a:rPr>
              <a:t>1: Generate dictionary</a:t>
            </a:r>
          </a:p>
        </p:txBody>
      </p:sp>
      <p:cxnSp>
        <p:nvCxnSpPr>
          <p:cNvPr id="20" name="Straight Connector 19">
            <a:extLst>
              <a:ext uri="{FF2B5EF4-FFF2-40B4-BE49-F238E27FC236}">
                <a16:creationId xmlns:a16="http://schemas.microsoft.com/office/drawing/2014/main" id="{659BA91A-E613-4599-9EEB-42DA37BC0CE8}"/>
              </a:ext>
            </a:extLst>
          </p:cNvPr>
          <p:cNvCxnSpPr>
            <a:cxnSpLocks/>
          </p:cNvCxnSpPr>
          <p:nvPr/>
        </p:nvCxnSpPr>
        <p:spPr bwMode="gray">
          <a:xfrm>
            <a:off x="1063256" y="2314603"/>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F28990E-D127-4031-9340-17A0A86C94A6}"/>
              </a:ext>
            </a:extLst>
          </p:cNvPr>
          <p:cNvSpPr txBox="1"/>
          <p:nvPr/>
        </p:nvSpPr>
        <p:spPr bwMode="gray">
          <a:xfrm>
            <a:off x="6587943" y="2037604"/>
            <a:ext cx="5321736"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5"/>
              </a:buBlip>
              <a:defRPr>
                <a:solidFill>
                  <a:schemeClr val="accent1"/>
                </a:solidFill>
              </a:defRPr>
            </a:lvl2pPr>
            <a:lvl3pPr marL="539946" lvl="2" indent="-269973" defTabSz="914309">
              <a:spcBef>
                <a:spcPts val="300"/>
              </a:spcBef>
              <a:spcAft>
                <a:spcPts val="600"/>
              </a:spcAft>
              <a:buFontTx/>
              <a:buBlip>
                <a:blip r:embed="rId6"/>
              </a:buBlip>
              <a:defRPr>
                <a:solidFill>
                  <a:schemeClr val="accent1"/>
                </a:solidFill>
              </a:defRPr>
            </a:lvl3pPr>
            <a:lvl4pPr marL="809919" lvl="3" indent="-269973" defTabSz="914309">
              <a:spcBef>
                <a:spcPts val="300"/>
              </a:spcBef>
              <a:spcAft>
                <a:spcPts val="600"/>
              </a:spcAft>
              <a:buFontTx/>
              <a:buBlip>
                <a:blip r:embed="rId7"/>
              </a:buBlip>
              <a:defRPr>
                <a:solidFill>
                  <a:schemeClr val="accent1"/>
                </a:solidFill>
              </a:defRPr>
            </a:lvl4pPr>
            <a:lvl5pPr marL="1079892" lvl="4" indent="-269973" defTabSz="914309">
              <a:spcBef>
                <a:spcPts val="300"/>
              </a:spcBef>
              <a:spcAft>
                <a:spcPts val="600"/>
              </a:spcAft>
              <a:buFontTx/>
              <a:buBlip>
                <a:blip r:embed="rId8"/>
              </a:buBlip>
              <a:defRPr>
                <a:solidFill>
                  <a:schemeClr val="accent1"/>
                </a:solidFill>
              </a:defRPr>
            </a:lvl5pPr>
            <a:lvl6pPr marL="1079892" indent="-269973" defTabSz="914309">
              <a:spcBef>
                <a:spcPts val="300"/>
              </a:spcBef>
              <a:spcAft>
                <a:spcPts val="600"/>
              </a:spcAft>
              <a:buFontTx/>
              <a:buBlip>
                <a:blip r:embed="rId8"/>
              </a:buBlip>
            </a:lvl6pPr>
            <a:lvl7pPr marL="1079892" indent="-269973" defTabSz="914309">
              <a:spcBef>
                <a:spcPts val="300"/>
              </a:spcBef>
              <a:spcAft>
                <a:spcPts val="600"/>
              </a:spcAft>
              <a:buFontTx/>
              <a:buBlip>
                <a:blip r:embed="rId8"/>
              </a:buBlip>
            </a:lvl7pPr>
            <a:lvl8pPr marL="1079892" indent="-269973" defTabSz="914309">
              <a:spcBef>
                <a:spcPts val="300"/>
              </a:spcBef>
              <a:spcAft>
                <a:spcPts val="600"/>
              </a:spcAft>
              <a:buFontTx/>
              <a:buBlip>
                <a:blip r:embed="rId8"/>
              </a:buBlip>
            </a:lvl8pPr>
            <a:lvl9pPr marL="1079892" indent="-269973" defTabSz="914309">
              <a:spcBef>
                <a:spcPts val="300"/>
              </a:spcBef>
              <a:spcAft>
                <a:spcPts val="600"/>
              </a:spcAft>
              <a:buFontTx/>
              <a:buBlip>
                <a:blip r:embed="rId8"/>
              </a:buBlip>
            </a:lvl9pPr>
          </a:lstStyle>
          <a:p>
            <a:r>
              <a:rPr lang="en-US" b="1">
                <a:solidFill>
                  <a:schemeClr val="accent2"/>
                </a:solidFill>
              </a:rPr>
              <a:t>2: Transfer sentence into vector</a:t>
            </a:r>
            <a:r>
              <a:rPr lang="en-US" altLang="zh-CN" b="1">
                <a:solidFill>
                  <a:schemeClr val="accent2"/>
                </a:solidFill>
              </a:rPr>
              <a:t>s</a:t>
            </a:r>
            <a:endParaRPr lang="en-US" b="1">
              <a:solidFill>
                <a:schemeClr val="accent2"/>
              </a:solidFill>
            </a:endParaRPr>
          </a:p>
        </p:txBody>
      </p:sp>
      <p:cxnSp>
        <p:nvCxnSpPr>
          <p:cNvPr id="25" name="Straight Connector 24">
            <a:extLst>
              <a:ext uri="{FF2B5EF4-FFF2-40B4-BE49-F238E27FC236}">
                <a16:creationId xmlns:a16="http://schemas.microsoft.com/office/drawing/2014/main" id="{D8277EC5-21AE-45C9-B55A-CB96DC70690B}"/>
              </a:ext>
            </a:extLst>
          </p:cNvPr>
          <p:cNvCxnSpPr>
            <a:cxnSpLocks/>
          </p:cNvCxnSpPr>
          <p:nvPr/>
        </p:nvCxnSpPr>
        <p:spPr bwMode="gray">
          <a:xfrm>
            <a:off x="6582516" y="2314603"/>
            <a:ext cx="532716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8D7C71E-EA08-43F7-9DEC-3D27AEEFB795}"/>
              </a:ext>
            </a:extLst>
          </p:cNvPr>
          <p:cNvCxnSpPr>
            <a:cxnSpLocks/>
          </p:cNvCxnSpPr>
          <p:nvPr/>
        </p:nvCxnSpPr>
        <p:spPr bwMode="gray">
          <a:xfrm>
            <a:off x="6326582" y="2514600"/>
            <a:ext cx="0" cy="3970283"/>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8D5BB3E-9C0F-4B0E-9972-3AC959392899}"/>
              </a:ext>
            </a:extLst>
          </p:cNvPr>
          <p:cNvGrpSpPr/>
          <p:nvPr/>
        </p:nvGrpSpPr>
        <p:grpSpPr>
          <a:xfrm>
            <a:off x="10947419" y="121406"/>
            <a:ext cx="1176925" cy="304109"/>
            <a:chOff x="7530052" y="5001373"/>
            <a:chExt cx="1176925" cy="304109"/>
          </a:xfrm>
        </p:grpSpPr>
        <p:sp>
          <p:nvSpPr>
            <p:cNvPr id="22" name="Rectangle 21">
              <a:extLst>
                <a:ext uri="{FF2B5EF4-FFF2-40B4-BE49-F238E27FC236}">
                  <a16:creationId xmlns:a16="http://schemas.microsoft.com/office/drawing/2014/main" id="{15FF4374-42C4-4C1F-8D28-1F4ABF441636}"/>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dirty="0">
                  <a:ln w="0"/>
                  <a:solidFill>
                    <a:schemeClr val="tx1"/>
                  </a:solidFill>
                  <a:effectLst>
                    <a:outerShdw blurRad="38100" dist="19050" dir="2700000" algn="tl" rotWithShape="0">
                      <a:schemeClr val="dk1">
                        <a:alpha val="40000"/>
                      </a:schemeClr>
                    </a:outerShdw>
                  </a:effectLst>
                </a:rPr>
                <a:t>text  》numbers</a:t>
              </a:r>
              <a:endParaRPr lang="en-US" sz="1100" b="0" cap="none" spc="0" dirty="0">
                <a:ln w="0"/>
                <a:solidFill>
                  <a:schemeClr val="tx1"/>
                </a:solidFill>
                <a:effectLst>
                  <a:outerShdw blurRad="38100" dist="19050" dir="2700000" algn="tl" rotWithShape="0">
                    <a:schemeClr val="dk1">
                      <a:alpha val="40000"/>
                    </a:schemeClr>
                  </a:outerShdw>
                </a:effectLst>
              </a:endParaRPr>
            </a:p>
          </p:txBody>
        </p:sp>
        <p:sp>
          <p:nvSpPr>
            <p:cNvPr id="23" name="Flowchart: Connector 22">
              <a:extLst>
                <a:ext uri="{FF2B5EF4-FFF2-40B4-BE49-F238E27FC236}">
                  <a16:creationId xmlns:a16="http://schemas.microsoft.com/office/drawing/2014/main" id="{2204592E-FF4A-4F85-8DBC-07525E610E6E}"/>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lowchart: Connector 25">
              <a:extLst>
                <a:ext uri="{FF2B5EF4-FFF2-40B4-BE49-F238E27FC236}">
                  <a16:creationId xmlns:a16="http://schemas.microsoft.com/office/drawing/2014/main" id="{066ED073-FA99-4C77-A90F-EFB953026C84}"/>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Oval 27">
            <a:extLst>
              <a:ext uri="{FF2B5EF4-FFF2-40B4-BE49-F238E27FC236}">
                <a16:creationId xmlns:a16="http://schemas.microsoft.com/office/drawing/2014/main" id="{4053D688-9C5D-4BE2-975D-3590F53816B1}"/>
              </a:ext>
            </a:extLst>
          </p:cNvPr>
          <p:cNvSpPr/>
          <p:nvPr/>
        </p:nvSpPr>
        <p:spPr bwMode="gray">
          <a:xfrm>
            <a:off x="11930010" y="34859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a:t>
            </a:r>
          </a:p>
        </p:txBody>
      </p:sp>
    </p:spTree>
    <p:extLst>
      <p:ext uri="{BB962C8B-B14F-4D97-AF65-F5344CB8AC3E}">
        <p14:creationId xmlns:p14="http://schemas.microsoft.com/office/powerpoint/2010/main" val="385036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1">
            <a:extLst>
              <a:ext uri="{FF2B5EF4-FFF2-40B4-BE49-F238E27FC236}">
                <a16:creationId xmlns:a16="http://schemas.microsoft.com/office/drawing/2014/main" id="{D80E3F28-A55B-4499-9B7C-9730F0C3CC6F}"/>
              </a:ext>
            </a:extLst>
          </p:cNvPr>
          <p:cNvSpPr>
            <a:spLocks noGrp="1"/>
          </p:cNvSpPr>
          <p:nvPr>
            <p:ph type="subTitle" idx="13"/>
          </p:nvPr>
        </p:nvSpPr>
        <p:spPr/>
        <p:txBody>
          <a:bodyPr/>
          <a:lstStyle/>
          <a:p>
            <a:endParaRPr lang="en-US"/>
          </a:p>
        </p:txBody>
      </p:sp>
      <p:sp>
        <p:nvSpPr>
          <p:cNvPr id="5" name="Titel 4"/>
          <p:cNvSpPr>
            <a:spLocks noGrp="1"/>
          </p:cNvSpPr>
          <p:nvPr>
            <p:ph type="title"/>
          </p:nvPr>
        </p:nvSpPr>
        <p:spPr bwMode="gray"/>
        <p:txBody>
          <a:bodyPr vert="horz" lIns="0" tIns="0" rIns="0" bIns="0" rtlCol="0" anchor="b">
            <a:normAutofit/>
          </a:bodyPr>
          <a:lstStyle/>
          <a:p>
            <a:r>
              <a:rPr lang="en-US"/>
              <a:t>Step 4-Weakness of traditional text representation</a:t>
            </a:r>
          </a:p>
        </p:txBody>
      </p:sp>
      <p:sp>
        <p:nvSpPr>
          <p:cNvPr id="8" name="Footer Placeholder 7"/>
          <p:cNvSpPr>
            <a:spLocks noGrp="1"/>
          </p:cNvSpPr>
          <p:nvPr>
            <p:ph type="ftr" sz="quarter" idx="11"/>
          </p:nvPr>
        </p:nvSpPr>
        <p:spPr bwMode="gray">
          <a:xfrm>
            <a:off x="1784297"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1005468"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14</a:t>
            </a:fld>
            <a:endParaRPr lang="en-US">
              <a:solidFill>
                <a:srgbClr val="443247"/>
              </a:solidFill>
            </a:endParaRPr>
          </a:p>
        </p:txBody>
      </p:sp>
      <p:sp>
        <p:nvSpPr>
          <p:cNvPr id="27" name="Rectangle 26">
            <a:extLst>
              <a:ext uri="{FF2B5EF4-FFF2-40B4-BE49-F238E27FC236}">
                <a16:creationId xmlns:a16="http://schemas.microsoft.com/office/drawing/2014/main" id="{FA48A064-0832-4895-A03A-25E832B940BB}"/>
              </a:ext>
            </a:extLst>
          </p:cNvPr>
          <p:cNvSpPr/>
          <p:nvPr/>
        </p:nvSpPr>
        <p:spPr bwMode="gray">
          <a:xfrm>
            <a:off x="2310899" y="2410281"/>
            <a:ext cx="1087603" cy="4007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3162"/>
                </a:solidFill>
                <a:cs typeface="MV Boli" panose="02000500030200090000" pitchFamily="2" charset="0"/>
              </a:rPr>
              <a:t>Reason 1</a:t>
            </a:r>
          </a:p>
        </p:txBody>
      </p:sp>
      <p:sp>
        <p:nvSpPr>
          <p:cNvPr id="33" name="Rectangle 32">
            <a:extLst>
              <a:ext uri="{FF2B5EF4-FFF2-40B4-BE49-F238E27FC236}">
                <a16:creationId xmlns:a16="http://schemas.microsoft.com/office/drawing/2014/main" id="{521C7E74-FAEB-45A6-AB00-E811E98C1709}"/>
              </a:ext>
            </a:extLst>
          </p:cNvPr>
          <p:cNvSpPr/>
          <p:nvPr/>
        </p:nvSpPr>
        <p:spPr bwMode="gray">
          <a:xfrm>
            <a:off x="2307647" y="2745433"/>
            <a:ext cx="1260500" cy="4007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rgbClr val="FF3162"/>
                </a:solidFill>
                <a:cs typeface="MV Boli" panose="02000500030200090000" pitchFamily="2" charset="0"/>
              </a:rPr>
              <a:t>Space waste</a:t>
            </a:r>
          </a:p>
        </p:txBody>
      </p:sp>
      <p:sp>
        <p:nvSpPr>
          <p:cNvPr id="60" name="Text Placeholder 9">
            <a:extLst>
              <a:ext uri="{FF2B5EF4-FFF2-40B4-BE49-F238E27FC236}">
                <a16:creationId xmlns:a16="http://schemas.microsoft.com/office/drawing/2014/main" id="{FAA3F664-CA5C-4FBB-8A69-693C48CC1C9E}"/>
              </a:ext>
            </a:extLst>
          </p:cNvPr>
          <p:cNvSpPr txBox="1">
            <a:spLocks/>
          </p:cNvSpPr>
          <p:nvPr/>
        </p:nvSpPr>
        <p:spPr bwMode="gray">
          <a:xfrm>
            <a:off x="1044896" y="2493635"/>
            <a:ext cx="5050310" cy="878286"/>
          </a:xfrm>
          <a:prstGeom prst="rect">
            <a:avLst/>
          </a:prstGeom>
          <a:solidFill>
            <a:schemeClr val="bg1"/>
          </a:solidFill>
        </p:spPr>
        <p:txBody>
          <a:bodyPr lIns="107986" tIns="71991" rIns="107986" bIns="71991"/>
          <a:lstStyle>
            <a:lvl1pPr marL="0" indent="0" algn="l" defTabSz="914400" rtl="0" eaLnBrk="1" latinLnBrk="0" hangingPunct="1">
              <a:spcBef>
                <a:spcPts val="600"/>
              </a:spcBef>
              <a:spcAft>
                <a:spcPts val="300"/>
              </a:spcAft>
              <a:buFont typeface="Arial" panose="020B0604020202020204" pitchFamily="34" charset="0"/>
              <a:buNone/>
              <a:defRPr sz="12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3"/>
              </a:buBlip>
              <a:defRPr sz="12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4"/>
              </a:buBlip>
              <a:defRPr sz="12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5"/>
              </a:buBlip>
              <a:defRPr sz="12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9pPr>
          </a:lstStyle>
          <a:p>
            <a:pPr lvl="1"/>
            <a:r>
              <a:rPr lang="en-US" sz="1600">
                <a:solidFill>
                  <a:schemeClr val="accent2"/>
                </a:solidFill>
              </a:rPr>
              <a:t>A</a:t>
            </a:r>
            <a:r>
              <a:rPr lang="en-US" sz="1600">
                <a:solidFill>
                  <a:schemeClr val="tx1"/>
                </a:solidFill>
              </a:rPr>
              <a:t>ssume there are 1,000,000 non-repetitive words in the dictionary</a:t>
            </a:r>
          </a:p>
          <a:p>
            <a:pPr lvl="2"/>
            <a:r>
              <a:rPr lang="en-US" sz="1600">
                <a:solidFill>
                  <a:schemeClr val="tx1"/>
                </a:solidFill>
              </a:rPr>
              <a:t>For a sentence vector, most of the value in the vector is 0</a:t>
            </a:r>
          </a:p>
        </p:txBody>
      </p:sp>
      <p:sp>
        <p:nvSpPr>
          <p:cNvPr id="61" name="Text Placeholder 9">
            <a:extLst>
              <a:ext uri="{FF2B5EF4-FFF2-40B4-BE49-F238E27FC236}">
                <a16:creationId xmlns:a16="http://schemas.microsoft.com/office/drawing/2014/main" id="{0B1D7852-F52F-4633-9773-AC4E10350815}"/>
              </a:ext>
            </a:extLst>
          </p:cNvPr>
          <p:cNvSpPr txBox="1">
            <a:spLocks/>
          </p:cNvSpPr>
          <p:nvPr/>
        </p:nvSpPr>
        <p:spPr bwMode="gray">
          <a:xfrm>
            <a:off x="6729507" y="2484020"/>
            <a:ext cx="5050311" cy="2059997"/>
          </a:xfrm>
          <a:prstGeom prst="rect">
            <a:avLst/>
          </a:prstGeom>
          <a:solidFill>
            <a:schemeClr val="bg1"/>
          </a:solidFill>
        </p:spPr>
        <p:txBody>
          <a:bodyPr lIns="107986" tIns="71991" rIns="107986" bIns="71991"/>
          <a:lstStyle>
            <a:lvl1pPr marL="0" indent="0" algn="l" defTabSz="914400" rtl="0" eaLnBrk="1" latinLnBrk="0" hangingPunct="1">
              <a:spcBef>
                <a:spcPts val="600"/>
              </a:spcBef>
              <a:spcAft>
                <a:spcPts val="300"/>
              </a:spcAft>
              <a:buFont typeface="Arial" panose="020B0604020202020204" pitchFamily="34" charset="0"/>
              <a:buNone/>
              <a:defRPr sz="1200" kern="1200">
                <a:solidFill>
                  <a:schemeClr val="accent1"/>
                </a:solidFill>
                <a:latin typeface="+mn-lt"/>
                <a:ea typeface="+mn-ea"/>
                <a:cs typeface="+mn-cs"/>
              </a:defRPr>
            </a:lvl1pPr>
            <a:lvl2pPr marL="180000" indent="-180000" algn="l" defTabSz="914400" rtl="0" eaLnBrk="1" latinLnBrk="0" hangingPunct="1">
              <a:spcBef>
                <a:spcPts val="300"/>
              </a:spcBef>
              <a:spcAft>
                <a:spcPts val="300"/>
              </a:spcAft>
              <a:buFontTx/>
              <a:buBlip>
                <a:blip r:embed="rId3"/>
              </a:buBlip>
              <a:defRPr sz="1200" kern="1200">
                <a:solidFill>
                  <a:schemeClr val="accent1"/>
                </a:solidFill>
                <a:latin typeface="+mn-lt"/>
                <a:ea typeface="+mn-ea"/>
                <a:cs typeface="+mn-cs"/>
              </a:defRPr>
            </a:lvl2pPr>
            <a:lvl3pPr marL="360000" indent="-180000" algn="l" defTabSz="914400" rtl="0" eaLnBrk="1" latinLnBrk="0" hangingPunct="1">
              <a:spcBef>
                <a:spcPts val="300"/>
              </a:spcBef>
              <a:spcAft>
                <a:spcPts val="300"/>
              </a:spcAft>
              <a:buFontTx/>
              <a:buBlip>
                <a:blip r:embed="rId4"/>
              </a:buBlip>
              <a:defRPr sz="1200" kern="1200">
                <a:solidFill>
                  <a:schemeClr val="accent1"/>
                </a:solidFill>
                <a:latin typeface="+mn-lt"/>
                <a:ea typeface="+mn-ea"/>
                <a:cs typeface="+mn-cs"/>
              </a:defRPr>
            </a:lvl3pPr>
            <a:lvl4pPr marL="540000" indent="-180000" algn="l" defTabSz="914400" rtl="0" eaLnBrk="1" latinLnBrk="0" hangingPunct="1">
              <a:spcBef>
                <a:spcPts val="300"/>
              </a:spcBef>
              <a:spcAft>
                <a:spcPts val="300"/>
              </a:spcAft>
              <a:buFontTx/>
              <a:buBlip>
                <a:blip r:embed="rId5"/>
              </a:buBlip>
              <a:defRPr sz="1200" kern="1200">
                <a:solidFill>
                  <a:schemeClr val="accent1"/>
                </a:solidFill>
                <a:latin typeface="+mn-lt"/>
                <a:ea typeface="+mn-ea"/>
                <a:cs typeface="+mn-cs"/>
              </a:defRPr>
            </a:lvl4pPr>
            <a:lvl5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5pPr>
            <a:lvl6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6pPr>
            <a:lvl7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7pPr>
            <a:lvl8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8pPr>
            <a:lvl9pPr marL="720000" indent="-180000" algn="l" defTabSz="914400" rtl="0" eaLnBrk="1" latinLnBrk="0" hangingPunct="1">
              <a:spcBef>
                <a:spcPts val="300"/>
              </a:spcBef>
              <a:spcAft>
                <a:spcPts val="300"/>
              </a:spcAft>
              <a:buFontTx/>
              <a:buBlip>
                <a:blip r:embed="rId6"/>
              </a:buBlip>
              <a:defRPr sz="1200" kern="1200">
                <a:solidFill>
                  <a:schemeClr val="accent1"/>
                </a:solidFill>
                <a:latin typeface="+mn-lt"/>
                <a:ea typeface="+mn-ea"/>
                <a:cs typeface="+mn-cs"/>
              </a:defRPr>
            </a:lvl9pPr>
          </a:lstStyle>
          <a:p>
            <a:pPr lvl="1"/>
            <a:r>
              <a:rPr lang="en-US" sz="1600">
                <a:solidFill>
                  <a:schemeClr val="tx1"/>
                </a:solidFill>
              </a:rPr>
              <a:t>Different semantics</a:t>
            </a:r>
          </a:p>
          <a:p>
            <a:pPr lvl="2"/>
            <a:r>
              <a:rPr lang="en-US" altLang="zh-CN" sz="1600">
                <a:solidFill>
                  <a:schemeClr val="tx1"/>
                </a:solidFill>
              </a:rPr>
              <a:t>Sentence</a:t>
            </a:r>
            <a:r>
              <a:rPr lang="en-US" altLang="zh-CN" sz="1600" baseline="-25000">
                <a:solidFill>
                  <a:schemeClr val="tx1"/>
                </a:solidFill>
              </a:rPr>
              <a:t>1</a:t>
            </a:r>
            <a:r>
              <a:rPr lang="en-US" altLang="zh-CN" sz="1600">
                <a:solidFill>
                  <a:schemeClr val="tx1"/>
                </a:solidFill>
              </a:rPr>
              <a:t> = </a:t>
            </a:r>
            <a:r>
              <a:rPr lang="zh-CN" altLang="en-US" sz="1600">
                <a:solidFill>
                  <a:schemeClr val="tx1"/>
                </a:solidFill>
              </a:rPr>
              <a:t>‘’ </a:t>
            </a:r>
            <a:endParaRPr lang="de-DE" sz="1600">
              <a:solidFill>
                <a:schemeClr val="tx1"/>
              </a:solidFill>
            </a:endParaRPr>
          </a:p>
          <a:p>
            <a:pPr lvl="2"/>
            <a:r>
              <a:rPr lang="en-US" altLang="zh-CN" sz="1600">
                <a:solidFill>
                  <a:schemeClr val="tx1"/>
                </a:solidFill>
              </a:rPr>
              <a:t>Sentence</a:t>
            </a:r>
            <a:r>
              <a:rPr lang="en-US" altLang="zh-CN" sz="1600" baseline="-25000">
                <a:solidFill>
                  <a:schemeClr val="tx1"/>
                </a:solidFill>
              </a:rPr>
              <a:t>2  </a:t>
            </a:r>
            <a:r>
              <a:rPr lang="en-US" altLang="zh-CN" sz="1600">
                <a:solidFill>
                  <a:schemeClr val="tx1"/>
                </a:solidFill>
              </a:rPr>
              <a:t>= </a:t>
            </a:r>
            <a:r>
              <a:rPr lang="de-DE" sz="1600">
                <a:solidFill>
                  <a:schemeClr val="tx1"/>
                </a:solidFill>
              </a:rPr>
              <a:t>‘</a:t>
            </a:r>
            <a:r>
              <a:rPr lang="en-US" altLang="zh-CN" sz="1600" err="1">
                <a:solidFill>
                  <a:schemeClr val="tx1"/>
                </a:solidFill>
              </a:rPr>
              <a:t>Kerendia</a:t>
            </a:r>
            <a:r>
              <a:rPr lang="en-US" altLang="zh-CN" sz="1600">
                <a:solidFill>
                  <a:schemeClr val="tx1"/>
                </a:solidFill>
              </a:rPr>
              <a:t> is approved for slowing the progression of CKD in T2D</a:t>
            </a:r>
            <a:r>
              <a:rPr lang="zh-CN" altLang="en-US" sz="1600">
                <a:solidFill>
                  <a:schemeClr val="tx1"/>
                </a:solidFill>
              </a:rPr>
              <a:t>’ </a:t>
            </a:r>
          </a:p>
          <a:p>
            <a:pPr lvl="3"/>
            <a:r>
              <a:rPr lang="de-DE" sz="1600">
                <a:solidFill>
                  <a:schemeClr val="tx1"/>
                </a:solidFill>
              </a:rPr>
              <a:t>Different semantics</a:t>
            </a:r>
          </a:p>
          <a:p>
            <a:pPr lvl="2"/>
            <a:endParaRPr lang="de-DE" sz="1600">
              <a:solidFill>
                <a:schemeClr val="tx1"/>
              </a:solidFill>
            </a:endParaRPr>
          </a:p>
        </p:txBody>
      </p:sp>
      <p:sp>
        <p:nvSpPr>
          <p:cNvPr id="15" name="TextBox 14">
            <a:extLst>
              <a:ext uri="{FF2B5EF4-FFF2-40B4-BE49-F238E27FC236}">
                <a16:creationId xmlns:a16="http://schemas.microsoft.com/office/drawing/2014/main" id="{F8A34314-9B09-4AED-B999-AF7E1059CBBC}"/>
              </a:ext>
            </a:extLst>
          </p:cNvPr>
          <p:cNvSpPr txBox="1"/>
          <p:nvPr/>
        </p:nvSpPr>
        <p:spPr bwMode="gray">
          <a:xfrm>
            <a:off x="1037565" y="2129158"/>
            <a:ext cx="4968785" cy="3693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2400" b="1">
                <a:solidFill>
                  <a:schemeClr val="accent2"/>
                </a:solidFill>
              </a:rPr>
              <a:t>Waste </a:t>
            </a:r>
            <a:r>
              <a:rPr lang="en-US" altLang="zh-CN" sz="2400" b="1">
                <a:solidFill>
                  <a:schemeClr val="accent2"/>
                </a:solidFill>
              </a:rPr>
              <a:t>s</a:t>
            </a:r>
            <a:r>
              <a:rPr lang="en-GB" sz="2400" b="1">
                <a:solidFill>
                  <a:schemeClr val="accent2"/>
                </a:solidFill>
              </a:rPr>
              <a:t>pace</a:t>
            </a:r>
          </a:p>
        </p:txBody>
      </p:sp>
      <p:cxnSp>
        <p:nvCxnSpPr>
          <p:cNvPr id="16" name="Straight Connector 15">
            <a:extLst>
              <a:ext uri="{FF2B5EF4-FFF2-40B4-BE49-F238E27FC236}">
                <a16:creationId xmlns:a16="http://schemas.microsoft.com/office/drawing/2014/main" id="{32ADCD96-F3EC-4649-AD9A-21F9B2A24739}"/>
              </a:ext>
            </a:extLst>
          </p:cNvPr>
          <p:cNvCxnSpPr>
            <a:cxnSpLocks/>
          </p:cNvCxnSpPr>
          <p:nvPr/>
        </p:nvCxnSpPr>
        <p:spPr bwMode="gray">
          <a:xfrm>
            <a:off x="1037565" y="2484020"/>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0499FD4-FAC2-440C-8C41-FD5424D3EDDF}"/>
              </a:ext>
            </a:extLst>
          </p:cNvPr>
          <p:cNvSpPr txBox="1"/>
          <p:nvPr/>
        </p:nvSpPr>
        <p:spPr bwMode="gray">
          <a:xfrm>
            <a:off x="6718653" y="2127628"/>
            <a:ext cx="4968785" cy="3693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2400" b="1">
                <a:solidFill>
                  <a:schemeClr val="accent2"/>
                </a:solidFill>
              </a:rPr>
              <a:t>Ignore semantics</a:t>
            </a:r>
          </a:p>
        </p:txBody>
      </p:sp>
      <p:cxnSp>
        <p:nvCxnSpPr>
          <p:cNvPr id="18" name="Straight Connector 17">
            <a:extLst>
              <a:ext uri="{FF2B5EF4-FFF2-40B4-BE49-F238E27FC236}">
                <a16:creationId xmlns:a16="http://schemas.microsoft.com/office/drawing/2014/main" id="{0E2DE591-E5E6-421C-A84D-4373F7522108}"/>
              </a:ext>
            </a:extLst>
          </p:cNvPr>
          <p:cNvCxnSpPr>
            <a:cxnSpLocks/>
          </p:cNvCxnSpPr>
          <p:nvPr/>
        </p:nvCxnSpPr>
        <p:spPr bwMode="gray">
          <a:xfrm>
            <a:off x="6718653" y="2482490"/>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E7730D9-3DCB-40E8-AE1F-2ADA091A9F1E}"/>
              </a:ext>
            </a:extLst>
          </p:cNvPr>
          <p:cNvCxnSpPr>
            <a:cxnSpLocks/>
          </p:cNvCxnSpPr>
          <p:nvPr/>
        </p:nvCxnSpPr>
        <p:spPr bwMode="gray">
          <a:xfrm>
            <a:off x="6326582" y="2657475"/>
            <a:ext cx="0" cy="3827408"/>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238E530C-7D0C-470E-A28B-06A689F7E989}"/>
              </a:ext>
            </a:extLst>
          </p:cNvPr>
          <p:cNvGrpSpPr/>
          <p:nvPr/>
        </p:nvGrpSpPr>
        <p:grpSpPr>
          <a:xfrm>
            <a:off x="440038" y="4492118"/>
            <a:ext cx="5706519" cy="1256652"/>
            <a:chOff x="6763788" y="2332916"/>
            <a:chExt cx="5286458" cy="878400"/>
          </a:xfrm>
        </p:grpSpPr>
        <p:pic>
          <p:nvPicPr>
            <p:cNvPr id="21" name="Picture 2" descr="01_什么是one-hot编码、one-hot编码过程详解、为什么需要one-hot编码？one-hot 编码的优缺点、使用sklearn中的API举例_涂作权的博客-CSDN博客_onehot编码的优缺点">
              <a:extLst>
                <a:ext uri="{FF2B5EF4-FFF2-40B4-BE49-F238E27FC236}">
                  <a16:creationId xmlns:a16="http://schemas.microsoft.com/office/drawing/2014/main" id="{50307B52-36D2-4B28-B2E8-E1001B97836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665" t="17839" r="18832"/>
            <a:stretch/>
          </p:blipFill>
          <p:spPr bwMode="auto">
            <a:xfrm>
              <a:off x="6763788" y="2332916"/>
              <a:ext cx="2639419" cy="8784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01_什么是one-hot编码、one-hot编码过程详解、为什么需要one-hot编码？one-hot 编码的优缺点、使用sklearn中的API举例_涂作权的博客-CSDN博客_onehot编码的优缺点">
              <a:extLst>
                <a:ext uri="{FF2B5EF4-FFF2-40B4-BE49-F238E27FC236}">
                  <a16:creationId xmlns:a16="http://schemas.microsoft.com/office/drawing/2014/main" id="{65F2A8E8-76F3-4527-97CA-666B6217E3E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665" t="17839" r="18832"/>
            <a:stretch/>
          </p:blipFill>
          <p:spPr bwMode="auto">
            <a:xfrm>
              <a:off x="9410827" y="2332916"/>
              <a:ext cx="2639419" cy="878400"/>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ight Brace 22">
            <a:extLst>
              <a:ext uri="{FF2B5EF4-FFF2-40B4-BE49-F238E27FC236}">
                <a16:creationId xmlns:a16="http://schemas.microsoft.com/office/drawing/2014/main" id="{74B384A4-F4B9-4FA9-AA21-31EFFEF2BDA1}"/>
              </a:ext>
            </a:extLst>
          </p:cNvPr>
          <p:cNvSpPr/>
          <p:nvPr/>
        </p:nvSpPr>
        <p:spPr bwMode="gray">
          <a:xfrm rot="16200000" flipH="1">
            <a:off x="3157944" y="3055740"/>
            <a:ext cx="276998" cy="5706517"/>
          </a:xfrm>
          <a:prstGeom prst="rightBrace">
            <a:avLst/>
          </a:prstGeom>
          <a:solidFill>
            <a:schemeClr val="bg1"/>
          </a:solidFill>
          <a:ln w="6350">
            <a:solidFill>
              <a:srgbClr val="44324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3247"/>
              </a:solidFill>
            </a:endParaRPr>
          </a:p>
        </p:txBody>
      </p:sp>
      <p:sp>
        <p:nvSpPr>
          <p:cNvPr id="24" name="TextBox 23">
            <a:extLst>
              <a:ext uri="{FF2B5EF4-FFF2-40B4-BE49-F238E27FC236}">
                <a16:creationId xmlns:a16="http://schemas.microsoft.com/office/drawing/2014/main" id="{7DD1B218-769E-4AC1-B048-BD9B3630B06A}"/>
              </a:ext>
            </a:extLst>
          </p:cNvPr>
          <p:cNvSpPr txBox="1"/>
          <p:nvPr/>
        </p:nvSpPr>
        <p:spPr bwMode="gray">
          <a:xfrm>
            <a:off x="2446520" y="6040129"/>
            <a:ext cx="1759540" cy="276999"/>
          </a:xfrm>
          <a:prstGeom prst="rect">
            <a:avLst/>
          </a:prstGeom>
          <a:noFill/>
          <a:ln>
            <a:solidFill>
              <a:srgbClr val="443247"/>
            </a:solidFill>
          </a:ln>
        </p:spPr>
        <p:txBody>
          <a:bodyPr wrap="square">
            <a:spAutoFit/>
          </a:bodyPr>
          <a:lstStyle/>
          <a:p>
            <a:r>
              <a:rPr lang="en-US" altLang="zh-CN" sz="1200" b="1">
                <a:solidFill>
                  <a:srgbClr val="443247"/>
                </a:solidFill>
              </a:rPr>
              <a:t>1,000,000 dimensions</a:t>
            </a:r>
            <a:endParaRPr lang="en-US" sz="1200" b="1">
              <a:solidFill>
                <a:srgbClr val="443247"/>
              </a:solidFill>
            </a:endParaRPr>
          </a:p>
        </p:txBody>
      </p:sp>
      <p:cxnSp>
        <p:nvCxnSpPr>
          <p:cNvPr id="25" name="Straight Arrow Connector 24">
            <a:extLst>
              <a:ext uri="{FF2B5EF4-FFF2-40B4-BE49-F238E27FC236}">
                <a16:creationId xmlns:a16="http://schemas.microsoft.com/office/drawing/2014/main" id="{430EB7DA-2B02-46A7-9F5B-50880579D7B5}"/>
              </a:ext>
            </a:extLst>
          </p:cNvPr>
          <p:cNvCxnSpPr>
            <a:cxnSpLocks/>
          </p:cNvCxnSpPr>
          <p:nvPr/>
        </p:nvCxnSpPr>
        <p:spPr bwMode="gray">
          <a:xfrm flipH="1" flipV="1">
            <a:off x="8239669" y="4776624"/>
            <a:ext cx="4285" cy="984645"/>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ACE6988A-CDB5-4240-BD63-4472C11F784A}"/>
              </a:ext>
            </a:extLst>
          </p:cNvPr>
          <p:cNvCxnSpPr>
            <a:cxnSpLocks/>
          </p:cNvCxnSpPr>
          <p:nvPr/>
        </p:nvCxnSpPr>
        <p:spPr bwMode="gray">
          <a:xfrm flipH="1">
            <a:off x="7720078" y="5761269"/>
            <a:ext cx="523875" cy="417360"/>
          </a:xfrm>
          <a:prstGeom prst="straightConnector1">
            <a:avLst/>
          </a:prstGeom>
          <a:ln w="6350">
            <a:solidFill>
              <a:srgbClr val="FF316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F6FF642-4AA4-4723-8D17-63E2AD4FF1D5}"/>
              </a:ext>
            </a:extLst>
          </p:cNvPr>
          <p:cNvCxnSpPr>
            <a:cxnSpLocks/>
          </p:cNvCxnSpPr>
          <p:nvPr/>
        </p:nvCxnSpPr>
        <p:spPr bwMode="gray">
          <a:xfrm>
            <a:off x="8243953" y="5761269"/>
            <a:ext cx="923925" cy="17135"/>
          </a:xfrm>
          <a:prstGeom prst="straightConnector1">
            <a:avLst/>
          </a:prstGeom>
          <a:ln w="6350">
            <a:solidFill>
              <a:srgbClr val="FF3162"/>
            </a:solidFill>
            <a:tailEnd type="triangle"/>
          </a:ln>
        </p:spPr>
        <p:style>
          <a:lnRef idx="1">
            <a:schemeClr val="accent1"/>
          </a:lnRef>
          <a:fillRef idx="0">
            <a:schemeClr val="accent1"/>
          </a:fillRef>
          <a:effectRef idx="0">
            <a:schemeClr val="accent1"/>
          </a:effectRef>
          <a:fontRef idx="minor">
            <a:schemeClr val="tx1"/>
          </a:fontRef>
        </p:style>
      </p:cxnSp>
      <p:sp>
        <p:nvSpPr>
          <p:cNvPr id="29" name="Flowchart: Connector 28">
            <a:extLst>
              <a:ext uri="{FF2B5EF4-FFF2-40B4-BE49-F238E27FC236}">
                <a16:creationId xmlns:a16="http://schemas.microsoft.com/office/drawing/2014/main" id="{B707F631-1E31-4CD1-9C9C-15DC047A6C28}"/>
              </a:ext>
            </a:extLst>
          </p:cNvPr>
          <p:cNvSpPr/>
          <p:nvPr/>
        </p:nvSpPr>
        <p:spPr bwMode="gray">
          <a:xfrm>
            <a:off x="8527798" y="5313594"/>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0" name="Flowchart: Connector 29">
            <a:extLst>
              <a:ext uri="{FF2B5EF4-FFF2-40B4-BE49-F238E27FC236}">
                <a16:creationId xmlns:a16="http://schemas.microsoft.com/office/drawing/2014/main" id="{D1534F01-7A2F-4B94-AAE2-521E588206FE}"/>
              </a:ext>
            </a:extLst>
          </p:cNvPr>
          <p:cNvSpPr/>
          <p:nvPr/>
        </p:nvSpPr>
        <p:spPr bwMode="gray">
          <a:xfrm>
            <a:off x="8560181" y="5395611"/>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1" name="Flowchart: Connector 30">
            <a:extLst>
              <a:ext uri="{FF2B5EF4-FFF2-40B4-BE49-F238E27FC236}">
                <a16:creationId xmlns:a16="http://schemas.microsoft.com/office/drawing/2014/main" id="{A768B564-67EE-4B3E-902E-0BD1176B3AA4}"/>
              </a:ext>
            </a:extLst>
          </p:cNvPr>
          <p:cNvSpPr/>
          <p:nvPr/>
        </p:nvSpPr>
        <p:spPr bwMode="gray">
          <a:xfrm>
            <a:off x="8680198" y="5465994"/>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2" name="Flowchart: Connector 31">
            <a:extLst>
              <a:ext uri="{FF2B5EF4-FFF2-40B4-BE49-F238E27FC236}">
                <a16:creationId xmlns:a16="http://schemas.microsoft.com/office/drawing/2014/main" id="{491B25F9-CCAB-44DB-BA21-632C089A0907}"/>
              </a:ext>
            </a:extLst>
          </p:cNvPr>
          <p:cNvSpPr/>
          <p:nvPr/>
        </p:nvSpPr>
        <p:spPr bwMode="gray">
          <a:xfrm>
            <a:off x="8712581" y="5548011"/>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4" name="Flowchart: Connector 33">
            <a:extLst>
              <a:ext uri="{FF2B5EF4-FFF2-40B4-BE49-F238E27FC236}">
                <a16:creationId xmlns:a16="http://schemas.microsoft.com/office/drawing/2014/main" id="{2AC44030-0F2C-4233-AC0D-8C1D7C34AE27}"/>
              </a:ext>
            </a:extLst>
          </p:cNvPr>
          <p:cNvSpPr/>
          <p:nvPr/>
        </p:nvSpPr>
        <p:spPr bwMode="gray">
          <a:xfrm>
            <a:off x="8298251" y="5435363"/>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5" name="Flowchart: Connector 34">
            <a:extLst>
              <a:ext uri="{FF2B5EF4-FFF2-40B4-BE49-F238E27FC236}">
                <a16:creationId xmlns:a16="http://schemas.microsoft.com/office/drawing/2014/main" id="{ACFAF6CC-E7C3-46A7-A27F-55037CD17737}"/>
              </a:ext>
            </a:extLst>
          </p:cNvPr>
          <p:cNvSpPr/>
          <p:nvPr/>
        </p:nvSpPr>
        <p:spPr bwMode="gray">
          <a:xfrm>
            <a:off x="8330634" y="5517380"/>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6" name="Flowchart: Connector 35">
            <a:extLst>
              <a:ext uri="{FF2B5EF4-FFF2-40B4-BE49-F238E27FC236}">
                <a16:creationId xmlns:a16="http://schemas.microsoft.com/office/drawing/2014/main" id="{4AF289BA-CEBD-419D-A89F-C865473FC5C4}"/>
              </a:ext>
            </a:extLst>
          </p:cNvPr>
          <p:cNvSpPr/>
          <p:nvPr/>
        </p:nvSpPr>
        <p:spPr bwMode="gray">
          <a:xfrm>
            <a:off x="8450651" y="5587763"/>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7" name="Flowchart: Connector 36">
            <a:extLst>
              <a:ext uri="{FF2B5EF4-FFF2-40B4-BE49-F238E27FC236}">
                <a16:creationId xmlns:a16="http://schemas.microsoft.com/office/drawing/2014/main" id="{595404F6-F0CB-4C44-8B1E-23F96080B8FF}"/>
              </a:ext>
            </a:extLst>
          </p:cNvPr>
          <p:cNvSpPr/>
          <p:nvPr/>
        </p:nvSpPr>
        <p:spPr bwMode="gray">
          <a:xfrm>
            <a:off x="8483034" y="5669780"/>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8" name="Flowchart: Connector 37">
            <a:extLst>
              <a:ext uri="{FF2B5EF4-FFF2-40B4-BE49-F238E27FC236}">
                <a16:creationId xmlns:a16="http://schemas.microsoft.com/office/drawing/2014/main" id="{3E57F601-60F9-46CE-BF31-764331B6215E}"/>
              </a:ext>
            </a:extLst>
          </p:cNvPr>
          <p:cNvSpPr/>
          <p:nvPr/>
        </p:nvSpPr>
        <p:spPr bwMode="gray">
          <a:xfrm>
            <a:off x="8680198" y="5465994"/>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9" name="Flowchart: Connector 38">
            <a:extLst>
              <a:ext uri="{FF2B5EF4-FFF2-40B4-BE49-F238E27FC236}">
                <a16:creationId xmlns:a16="http://schemas.microsoft.com/office/drawing/2014/main" id="{8DE87380-43D7-48BE-9EDF-C0D6BDF60A7C}"/>
              </a:ext>
            </a:extLst>
          </p:cNvPr>
          <p:cNvSpPr/>
          <p:nvPr/>
        </p:nvSpPr>
        <p:spPr bwMode="gray">
          <a:xfrm>
            <a:off x="8712581" y="5548011"/>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0" name="Flowchart: Connector 39">
            <a:extLst>
              <a:ext uri="{FF2B5EF4-FFF2-40B4-BE49-F238E27FC236}">
                <a16:creationId xmlns:a16="http://schemas.microsoft.com/office/drawing/2014/main" id="{7D264E98-4AD1-4BC6-A941-6B35DFCDEDED}"/>
              </a:ext>
            </a:extLst>
          </p:cNvPr>
          <p:cNvSpPr/>
          <p:nvPr/>
        </p:nvSpPr>
        <p:spPr bwMode="gray">
          <a:xfrm>
            <a:off x="8832598" y="5618394"/>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1" name="Flowchart: Connector 40">
            <a:extLst>
              <a:ext uri="{FF2B5EF4-FFF2-40B4-BE49-F238E27FC236}">
                <a16:creationId xmlns:a16="http://schemas.microsoft.com/office/drawing/2014/main" id="{6642AE1A-3E4D-4588-B041-0B554414DB41}"/>
              </a:ext>
            </a:extLst>
          </p:cNvPr>
          <p:cNvSpPr/>
          <p:nvPr/>
        </p:nvSpPr>
        <p:spPr bwMode="gray">
          <a:xfrm>
            <a:off x="8864981" y="5700411"/>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2" name="Flowchart: Connector 41">
            <a:extLst>
              <a:ext uri="{FF2B5EF4-FFF2-40B4-BE49-F238E27FC236}">
                <a16:creationId xmlns:a16="http://schemas.microsoft.com/office/drawing/2014/main" id="{A2847D9D-A4F3-4651-9115-A5249298D981}"/>
              </a:ext>
            </a:extLst>
          </p:cNvPr>
          <p:cNvSpPr/>
          <p:nvPr/>
        </p:nvSpPr>
        <p:spPr bwMode="gray">
          <a:xfrm>
            <a:off x="8450651" y="5587763"/>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3" name="Flowchart: Connector 42">
            <a:extLst>
              <a:ext uri="{FF2B5EF4-FFF2-40B4-BE49-F238E27FC236}">
                <a16:creationId xmlns:a16="http://schemas.microsoft.com/office/drawing/2014/main" id="{95E882FD-0B42-403A-8A4D-AA874E372CB2}"/>
              </a:ext>
            </a:extLst>
          </p:cNvPr>
          <p:cNvSpPr/>
          <p:nvPr/>
        </p:nvSpPr>
        <p:spPr bwMode="gray">
          <a:xfrm>
            <a:off x="8483034" y="5669780"/>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4" name="Flowchart: Connector 43">
            <a:extLst>
              <a:ext uri="{FF2B5EF4-FFF2-40B4-BE49-F238E27FC236}">
                <a16:creationId xmlns:a16="http://schemas.microsoft.com/office/drawing/2014/main" id="{7A6BA265-7C2B-4AE9-B4F7-442D1C685D63}"/>
              </a:ext>
            </a:extLst>
          </p:cNvPr>
          <p:cNvSpPr/>
          <p:nvPr/>
        </p:nvSpPr>
        <p:spPr bwMode="gray">
          <a:xfrm>
            <a:off x="8603051" y="5740163"/>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5" name="Flowchart: Connector 44">
            <a:extLst>
              <a:ext uri="{FF2B5EF4-FFF2-40B4-BE49-F238E27FC236}">
                <a16:creationId xmlns:a16="http://schemas.microsoft.com/office/drawing/2014/main" id="{27B1DF57-240D-4265-8801-23EFB44604DD}"/>
              </a:ext>
            </a:extLst>
          </p:cNvPr>
          <p:cNvSpPr/>
          <p:nvPr/>
        </p:nvSpPr>
        <p:spPr bwMode="gray">
          <a:xfrm>
            <a:off x="8635434" y="5822180"/>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6" name="Flowchart: Connector 45">
            <a:extLst>
              <a:ext uri="{FF2B5EF4-FFF2-40B4-BE49-F238E27FC236}">
                <a16:creationId xmlns:a16="http://schemas.microsoft.com/office/drawing/2014/main" id="{1B08DCB1-CC0F-4928-A195-807C09CE83DE}"/>
              </a:ext>
            </a:extLst>
          </p:cNvPr>
          <p:cNvSpPr/>
          <p:nvPr/>
        </p:nvSpPr>
        <p:spPr bwMode="gray">
          <a:xfrm>
            <a:off x="8136321" y="5392843"/>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7" name="Flowchart: Connector 46">
            <a:extLst>
              <a:ext uri="{FF2B5EF4-FFF2-40B4-BE49-F238E27FC236}">
                <a16:creationId xmlns:a16="http://schemas.microsoft.com/office/drawing/2014/main" id="{259DE9AE-0E8D-4785-A901-B99C9A390DD2}"/>
              </a:ext>
            </a:extLst>
          </p:cNvPr>
          <p:cNvSpPr/>
          <p:nvPr/>
        </p:nvSpPr>
        <p:spPr bwMode="gray">
          <a:xfrm>
            <a:off x="8168704" y="5474860"/>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8" name="Flowchart: Connector 47">
            <a:extLst>
              <a:ext uri="{FF2B5EF4-FFF2-40B4-BE49-F238E27FC236}">
                <a16:creationId xmlns:a16="http://schemas.microsoft.com/office/drawing/2014/main" id="{F08D57D1-FB4E-47F5-BE5A-02A3928927B9}"/>
              </a:ext>
            </a:extLst>
          </p:cNvPr>
          <p:cNvSpPr/>
          <p:nvPr/>
        </p:nvSpPr>
        <p:spPr bwMode="gray">
          <a:xfrm>
            <a:off x="8288721" y="5545243"/>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49" name="Flowchart: Connector 48">
            <a:extLst>
              <a:ext uri="{FF2B5EF4-FFF2-40B4-BE49-F238E27FC236}">
                <a16:creationId xmlns:a16="http://schemas.microsoft.com/office/drawing/2014/main" id="{500076E2-C94B-4E3E-A6CB-F864E5F655CB}"/>
              </a:ext>
            </a:extLst>
          </p:cNvPr>
          <p:cNvSpPr/>
          <p:nvPr/>
        </p:nvSpPr>
        <p:spPr bwMode="gray">
          <a:xfrm>
            <a:off x="8321104" y="5627260"/>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0" name="Flowchart: Connector 49">
            <a:extLst>
              <a:ext uri="{FF2B5EF4-FFF2-40B4-BE49-F238E27FC236}">
                <a16:creationId xmlns:a16="http://schemas.microsoft.com/office/drawing/2014/main" id="{D52B6821-6DB2-43CB-B556-1F030E03DB31}"/>
              </a:ext>
            </a:extLst>
          </p:cNvPr>
          <p:cNvSpPr/>
          <p:nvPr/>
        </p:nvSpPr>
        <p:spPr bwMode="gray">
          <a:xfrm>
            <a:off x="7906774" y="5514612"/>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1" name="Flowchart: Connector 50">
            <a:extLst>
              <a:ext uri="{FF2B5EF4-FFF2-40B4-BE49-F238E27FC236}">
                <a16:creationId xmlns:a16="http://schemas.microsoft.com/office/drawing/2014/main" id="{D45871F1-88D1-4A2F-8A48-8C161309B4F2}"/>
              </a:ext>
            </a:extLst>
          </p:cNvPr>
          <p:cNvSpPr/>
          <p:nvPr/>
        </p:nvSpPr>
        <p:spPr bwMode="gray">
          <a:xfrm>
            <a:off x="7939157" y="5596629"/>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2" name="Flowchart: Connector 51">
            <a:extLst>
              <a:ext uri="{FF2B5EF4-FFF2-40B4-BE49-F238E27FC236}">
                <a16:creationId xmlns:a16="http://schemas.microsoft.com/office/drawing/2014/main" id="{34EC88D9-DA1F-4E10-B3F3-30252C558348}"/>
              </a:ext>
            </a:extLst>
          </p:cNvPr>
          <p:cNvSpPr/>
          <p:nvPr/>
        </p:nvSpPr>
        <p:spPr bwMode="gray">
          <a:xfrm>
            <a:off x="8059174" y="5667012"/>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3" name="Flowchart: Connector 52">
            <a:extLst>
              <a:ext uri="{FF2B5EF4-FFF2-40B4-BE49-F238E27FC236}">
                <a16:creationId xmlns:a16="http://schemas.microsoft.com/office/drawing/2014/main" id="{8F765235-6699-4090-BDE1-DA76CEE2E2A1}"/>
              </a:ext>
            </a:extLst>
          </p:cNvPr>
          <p:cNvSpPr/>
          <p:nvPr/>
        </p:nvSpPr>
        <p:spPr bwMode="gray">
          <a:xfrm>
            <a:off x="8091557" y="5749029"/>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4" name="Flowchart: Connector 53">
            <a:extLst>
              <a:ext uri="{FF2B5EF4-FFF2-40B4-BE49-F238E27FC236}">
                <a16:creationId xmlns:a16="http://schemas.microsoft.com/office/drawing/2014/main" id="{D1147DDA-94C3-4219-93C4-763CE12B24F0}"/>
              </a:ext>
            </a:extLst>
          </p:cNvPr>
          <p:cNvSpPr/>
          <p:nvPr/>
        </p:nvSpPr>
        <p:spPr bwMode="gray">
          <a:xfrm>
            <a:off x="8288721" y="5545243"/>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5" name="Flowchart: Connector 54">
            <a:extLst>
              <a:ext uri="{FF2B5EF4-FFF2-40B4-BE49-F238E27FC236}">
                <a16:creationId xmlns:a16="http://schemas.microsoft.com/office/drawing/2014/main" id="{737B2631-A182-4635-A287-78E29D86E8D9}"/>
              </a:ext>
            </a:extLst>
          </p:cNvPr>
          <p:cNvSpPr/>
          <p:nvPr/>
        </p:nvSpPr>
        <p:spPr bwMode="gray">
          <a:xfrm>
            <a:off x="8321104" y="5627260"/>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6" name="Flowchart: Connector 55">
            <a:extLst>
              <a:ext uri="{FF2B5EF4-FFF2-40B4-BE49-F238E27FC236}">
                <a16:creationId xmlns:a16="http://schemas.microsoft.com/office/drawing/2014/main" id="{4346FB09-64A0-4037-8E08-F61CB068151E}"/>
              </a:ext>
            </a:extLst>
          </p:cNvPr>
          <p:cNvSpPr/>
          <p:nvPr/>
        </p:nvSpPr>
        <p:spPr bwMode="gray">
          <a:xfrm>
            <a:off x="8441121" y="5697643"/>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7" name="Flowchart: Connector 56">
            <a:extLst>
              <a:ext uri="{FF2B5EF4-FFF2-40B4-BE49-F238E27FC236}">
                <a16:creationId xmlns:a16="http://schemas.microsoft.com/office/drawing/2014/main" id="{E9D06869-BD84-4737-AF8E-AD0A953B67CF}"/>
              </a:ext>
            </a:extLst>
          </p:cNvPr>
          <p:cNvSpPr/>
          <p:nvPr/>
        </p:nvSpPr>
        <p:spPr bwMode="gray">
          <a:xfrm>
            <a:off x="8473504" y="5779660"/>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8" name="Flowchart: Connector 57">
            <a:extLst>
              <a:ext uri="{FF2B5EF4-FFF2-40B4-BE49-F238E27FC236}">
                <a16:creationId xmlns:a16="http://schemas.microsoft.com/office/drawing/2014/main" id="{82A9C16B-CDF1-49AA-8C1E-E7BD3AA961B8}"/>
              </a:ext>
            </a:extLst>
          </p:cNvPr>
          <p:cNvSpPr/>
          <p:nvPr/>
        </p:nvSpPr>
        <p:spPr bwMode="gray">
          <a:xfrm>
            <a:off x="8059174" y="5667012"/>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59" name="Flowchart: Connector 58">
            <a:extLst>
              <a:ext uri="{FF2B5EF4-FFF2-40B4-BE49-F238E27FC236}">
                <a16:creationId xmlns:a16="http://schemas.microsoft.com/office/drawing/2014/main" id="{F8A659FC-B644-4B7F-88D3-68298E561BB2}"/>
              </a:ext>
            </a:extLst>
          </p:cNvPr>
          <p:cNvSpPr/>
          <p:nvPr/>
        </p:nvSpPr>
        <p:spPr bwMode="gray">
          <a:xfrm>
            <a:off x="8091557" y="5749029"/>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64" name="Flowchart: Connector 63">
            <a:extLst>
              <a:ext uri="{FF2B5EF4-FFF2-40B4-BE49-F238E27FC236}">
                <a16:creationId xmlns:a16="http://schemas.microsoft.com/office/drawing/2014/main" id="{076A26C0-606C-42FE-838F-0B18281A2F8E}"/>
              </a:ext>
            </a:extLst>
          </p:cNvPr>
          <p:cNvSpPr/>
          <p:nvPr/>
        </p:nvSpPr>
        <p:spPr bwMode="gray">
          <a:xfrm>
            <a:off x="8211574" y="5819412"/>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65" name="Flowchart: Connector 64">
            <a:extLst>
              <a:ext uri="{FF2B5EF4-FFF2-40B4-BE49-F238E27FC236}">
                <a16:creationId xmlns:a16="http://schemas.microsoft.com/office/drawing/2014/main" id="{390206FA-E67F-4D56-9534-FF99E4B0A042}"/>
              </a:ext>
            </a:extLst>
          </p:cNvPr>
          <p:cNvSpPr/>
          <p:nvPr/>
        </p:nvSpPr>
        <p:spPr bwMode="gray">
          <a:xfrm>
            <a:off x="8243957" y="5901429"/>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66" name="Flowchart: Connector 65">
            <a:extLst>
              <a:ext uri="{FF2B5EF4-FFF2-40B4-BE49-F238E27FC236}">
                <a16:creationId xmlns:a16="http://schemas.microsoft.com/office/drawing/2014/main" id="{492B29E0-389F-4619-AD59-04C997B56B95}"/>
              </a:ext>
            </a:extLst>
          </p:cNvPr>
          <p:cNvSpPr/>
          <p:nvPr/>
        </p:nvSpPr>
        <p:spPr bwMode="gray">
          <a:xfrm>
            <a:off x="8375398" y="4980385"/>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67" name="Flowchart: Connector 66">
            <a:extLst>
              <a:ext uri="{FF2B5EF4-FFF2-40B4-BE49-F238E27FC236}">
                <a16:creationId xmlns:a16="http://schemas.microsoft.com/office/drawing/2014/main" id="{F9506EA6-E2DE-4526-9AB2-5DA1C99E9F14}"/>
              </a:ext>
            </a:extLst>
          </p:cNvPr>
          <p:cNvSpPr/>
          <p:nvPr/>
        </p:nvSpPr>
        <p:spPr bwMode="gray">
          <a:xfrm>
            <a:off x="8407781" y="5062402"/>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68" name="Flowchart: Connector 67">
            <a:extLst>
              <a:ext uri="{FF2B5EF4-FFF2-40B4-BE49-F238E27FC236}">
                <a16:creationId xmlns:a16="http://schemas.microsoft.com/office/drawing/2014/main" id="{EAA3B359-6C31-4FA4-A963-FA9EC390517D}"/>
              </a:ext>
            </a:extLst>
          </p:cNvPr>
          <p:cNvSpPr/>
          <p:nvPr/>
        </p:nvSpPr>
        <p:spPr bwMode="gray">
          <a:xfrm>
            <a:off x="8527798" y="5132785"/>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69" name="Flowchart: Connector 68">
            <a:extLst>
              <a:ext uri="{FF2B5EF4-FFF2-40B4-BE49-F238E27FC236}">
                <a16:creationId xmlns:a16="http://schemas.microsoft.com/office/drawing/2014/main" id="{B1CF43AC-9462-461B-848C-8AFA329A5145}"/>
              </a:ext>
            </a:extLst>
          </p:cNvPr>
          <p:cNvSpPr/>
          <p:nvPr/>
        </p:nvSpPr>
        <p:spPr bwMode="gray">
          <a:xfrm>
            <a:off x="8560181" y="5214802"/>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0" name="Flowchart: Connector 69">
            <a:extLst>
              <a:ext uri="{FF2B5EF4-FFF2-40B4-BE49-F238E27FC236}">
                <a16:creationId xmlns:a16="http://schemas.microsoft.com/office/drawing/2014/main" id="{5D7C69A2-92DC-45CC-9BD5-8E2FBD75C7C7}"/>
              </a:ext>
            </a:extLst>
          </p:cNvPr>
          <p:cNvSpPr/>
          <p:nvPr/>
        </p:nvSpPr>
        <p:spPr bwMode="gray">
          <a:xfrm>
            <a:off x="8145851" y="5102154"/>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1" name="Flowchart: Connector 70">
            <a:extLst>
              <a:ext uri="{FF2B5EF4-FFF2-40B4-BE49-F238E27FC236}">
                <a16:creationId xmlns:a16="http://schemas.microsoft.com/office/drawing/2014/main" id="{0920F60F-E4B5-4D9D-B20C-31FAA65E0F12}"/>
              </a:ext>
            </a:extLst>
          </p:cNvPr>
          <p:cNvSpPr/>
          <p:nvPr/>
        </p:nvSpPr>
        <p:spPr bwMode="gray">
          <a:xfrm>
            <a:off x="8178234" y="5184171"/>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2" name="Flowchart: Connector 71">
            <a:extLst>
              <a:ext uri="{FF2B5EF4-FFF2-40B4-BE49-F238E27FC236}">
                <a16:creationId xmlns:a16="http://schemas.microsoft.com/office/drawing/2014/main" id="{E12A3C93-F2C2-4320-B963-81A492E3E9FC}"/>
              </a:ext>
            </a:extLst>
          </p:cNvPr>
          <p:cNvSpPr/>
          <p:nvPr/>
        </p:nvSpPr>
        <p:spPr bwMode="gray">
          <a:xfrm>
            <a:off x="8298251" y="5254554"/>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3" name="Flowchart: Connector 72">
            <a:extLst>
              <a:ext uri="{FF2B5EF4-FFF2-40B4-BE49-F238E27FC236}">
                <a16:creationId xmlns:a16="http://schemas.microsoft.com/office/drawing/2014/main" id="{8F6C9179-2665-453E-AED5-FED2EAF29787}"/>
              </a:ext>
            </a:extLst>
          </p:cNvPr>
          <p:cNvSpPr/>
          <p:nvPr/>
        </p:nvSpPr>
        <p:spPr bwMode="gray">
          <a:xfrm>
            <a:off x="8330634" y="5336571"/>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4" name="Flowchart: Connector 73">
            <a:extLst>
              <a:ext uri="{FF2B5EF4-FFF2-40B4-BE49-F238E27FC236}">
                <a16:creationId xmlns:a16="http://schemas.microsoft.com/office/drawing/2014/main" id="{531CCD5A-74FF-44E6-AAFC-78692F5E73B5}"/>
              </a:ext>
            </a:extLst>
          </p:cNvPr>
          <p:cNvSpPr/>
          <p:nvPr/>
        </p:nvSpPr>
        <p:spPr bwMode="gray">
          <a:xfrm>
            <a:off x="8527798" y="5132785"/>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5" name="Flowchart: Connector 74">
            <a:extLst>
              <a:ext uri="{FF2B5EF4-FFF2-40B4-BE49-F238E27FC236}">
                <a16:creationId xmlns:a16="http://schemas.microsoft.com/office/drawing/2014/main" id="{B8293F8A-4DCB-4F13-967E-9E03DD308791}"/>
              </a:ext>
            </a:extLst>
          </p:cNvPr>
          <p:cNvSpPr/>
          <p:nvPr/>
        </p:nvSpPr>
        <p:spPr bwMode="gray">
          <a:xfrm>
            <a:off x="8560181" y="5214802"/>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6" name="Flowchart: Connector 75">
            <a:extLst>
              <a:ext uri="{FF2B5EF4-FFF2-40B4-BE49-F238E27FC236}">
                <a16:creationId xmlns:a16="http://schemas.microsoft.com/office/drawing/2014/main" id="{8FB5AF4A-5984-42DF-B7DB-7A442D2DB48C}"/>
              </a:ext>
            </a:extLst>
          </p:cNvPr>
          <p:cNvSpPr/>
          <p:nvPr/>
        </p:nvSpPr>
        <p:spPr bwMode="gray">
          <a:xfrm>
            <a:off x="8680198" y="5285185"/>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7" name="Flowchart: Connector 76">
            <a:extLst>
              <a:ext uri="{FF2B5EF4-FFF2-40B4-BE49-F238E27FC236}">
                <a16:creationId xmlns:a16="http://schemas.microsoft.com/office/drawing/2014/main" id="{C8F3CE49-8ED3-466B-8E62-8891087707C5}"/>
              </a:ext>
            </a:extLst>
          </p:cNvPr>
          <p:cNvSpPr/>
          <p:nvPr/>
        </p:nvSpPr>
        <p:spPr bwMode="gray">
          <a:xfrm>
            <a:off x="8712581" y="5367202"/>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8" name="Flowchart: Connector 77">
            <a:extLst>
              <a:ext uri="{FF2B5EF4-FFF2-40B4-BE49-F238E27FC236}">
                <a16:creationId xmlns:a16="http://schemas.microsoft.com/office/drawing/2014/main" id="{D868462E-71F1-426B-BDEE-05BFD18616C4}"/>
              </a:ext>
            </a:extLst>
          </p:cNvPr>
          <p:cNvSpPr/>
          <p:nvPr/>
        </p:nvSpPr>
        <p:spPr bwMode="gray">
          <a:xfrm>
            <a:off x="8298251" y="5254554"/>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79" name="Flowchart: Connector 78">
            <a:extLst>
              <a:ext uri="{FF2B5EF4-FFF2-40B4-BE49-F238E27FC236}">
                <a16:creationId xmlns:a16="http://schemas.microsoft.com/office/drawing/2014/main" id="{50CDAFED-2671-47FF-B52A-38623DF7BA67}"/>
              </a:ext>
            </a:extLst>
          </p:cNvPr>
          <p:cNvSpPr/>
          <p:nvPr/>
        </p:nvSpPr>
        <p:spPr bwMode="gray">
          <a:xfrm>
            <a:off x="8330634" y="5336571"/>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80" name="Flowchart: Connector 79">
            <a:extLst>
              <a:ext uri="{FF2B5EF4-FFF2-40B4-BE49-F238E27FC236}">
                <a16:creationId xmlns:a16="http://schemas.microsoft.com/office/drawing/2014/main" id="{E0062EBB-99C8-4912-A161-3242064CB149}"/>
              </a:ext>
            </a:extLst>
          </p:cNvPr>
          <p:cNvSpPr/>
          <p:nvPr/>
        </p:nvSpPr>
        <p:spPr bwMode="gray">
          <a:xfrm>
            <a:off x="8450651" y="5406954"/>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81" name="Flowchart: Connector 80">
            <a:extLst>
              <a:ext uri="{FF2B5EF4-FFF2-40B4-BE49-F238E27FC236}">
                <a16:creationId xmlns:a16="http://schemas.microsoft.com/office/drawing/2014/main" id="{89CCD000-6668-4B09-9194-DE4E4567AFDB}"/>
              </a:ext>
            </a:extLst>
          </p:cNvPr>
          <p:cNvSpPr/>
          <p:nvPr/>
        </p:nvSpPr>
        <p:spPr bwMode="gray">
          <a:xfrm>
            <a:off x="8483034" y="5488971"/>
            <a:ext cx="45719" cy="4571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cxnSp>
        <p:nvCxnSpPr>
          <p:cNvPr id="82" name="Straight Connector 81">
            <a:extLst>
              <a:ext uri="{FF2B5EF4-FFF2-40B4-BE49-F238E27FC236}">
                <a16:creationId xmlns:a16="http://schemas.microsoft.com/office/drawing/2014/main" id="{BCF2064B-1CE1-44CF-9081-3AC94EAF4211}"/>
              </a:ext>
            </a:extLst>
          </p:cNvPr>
          <p:cNvCxnSpPr>
            <a:cxnSpLocks/>
            <a:stCxn id="40" idx="0"/>
          </p:cNvCxnSpPr>
          <p:nvPr/>
        </p:nvCxnSpPr>
        <p:spPr bwMode="gray">
          <a:xfrm flipV="1">
            <a:off x="8855458" y="5209649"/>
            <a:ext cx="485232" cy="408745"/>
          </a:xfrm>
          <a:prstGeom prst="line">
            <a:avLst/>
          </a:prstGeom>
          <a:ln>
            <a:solidFill>
              <a:srgbClr val="00BCFF"/>
            </a:solidFill>
            <a:headEnd type="oval" w="med" len="med"/>
            <a:tailEnd type="triangle" w="med" len="med"/>
          </a:ln>
        </p:spPr>
        <p:style>
          <a:lnRef idx="1">
            <a:schemeClr val="accent2"/>
          </a:lnRef>
          <a:fillRef idx="0">
            <a:schemeClr val="accent2"/>
          </a:fillRef>
          <a:effectRef idx="0">
            <a:schemeClr val="accent2"/>
          </a:effectRef>
          <a:fontRef idx="minor">
            <a:schemeClr val="tx1"/>
          </a:fontRef>
        </p:style>
      </p:cxnSp>
      <p:sp>
        <p:nvSpPr>
          <p:cNvPr id="83" name="TextBox 82">
            <a:extLst>
              <a:ext uri="{FF2B5EF4-FFF2-40B4-BE49-F238E27FC236}">
                <a16:creationId xmlns:a16="http://schemas.microsoft.com/office/drawing/2014/main" id="{40AAE46C-944A-4332-8A8E-59A6F3C40D94}"/>
              </a:ext>
            </a:extLst>
          </p:cNvPr>
          <p:cNvSpPr txBox="1"/>
          <p:nvPr/>
        </p:nvSpPr>
        <p:spPr bwMode="gray">
          <a:xfrm>
            <a:off x="8961177" y="4914174"/>
            <a:ext cx="1128309" cy="276999"/>
          </a:xfrm>
          <a:prstGeom prst="rect">
            <a:avLst/>
          </a:prstGeom>
          <a:noFill/>
        </p:spPr>
        <p:txBody>
          <a:bodyPr wrap="square">
            <a:spAutoFit/>
          </a:bodyPr>
          <a:lstStyle/>
          <a:p>
            <a:r>
              <a:rPr lang="en-US" altLang="zh-CN" sz="1200" err="1">
                <a:solidFill>
                  <a:srgbClr val="443247"/>
                </a:solidFill>
              </a:rPr>
              <a:t>Kerendia</a:t>
            </a:r>
            <a:endParaRPr lang="en-US" sz="1200">
              <a:solidFill>
                <a:srgbClr val="443247"/>
              </a:solidFill>
            </a:endParaRPr>
          </a:p>
        </p:txBody>
      </p:sp>
      <p:cxnSp>
        <p:nvCxnSpPr>
          <p:cNvPr id="84" name="Straight Connector 83">
            <a:extLst>
              <a:ext uri="{FF2B5EF4-FFF2-40B4-BE49-F238E27FC236}">
                <a16:creationId xmlns:a16="http://schemas.microsoft.com/office/drawing/2014/main" id="{4A7D4DDB-A4D7-4B3F-9187-87A8B5ED2B52}"/>
              </a:ext>
            </a:extLst>
          </p:cNvPr>
          <p:cNvCxnSpPr>
            <a:cxnSpLocks/>
            <a:stCxn id="50" idx="7"/>
          </p:cNvCxnSpPr>
          <p:nvPr/>
        </p:nvCxnSpPr>
        <p:spPr bwMode="gray">
          <a:xfrm flipH="1" flipV="1">
            <a:off x="7587084" y="5163879"/>
            <a:ext cx="358714" cy="357428"/>
          </a:xfrm>
          <a:prstGeom prst="line">
            <a:avLst/>
          </a:prstGeom>
          <a:ln>
            <a:solidFill>
              <a:srgbClr val="00BCFF"/>
            </a:solidFill>
            <a:headEnd type="oval" w="med" len="med"/>
            <a:tailEnd type="triangle" w="med" len="med"/>
          </a:ln>
        </p:spPr>
        <p:style>
          <a:lnRef idx="1">
            <a:schemeClr val="accent2"/>
          </a:lnRef>
          <a:fillRef idx="0">
            <a:schemeClr val="accent2"/>
          </a:fillRef>
          <a:effectRef idx="0">
            <a:schemeClr val="accent2"/>
          </a:effectRef>
          <a:fontRef idx="minor">
            <a:schemeClr val="tx1"/>
          </a:fontRef>
        </p:style>
      </p:cxnSp>
      <p:sp>
        <p:nvSpPr>
          <p:cNvPr id="85" name="TextBox 84">
            <a:extLst>
              <a:ext uri="{FF2B5EF4-FFF2-40B4-BE49-F238E27FC236}">
                <a16:creationId xmlns:a16="http://schemas.microsoft.com/office/drawing/2014/main" id="{B0EBA64F-5897-46C3-9114-D03DC114F31A}"/>
              </a:ext>
            </a:extLst>
          </p:cNvPr>
          <p:cNvSpPr txBox="1"/>
          <p:nvPr/>
        </p:nvSpPr>
        <p:spPr bwMode="gray">
          <a:xfrm>
            <a:off x="7093612" y="4813851"/>
            <a:ext cx="1011282" cy="276999"/>
          </a:xfrm>
          <a:prstGeom prst="rect">
            <a:avLst/>
          </a:prstGeom>
          <a:noFill/>
        </p:spPr>
        <p:txBody>
          <a:bodyPr wrap="square">
            <a:spAutoFit/>
          </a:bodyPr>
          <a:lstStyle/>
          <a:p>
            <a:r>
              <a:rPr lang="en-US" altLang="zh-CN" sz="1200" err="1">
                <a:solidFill>
                  <a:srgbClr val="443247"/>
                </a:solidFill>
              </a:rPr>
              <a:t>Finerenone</a:t>
            </a:r>
            <a:endParaRPr lang="en-US" sz="1200">
              <a:solidFill>
                <a:srgbClr val="443247"/>
              </a:solidFill>
            </a:endParaRPr>
          </a:p>
        </p:txBody>
      </p:sp>
      <p:sp>
        <p:nvSpPr>
          <p:cNvPr id="86" name="TextBox 85">
            <a:extLst>
              <a:ext uri="{FF2B5EF4-FFF2-40B4-BE49-F238E27FC236}">
                <a16:creationId xmlns:a16="http://schemas.microsoft.com/office/drawing/2014/main" id="{0122E22A-B38B-48A7-9392-FF05F0AE27D3}"/>
              </a:ext>
            </a:extLst>
          </p:cNvPr>
          <p:cNvSpPr txBox="1"/>
          <p:nvPr/>
        </p:nvSpPr>
        <p:spPr bwMode="gray">
          <a:xfrm>
            <a:off x="9720379" y="5379789"/>
            <a:ext cx="2354239" cy="461665"/>
          </a:xfrm>
          <a:prstGeom prst="rect">
            <a:avLst/>
          </a:prstGeom>
          <a:noFill/>
        </p:spPr>
        <p:txBody>
          <a:bodyPr wrap="square">
            <a:spAutoFit/>
          </a:bodyPr>
          <a:lstStyle/>
          <a:p>
            <a:r>
              <a:rPr lang="en-US" altLang="zh-CN" sz="1200" b="1">
                <a:solidFill>
                  <a:srgbClr val="443247"/>
                </a:solidFill>
                <a:latin typeface="+mj-lt"/>
              </a:rPr>
              <a:t>Two words are far away from each other in semantic space</a:t>
            </a:r>
            <a:endParaRPr lang="en-US" sz="1200" b="1">
              <a:solidFill>
                <a:srgbClr val="443247"/>
              </a:solidFill>
              <a:latin typeface="+mj-lt"/>
            </a:endParaRPr>
          </a:p>
        </p:txBody>
      </p:sp>
      <p:grpSp>
        <p:nvGrpSpPr>
          <p:cNvPr id="87" name="Group 86">
            <a:extLst>
              <a:ext uri="{FF2B5EF4-FFF2-40B4-BE49-F238E27FC236}">
                <a16:creationId xmlns:a16="http://schemas.microsoft.com/office/drawing/2014/main" id="{95763A56-34B7-4793-BA54-A584AFA04042}"/>
              </a:ext>
            </a:extLst>
          </p:cNvPr>
          <p:cNvGrpSpPr/>
          <p:nvPr/>
        </p:nvGrpSpPr>
        <p:grpSpPr>
          <a:xfrm>
            <a:off x="10947419" y="121406"/>
            <a:ext cx="1176925" cy="304109"/>
            <a:chOff x="7530052" y="5001373"/>
            <a:chExt cx="1176925" cy="304109"/>
          </a:xfrm>
        </p:grpSpPr>
        <p:sp>
          <p:nvSpPr>
            <p:cNvPr id="88" name="Rectangle 87">
              <a:extLst>
                <a:ext uri="{FF2B5EF4-FFF2-40B4-BE49-F238E27FC236}">
                  <a16:creationId xmlns:a16="http://schemas.microsoft.com/office/drawing/2014/main" id="{F1386C6D-9D8F-49C2-AD87-9446709AFC04}"/>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dirty="0">
                  <a:ln w="0"/>
                  <a:solidFill>
                    <a:schemeClr val="tx1"/>
                  </a:solidFill>
                  <a:effectLst>
                    <a:outerShdw blurRad="38100" dist="19050" dir="2700000" algn="tl" rotWithShape="0">
                      <a:schemeClr val="dk1">
                        <a:alpha val="40000"/>
                      </a:schemeClr>
                    </a:outerShdw>
                  </a:effectLst>
                </a:rPr>
                <a:t>text  》numbers</a:t>
              </a:r>
              <a:endParaRPr lang="en-US" sz="1100" b="0" cap="none" spc="0" dirty="0">
                <a:ln w="0"/>
                <a:solidFill>
                  <a:schemeClr val="tx1"/>
                </a:solidFill>
                <a:effectLst>
                  <a:outerShdw blurRad="38100" dist="19050" dir="2700000" algn="tl" rotWithShape="0">
                    <a:schemeClr val="dk1">
                      <a:alpha val="40000"/>
                    </a:schemeClr>
                  </a:outerShdw>
                </a:effectLst>
              </a:endParaRPr>
            </a:p>
          </p:txBody>
        </p:sp>
        <p:sp>
          <p:nvSpPr>
            <p:cNvPr id="89" name="Flowchart: Connector 88">
              <a:extLst>
                <a:ext uri="{FF2B5EF4-FFF2-40B4-BE49-F238E27FC236}">
                  <a16:creationId xmlns:a16="http://schemas.microsoft.com/office/drawing/2014/main" id="{A6A96277-D176-4F49-A0B0-628F7A51FEB9}"/>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lowchart: Connector 89">
              <a:extLst>
                <a:ext uri="{FF2B5EF4-FFF2-40B4-BE49-F238E27FC236}">
                  <a16:creationId xmlns:a16="http://schemas.microsoft.com/office/drawing/2014/main" id="{8D81DD49-2619-43F0-9C95-A597FBA97225}"/>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1" name="Oval 90">
            <a:extLst>
              <a:ext uri="{FF2B5EF4-FFF2-40B4-BE49-F238E27FC236}">
                <a16:creationId xmlns:a16="http://schemas.microsoft.com/office/drawing/2014/main" id="{B2B63F9D-28F1-4B63-9289-CF0E81896DF0}"/>
              </a:ext>
            </a:extLst>
          </p:cNvPr>
          <p:cNvSpPr/>
          <p:nvPr/>
        </p:nvSpPr>
        <p:spPr bwMode="gray">
          <a:xfrm>
            <a:off x="11930010" y="34859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a:t>
            </a:r>
          </a:p>
        </p:txBody>
      </p:sp>
    </p:spTree>
    <p:extLst>
      <p:ext uri="{BB962C8B-B14F-4D97-AF65-F5344CB8AC3E}">
        <p14:creationId xmlns:p14="http://schemas.microsoft.com/office/powerpoint/2010/main" val="1247319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5">
            <a:extLst>
              <a:ext uri="{FF2B5EF4-FFF2-40B4-BE49-F238E27FC236}">
                <a16:creationId xmlns:a16="http://schemas.microsoft.com/office/drawing/2014/main" id="{0BE73610-CAE4-4649-B049-5377301E919A}"/>
              </a:ext>
            </a:extLst>
          </p:cNvPr>
          <p:cNvSpPr/>
          <p:nvPr/>
        </p:nvSpPr>
        <p:spPr bwMode="gray">
          <a:xfrm>
            <a:off x="480066" y="1337191"/>
            <a:ext cx="4075855" cy="49854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5" name="Titel 4"/>
          <p:cNvSpPr>
            <a:spLocks noGrp="1"/>
          </p:cNvSpPr>
          <p:nvPr>
            <p:ph type="title"/>
          </p:nvPr>
        </p:nvSpPr>
        <p:spPr bwMode="gray"/>
        <p:txBody>
          <a:bodyPr vert="horz" lIns="0" tIns="0" rIns="0" bIns="0" rtlCol="0" anchor="b">
            <a:normAutofit/>
          </a:bodyPr>
          <a:lstStyle/>
          <a:p>
            <a:r>
              <a:rPr lang="en-US"/>
              <a:t>Step 4-Advanced text representation: </a:t>
            </a:r>
            <a:r>
              <a:rPr lang="en-US" altLang="zh-CN"/>
              <a:t>Language Model</a:t>
            </a:r>
            <a:endParaRPr lang="en-US"/>
          </a:p>
        </p:txBody>
      </p:sp>
      <p:sp>
        <p:nvSpPr>
          <p:cNvPr id="8" name="Footer Placeholder 7"/>
          <p:cNvSpPr>
            <a:spLocks noGrp="1"/>
          </p:cNvSpPr>
          <p:nvPr>
            <p:ph type="ftr" sz="quarter" idx="11"/>
          </p:nvPr>
        </p:nvSpPr>
        <p:spPr bwMode="gray">
          <a:xfrm>
            <a:off x="1708097"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929268" y="6617933"/>
            <a:ext cx="392326" cy="108000"/>
          </a:xfrm>
        </p:spPr>
        <p:txBody>
          <a:bodyPr vert="horz" lIns="0" tIns="0" rIns="0" bIns="0" rtlCol="0" anchor="t">
            <a:normAutofit/>
          </a:bodyPr>
          <a:lstStyle/>
          <a:p>
            <a:pPr>
              <a:spcAft>
                <a:spcPts val="600"/>
              </a:spcAft>
            </a:pPr>
            <a:fld id="{EEAD9179-7A6B-4268-BEB2-F3B8EB06115B}" type="slidenum">
              <a:rPr lang="en-US" smtClean="0"/>
              <a:pPr>
                <a:spcAft>
                  <a:spcPts val="600"/>
                </a:spcAft>
              </a:pPr>
              <a:t>15</a:t>
            </a:fld>
            <a:endParaRPr lang="en-US"/>
          </a:p>
        </p:txBody>
      </p:sp>
      <p:sp>
        <p:nvSpPr>
          <p:cNvPr id="10" name="Rectangle 9">
            <a:extLst>
              <a:ext uri="{FF2B5EF4-FFF2-40B4-BE49-F238E27FC236}">
                <a16:creationId xmlns:a16="http://schemas.microsoft.com/office/drawing/2014/main" id="{10989507-719D-4BD9-B2E0-5A8E335F31D6}"/>
              </a:ext>
            </a:extLst>
          </p:cNvPr>
          <p:cNvSpPr/>
          <p:nvPr/>
        </p:nvSpPr>
        <p:spPr bwMode="gray">
          <a:xfrm>
            <a:off x="895746" y="1991410"/>
            <a:ext cx="3244492" cy="1155266"/>
          </a:xfrm>
          <a:prstGeom prst="rect">
            <a:avLst/>
          </a:prstGeom>
        </p:spPr>
        <p:txBody>
          <a:bodyPr vert="horz" lIns="0" tIns="0" rIns="0" bIns="0" rtlCol="0">
            <a:normAutofit lnSpcReduction="10000"/>
          </a:bodyPr>
          <a:lstStyle/>
          <a:p>
            <a:pPr>
              <a:spcAft>
                <a:spcPts val="600"/>
              </a:spcAft>
              <a:buSzPts val="4400"/>
            </a:pPr>
            <a:r>
              <a:rPr lang="en-US" altLang="zh-CN" sz="4400" b="1" i="1" baseline="30000">
                <a:solidFill>
                  <a:schemeClr val="accent2"/>
                </a:solidFill>
              </a:rPr>
              <a:t>Language model</a:t>
            </a:r>
          </a:p>
          <a:p>
            <a:pPr>
              <a:lnSpc>
                <a:spcPct val="115000"/>
              </a:lnSpc>
              <a:spcAft>
                <a:spcPts val="600"/>
              </a:spcAft>
              <a:buClr>
                <a:srgbClr val="000000"/>
              </a:buClr>
              <a:buSzPts val="1000"/>
            </a:pPr>
            <a:r>
              <a:rPr lang="en-US" altLang="zh-CN" sz="1400" i="1">
                <a:solidFill>
                  <a:schemeClr val="bg1"/>
                </a:solidFill>
                <a:latin typeface="Arial"/>
                <a:cs typeface="Arial"/>
              </a:rPr>
              <a:t>A general name of neutral network-based models which is used to </a:t>
            </a:r>
            <a:r>
              <a:rPr lang="en-US" altLang="zh-CN" sz="1400" b="1" i="1">
                <a:solidFill>
                  <a:schemeClr val="tx2"/>
                </a:solidFill>
                <a:latin typeface="Arial"/>
                <a:cs typeface="Arial"/>
              </a:rPr>
              <a:t>help computer understand semantics automatically</a:t>
            </a:r>
            <a:endParaRPr lang="en-US" sz="1400" b="1" i="1">
              <a:solidFill>
                <a:schemeClr val="tx2"/>
              </a:solidFill>
              <a:latin typeface="Arial"/>
              <a:cs typeface="Arial"/>
            </a:endParaRPr>
          </a:p>
        </p:txBody>
      </p:sp>
      <p:pic>
        <p:nvPicPr>
          <p:cNvPr id="7" name="Picture 6" descr="Diagram, map&#10;&#10;Description automatically generated">
            <a:extLst>
              <a:ext uri="{FF2B5EF4-FFF2-40B4-BE49-F238E27FC236}">
                <a16:creationId xmlns:a16="http://schemas.microsoft.com/office/drawing/2014/main" id="{9FD0F128-A620-4E44-B54F-178FA14C82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381" y="3429000"/>
            <a:ext cx="3641222" cy="2722785"/>
          </a:xfrm>
          <a:prstGeom prst="rect">
            <a:avLst/>
          </a:prstGeom>
          <a:noFill/>
        </p:spPr>
      </p:pic>
      <p:sp>
        <p:nvSpPr>
          <p:cNvPr id="15" name="TextBox 14">
            <a:extLst>
              <a:ext uri="{FF2B5EF4-FFF2-40B4-BE49-F238E27FC236}">
                <a16:creationId xmlns:a16="http://schemas.microsoft.com/office/drawing/2014/main" id="{96A25B49-2D2B-46EE-A409-26E2AE4DF655}"/>
              </a:ext>
            </a:extLst>
          </p:cNvPr>
          <p:cNvSpPr txBox="1"/>
          <p:nvPr/>
        </p:nvSpPr>
        <p:spPr bwMode="gray">
          <a:xfrm>
            <a:off x="4971603" y="3268613"/>
            <a:ext cx="4075854" cy="1881922"/>
          </a:xfrm>
          <a:prstGeom prst="rect">
            <a:avLst/>
          </a:prstGeom>
          <a:noFill/>
        </p:spPr>
        <p:txBody>
          <a:bodyPr vert="horz" wrap="none" lIns="0" tIns="0" rIns="0" bIns="0" rtlCol="0">
            <a:noAutofit/>
          </a:bodyPr>
          <a:lstStyle/>
          <a:p>
            <a:pPr marL="180000" lvl="1" indent="-180000">
              <a:spcBef>
                <a:spcPts val="300"/>
              </a:spcBef>
              <a:spcAft>
                <a:spcPts val="300"/>
              </a:spcAft>
              <a:buBlip>
                <a:blip r:embed="rId4"/>
              </a:buBlip>
            </a:pPr>
            <a:r>
              <a:rPr lang="zh-CN" altLang="en-US" sz="1400"/>
              <a:t>小明喜欢吃肯德基的</a:t>
            </a:r>
            <a:r>
              <a:rPr lang="en-US" altLang="zh-CN" sz="1400"/>
              <a:t>_______</a:t>
            </a:r>
            <a:r>
              <a:rPr lang="zh-CN" altLang="en-US" sz="1400"/>
              <a:t>。</a:t>
            </a:r>
            <a:endParaRPr lang="en-US" altLang="zh-CN" sz="1400"/>
          </a:p>
          <a:p>
            <a:pPr marL="742876" lvl="1" indent="-285721">
              <a:buFont typeface="Arial" panose="020B0604020202020204" pitchFamily="34" charset="0"/>
              <a:buChar char="•"/>
            </a:pPr>
            <a:r>
              <a:rPr lang="zh-CN" altLang="en-US" sz="1400"/>
              <a:t>汉堡</a:t>
            </a:r>
            <a:r>
              <a:rPr lang="en-US" altLang="zh-CN" sz="1400"/>
              <a:t>----------------30%</a:t>
            </a:r>
          </a:p>
          <a:p>
            <a:pPr marL="742876" lvl="1" indent="-285721">
              <a:buFont typeface="Arial" panose="020B0604020202020204" pitchFamily="34" charset="0"/>
              <a:buChar char="•"/>
            </a:pPr>
            <a:r>
              <a:rPr lang="zh-CN" altLang="en-US" sz="1400"/>
              <a:t>唯散宁</a:t>
            </a:r>
            <a:r>
              <a:rPr lang="en-US" altLang="zh-CN" sz="1400"/>
              <a:t>-------------0.1%</a:t>
            </a:r>
          </a:p>
          <a:p>
            <a:pPr marL="180000" lvl="1" indent="-180000">
              <a:spcBef>
                <a:spcPts val="300"/>
              </a:spcBef>
              <a:spcAft>
                <a:spcPts val="300"/>
              </a:spcAft>
              <a:buBlip>
                <a:blip r:embed="rId4"/>
              </a:buBlip>
            </a:pPr>
            <a:r>
              <a:rPr lang="zh-CN" altLang="en-US" sz="1400"/>
              <a:t>小茗服用</a:t>
            </a:r>
            <a:r>
              <a:rPr lang="en-US" altLang="zh-CN" sz="1400"/>
              <a:t>_______</a:t>
            </a:r>
            <a:r>
              <a:rPr lang="zh-CN" altLang="en-US" sz="1400"/>
              <a:t>来治疗内异症。</a:t>
            </a:r>
            <a:endParaRPr lang="en-US" altLang="zh-CN" sz="1400"/>
          </a:p>
          <a:p>
            <a:pPr marL="742876" lvl="1" indent="-285721">
              <a:buFont typeface="Arial" panose="020B0604020202020204" pitchFamily="34" charset="0"/>
              <a:buChar char="•"/>
            </a:pPr>
            <a:r>
              <a:rPr lang="zh-CN" altLang="en-US" sz="1400"/>
              <a:t>汉堡</a:t>
            </a:r>
            <a:r>
              <a:rPr lang="en-US" altLang="zh-CN" sz="1400"/>
              <a:t>----------------0.1%</a:t>
            </a:r>
          </a:p>
          <a:p>
            <a:pPr marL="742876" lvl="1" indent="-285721">
              <a:buFont typeface="Arial" panose="020B0604020202020204" pitchFamily="34" charset="0"/>
              <a:buChar char="•"/>
            </a:pPr>
            <a:r>
              <a:rPr lang="zh-CN" altLang="en-US" sz="1400"/>
              <a:t>唯散宁</a:t>
            </a:r>
            <a:r>
              <a:rPr lang="en-US" altLang="zh-CN" sz="1400"/>
              <a:t>-------------30%</a:t>
            </a:r>
          </a:p>
        </p:txBody>
      </p:sp>
      <p:sp>
        <p:nvSpPr>
          <p:cNvPr id="17" name="TextBox 16">
            <a:extLst>
              <a:ext uri="{FF2B5EF4-FFF2-40B4-BE49-F238E27FC236}">
                <a16:creationId xmlns:a16="http://schemas.microsoft.com/office/drawing/2014/main" id="{299C3FFB-E0E2-419B-AC59-3A9556E91D16}"/>
              </a:ext>
            </a:extLst>
          </p:cNvPr>
          <p:cNvSpPr txBox="1"/>
          <p:nvPr/>
        </p:nvSpPr>
        <p:spPr bwMode="gray">
          <a:xfrm>
            <a:off x="8163289" y="3267616"/>
            <a:ext cx="3714079" cy="1881923"/>
          </a:xfrm>
          <a:prstGeom prst="rect">
            <a:avLst/>
          </a:prstGeom>
          <a:noFill/>
        </p:spPr>
        <p:txBody>
          <a:bodyPr vert="horz" wrap="none" lIns="0" tIns="0" rIns="0" bIns="0" rtlCol="0">
            <a:noAutofit/>
          </a:bodyPr>
          <a:lstStyle/>
          <a:p>
            <a:pPr marL="180000" lvl="1" indent="-180000">
              <a:spcBef>
                <a:spcPts val="300"/>
              </a:spcBef>
              <a:spcAft>
                <a:spcPts val="300"/>
              </a:spcAft>
              <a:buBlip>
                <a:blip r:embed="rId4"/>
              </a:buBlip>
            </a:pPr>
            <a:r>
              <a:rPr lang="zh-CN" altLang="en-US" sz="1400"/>
              <a:t>小茗有子宫内膜异位症怎么办？</a:t>
            </a:r>
            <a:r>
              <a:rPr lang="en-US" altLang="zh-CN" sz="1400"/>
              <a:t>___Next?_____</a:t>
            </a:r>
          </a:p>
          <a:p>
            <a:pPr marL="360000" lvl="2" indent="-180000">
              <a:spcBef>
                <a:spcPts val="300"/>
              </a:spcBef>
              <a:spcAft>
                <a:spcPts val="300"/>
              </a:spcAft>
              <a:buBlip>
                <a:blip r:embed="rId5"/>
              </a:buBlip>
            </a:pPr>
            <a:r>
              <a:rPr lang="zh-CN" altLang="en-US" sz="1400"/>
              <a:t>拜耳的唯散宁效果不错。</a:t>
            </a:r>
            <a:endParaRPr lang="en-US" altLang="zh-CN" sz="1400"/>
          </a:p>
          <a:p>
            <a:pPr marL="817200" lvl="3" indent="-180000">
              <a:spcBef>
                <a:spcPts val="300"/>
              </a:spcBef>
              <a:spcAft>
                <a:spcPts val="300"/>
              </a:spcAft>
              <a:buBlip>
                <a:blip r:embed="rId5"/>
              </a:buBlip>
            </a:pPr>
            <a:r>
              <a:rPr lang="en-US" altLang="zh-CN" sz="1400"/>
              <a:t>Yes----------------70%</a:t>
            </a:r>
          </a:p>
          <a:p>
            <a:pPr marL="817200" lvl="3" indent="-180000">
              <a:spcBef>
                <a:spcPts val="300"/>
              </a:spcBef>
              <a:spcAft>
                <a:spcPts val="300"/>
              </a:spcAft>
              <a:buBlip>
                <a:blip r:embed="rId5"/>
              </a:buBlip>
            </a:pPr>
            <a:r>
              <a:rPr lang="en-US" altLang="zh-CN" sz="1400"/>
              <a:t>No-----------------30%</a:t>
            </a:r>
          </a:p>
          <a:p>
            <a:pPr marL="360000" lvl="2" indent="-180000">
              <a:spcBef>
                <a:spcPts val="300"/>
              </a:spcBef>
              <a:spcAft>
                <a:spcPts val="300"/>
              </a:spcAft>
              <a:buBlip>
                <a:blip r:embed="rId5"/>
              </a:buBlip>
            </a:pPr>
            <a:r>
              <a:rPr lang="zh-CN" altLang="en-US" sz="1400"/>
              <a:t>肯德基的汉堡挺好吃。</a:t>
            </a:r>
            <a:endParaRPr lang="en-US" altLang="zh-CN" sz="1400"/>
          </a:p>
          <a:p>
            <a:pPr marL="817200" lvl="3" indent="-180000">
              <a:spcBef>
                <a:spcPts val="300"/>
              </a:spcBef>
              <a:spcAft>
                <a:spcPts val="300"/>
              </a:spcAft>
              <a:buBlip>
                <a:blip r:embed="rId5"/>
              </a:buBlip>
            </a:pPr>
            <a:r>
              <a:rPr lang="en-US" altLang="zh-CN" sz="1400"/>
              <a:t>Yes----------------30%</a:t>
            </a:r>
          </a:p>
          <a:p>
            <a:pPr marL="817200" lvl="3" indent="-180000">
              <a:spcBef>
                <a:spcPts val="300"/>
              </a:spcBef>
              <a:spcAft>
                <a:spcPts val="300"/>
              </a:spcAft>
              <a:buBlip>
                <a:blip r:embed="rId5"/>
              </a:buBlip>
            </a:pPr>
            <a:r>
              <a:rPr lang="en-US" altLang="zh-CN" sz="1400"/>
              <a:t>No-----------------70%</a:t>
            </a:r>
          </a:p>
          <a:p>
            <a:pPr marL="180000" lvl="1" indent="-180000">
              <a:spcBef>
                <a:spcPts val="300"/>
              </a:spcBef>
              <a:spcAft>
                <a:spcPts val="300"/>
              </a:spcAft>
              <a:buBlip>
                <a:blip r:embed="rId4"/>
              </a:buBlip>
            </a:pPr>
            <a:endParaRPr lang="en-US" altLang="zh-CN" sz="1400"/>
          </a:p>
        </p:txBody>
      </p:sp>
      <p:sp>
        <p:nvSpPr>
          <p:cNvPr id="18" name="TextBox 17">
            <a:extLst>
              <a:ext uri="{FF2B5EF4-FFF2-40B4-BE49-F238E27FC236}">
                <a16:creationId xmlns:a16="http://schemas.microsoft.com/office/drawing/2014/main" id="{F645B2C1-3274-4044-9618-128B95BAB5FE}"/>
              </a:ext>
            </a:extLst>
          </p:cNvPr>
          <p:cNvSpPr txBox="1"/>
          <p:nvPr/>
        </p:nvSpPr>
        <p:spPr bwMode="gray">
          <a:xfrm>
            <a:off x="4971604" y="2770760"/>
            <a:ext cx="3004632"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b="1">
                <a:solidFill>
                  <a:srgbClr val="443247"/>
                </a:solidFill>
              </a:rPr>
              <a:t>Task 1: Cloze Test</a:t>
            </a:r>
          </a:p>
        </p:txBody>
      </p:sp>
      <p:sp>
        <p:nvSpPr>
          <p:cNvPr id="20" name="TextBox 19">
            <a:extLst>
              <a:ext uri="{FF2B5EF4-FFF2-40B4-BE49-F238E27FC236}">
                <a16:creationId xmlns:a16="http://schemas.microsoft.com/office/drawing/2014/main" id="{CFDC9654-E22F-4931-B06B-D0BC0BEDB88C}"/>
              </a:ext>
            </a:extLst>
          </p:cNvPr>
          <p:cNvSpPr txBox="1"/>
          <p:nvPr/>
        </p:nvSpPr>
        <p:spPr bwMode="gray">
          <a:xfrm>
            <a:off x="8144581" y="2769763"/>
            <a:ext cx="3916836"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b="1">
                <a:solidFill>
                  <a:srgbClr val="443247"/>
                </a:solidFill>
              </a:rPr>
              <a:t>Task 2: N</a:t>
            </a:r>
            <a:r>
              <a:rPr lang="en-US" altLang="zh-CN" b="1" err="1">
                <a:solidFill>
                  <a:srgbClr val="443247"/>
                </a:solidFill>
              </a:rPr>
              <a:t>ext</a:t>
            </a:r>
            <a:r>
              <a:rPr lang="en-US" altLang="zh-CN" b="1">
                <a:solidFill>
                  <a:srgbClr val="443247"/>
                </a:solidFill>
              </a:rPr>
              <a:t> </a:t>
            </a:r>
            <a:r>
              <a:rPr lang="en-GB" b="1">
                <a:solidFill>
                  <a:srgbClr val="443247"/>
                </a:solidFill>
              </a:rPr>
              <a:t>Sentence Prediction</a:t>
            </a:r>
          </a:p>
        </p:txBody>
      </p:sp>
      <p:sp>
        <p:nvSpPr>
          <p:cNvPr id="27" name="TextBox 26">
            <a:extLst>
              <a:ext uri="{FF2B5EF4-FFF2-40B4-BE49-F238E27FC236}">
                <a16:creationId xmlns:a16="http://schemas.microsoft.com/office/drawing/2014/main" id="{CB68E523-7479-4F5B-A378-45B1C484D67D}"/>
              </a:ext>
            </a:extLst>
          </p:cNvPr>
          <p:cNvSpPr txBox="1"/>
          <p:nvPr/>
        </p:nvSpPr>
        <p:spPr bwMode="gray">
          <a:xfrm>
            <a:off x="4854166" y="1776059"/>
            <a:ext cx="7207251" cy="492443"/>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sz="3200" b="1" i="1">
                <a:solidFill>
                  <a:schemeClr val="accent2"/>
                </a:solidFill>
              </a:rPr>
              <a:t>Bert: train computer to do two tasks</a:t>
            </a:r>
          </a:p>
        </p:txBody>
      </p:sp>
      <p:cxnSp>
        <p:nvCxnSpPr>
          <p:cNvPr id="28" name="Straight Connector 27">
            <a:extLst>
              <a:ext uri="{FF2B5EF4-FFF2-40B4-BE49-F238E27FC236}">
                <a16:creationId xmlns:a16="http://schemas.microsoft.com/office/drawing/2014/main" id="{889DA6D6-71CE-4290-A674-A602B001E921}"/>
              </a:ext>
            </a:extLst>
          </p:cNvPr>
          <p:cNvCxnSpPr>
            <a:cxnSpLocks/>
          </p:cNvCxnSpPr>
          <p:nvPr/>
        </p:nvCxnSpPr>
        <p:spPr bwMode="gray">
          <a:xfrm>
            <a:off x="7896049" y="2794809"/>
            <a:ext cx="23725" cy="242612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75718C9-B9DC-45D4-AE09-293E53ED11D9}"/>
              </a:ext>
            </a:extLst>
          </p:cNvPr>
          <p:cNvCxnSpPr>
            <a:cxnSpLocks/>
          </p:cNvCxnSpPr>
          <p:nvPr/>
        </p:nvCxnSpPr>
        <p:spPr bwMode="gray">
          <a:xfrm>
            <a:off x="4864470" y="2292886"/>
            <a:ext cx="6998633" cy="2162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D10313E-36C1-435D-B438-B93623CB2909}"/>
              </a:ext>
            </a:extLst>
          </p:cNvPr>
          <p:cNvGrpSpPr/>
          <p:nvPr/>
        </p:nvGrpSpPr>
        <p:grpSpPr>
          <a:xfrm>
            <a:off x="10947419" y="121406"/>
            <a:ext cx="1176925" cy="304109"/>
            <a:chOff x="7530052" y="5001373"/>
            <a:chExt cx="1176925" cy="304109"/>
          </a:xfrm>
        </p:grpSpPr>
        <p:sp>
          <p:nvSpPr>
            <p:cNvPr id="19" name="Rectangle 18">
              <a:extLst>
                <a:ext uri="{FF2B5EF4-FFF2-40B4-BE49-F238E27FC236}">
                  <a16:creationId xmlns:a16="http://schemas.microsoft.com/office/drawing/2014/main" id="{AC27D749-D96C-4C87-B29B-4357F0D9199C}"/>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dirty="0">
                  <a:ln w="0"/>
                  <a:solidFill>
                    <a:schemeClr val="tx1"/>
                  </a:solidFill>
                  <a:effectLst>
                    <a:outerShdw blurRad="38100" dist="19050" dir="2700000" algn="tl" rotWithShape="0">
                      <a:schemeClr val="dk1">
                        <a:alpha val="40000"/>
                      </a:schemeClr>
                    </a:outerShdw>
                  </a:effectLst>
                </a:rPr>
                <a:t>text  》numbers</a:t>
              </a:r>
              <a:endParaRPr lang="en-US" sz="1100" b="0" cap="none" spc="0" dirty="0">
                <a:ln w="0"/>
                <a:solidFill>
                  <a:schemeClr val="tx1"/>
                </a:solidFill>
                <a:effectLst>
                  <a:outerShdw blurRad="38100" dist="19050" dir="2700000" algn="tl" rotWithShape="0">
                    <a:schemeClr val="dk1">
                      <a:alpha val="40000"/>
                    </a:schemeClr>
                  </a:outerShdw>
                </a:effectLst>
              </a:endParaRPr>
            </a:p>
          </p:txBody>
        </p:sp>
        <p:sp>
          <p:nvSpPr>
            <p:cNvPr id="21" name="Flowchart: Connector 20">
              <a:extLst>
                <a:ext uri="{FF2B5EF4-FFF2-40B4-BE49-F238E27FC236}">
                  <a16:creationId xmlns:a16="http://schemas.microsoft.com/office/drawing/2014/main" id="{306AD08F-113A-4CDE-A437-7E07BDA3BABB}"/>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Connector 21">
              <a:extLst>
                <a:ext uri="{FF2B5EF4-FFF2-40B4-BE49-F238E27FC236}">
                  <a16:creationId xmlns:a16="http://schemas.microsoft.com/office/drawing/2014/main" id="{62D8F029-3B84-457D-B68A-EEB1769F4422}"/>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Oval 23">
            <a:extLst>
              <a:ext uri="{FF2B5EF4-FFF2-40B4-BE49-F238E27FC236}">
                <a16:creationId xmlns:a16="http://schemas.microsoft.com/office/drawing/2014/main" id="{6B938785-0A65-4140-832C-3902E4208863}"/>
              </a:ext>
            </a:extLst>
          </p:cNvPr>
          <p:cNvSpPr/>
          <p:nvPr/>
        </p:nvSpPr>
        <p:spPr bwMode="gray">
          <a:xfrm>
            <a:off x="11930010" y="34859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a:t>
            </a:r>
          </a:p>
        </p:txBody>
      </p:sp>
    </p:spTree>
    <p:extLst>
      <p:ext uri="{BB962C8B-B14F-4D97-AF65-F5344CB8AC3E}">
        <p14:creationId xmlns:p14="http://schemas.microsoft.com/office/powerpoint/2010/main" val="393211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1">
            <a:extLst>
              <a:ext uri="{FF2B5EF4-FFF2-40B4-BE49-F238E27FC236}">
                <a16:creationId xmlns:a16="http://schemas.microsoft.com/office/drawing/2014/main" id="{D80E3F28-A55B-4499-9B7C-9730F0C3CC6F}"/>
              </a:ext>
            </a:extLst>
          </p:cNvPr>
          <p:cNvSpPr>
            <a:spLocks noGrp="1"/>
          </p:cNvSpPr>
          <p:nvPr>
            <p:ph type="subTitle" idx="13"/>
          </p:nvPr>
        </p:nvSpPr>
        <p:spPr/>
        <p:txBody>
          <a:bodyPr/>
          <a:lstStyle/>
          <a:p>
            <a:endParaRPr lang="en-US"/>
          </a:p>
        </p:txBody>
      </p:sp>
      <p:sp>
        <p:nvSpPr>
          <p:cNvPr id="5" name="Titel 4"/>
          <p:cNvSpPr>
            <a:spLocks noGrp="1"/>
          </p:cNvSpPr>
          <p:nvPr>
            <p:ph type="title"/>
          </p:nvPr>
        </p:nvSpPr>
        <p:spPr bwMode="gray"/>
        <p:txBody>
          <a:bodyPr vert="horz" lIns="0" tIns="0" rIns="0" bIns="0" rtlCol="0" anchor="b">
            <a:normAutofit/>
          </a:bodyPr>
          <a:lstStyle/>
          <a:p>
            <a:r>
              <a:rPr lang="en-US" altLang="zh-CN"/>
              <a:t>Language model – Bert: Better text representation</a:t>
            </a:r>
            <a:endParaRPr lang="en-US"/>
          </a:p>
        </p:txBody>
      </p:sp>
      <p:sp>
        <p:nvSpPr>
          <p:cNvPr id="8" name="Footer Placeholder 7"/>
          <p:cNvSpPr>
            <a:spLocks noGrp="1"/>
          </p:cNvSpPr>
          <p:nvPr>
            <p:ph type="ftr" sz="quarter" idx="11"/>
          </p:nvPr>
        </p:nvSpPr>
        <p:spPr bwMode="gray">
          <a:xfrm>
            <a:off x="1717622"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938793"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16</a:t>
            </a:fld>
            <a:endParaRPr lang="en-US">
              <a:solidFill>
                <a:srgbClr val="443247"/>
              </a:solidFill>
            </a:endParaRPr>
          </a:p>
        </p:txBody>
      </p:sp>
      <p:sp>
        <p:nvSpPr>
          <p:cNvPr id="15" name="TextBox 14">
            <a:extLst>
              <a:ext uri="{FF2B5EF4-FFF2-40B4-BE49-F238E27FC236}">
                <a16:creationId xmlns:a16="http://schemas.microsoft.com/office/drawing/2014/main" id="{F8A34314-9B09-4AED-B999-AF7E1059CBBC}"/>
              </a:ext>
            </a:extLst>
          </p:cNvPr>
          <p:cNvSpPr txBox="1"/>
          <p:nvPr/>
        </p:nvSpPr>
        <p:spPr bwMode="gray">
          <a:xfrm>
            <a:off x="1042992" y="2075364"/>
            <a:ext cx="4968785" cy="3693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2400" b="1">
                <a:solidFill>
                  <a:schemeClr val="accent2"/>
                </a:solidFill>
              </a:rPr>
              <a:t>L</a:t>
            </a:r>
            <a:r>
              <a:rPr lang="en-US" altLang="zh-CN" sz="2400" b="1" err="1">
                <a:solidFill>
                  <a:schemeClr val="accent2"/>
                </a:solidFill>
              </a:rPr>
              <a:t>ess</a:t>
            </a:r>
            <a:r>
              <a:rPr lang="en-GB" sz="2400" b="1">
                <a:solidFill>
                  <a:schemeClr val="accent2"/>
                </a:solidFill>
              </a:rPr>
              <a:t> space</a:t>
            </a:r>
          </a:p>
        </p:txBody>
      </p:sp>
      <p:cxnSp>
        <p:nvCxnSpPr>
          <p:cNvPr id="16" name="Straight Connector 15">
            <a:extLst>
              <a:ext uri="{FF2B5EF4-FFF2-40B4-BE49-F238E27FC236}">
                <a16:creationId xmlns:a16="http://schemas.microsoft.com/office/drawing/2014/main" id="{32ADCD96-F3EC-4649-AD9A-21F9B2A24739}"/>
              </a:ext>
            </a:extLst>
          </p:cNvPr>
          <p:cNvCxnSpPr>
            <a:cxnSpLocks/>
          </p:cNvCxnSpPr>
          <p:nvPr/>
        </p:nvCxnSpPr>
        <p:spPr bwMode="gray">
          <a:xfrm>
            <a:off x="1037565" y="2484020"/>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0499FD4-FAC2-440C-8C41-FD5424D3EDDF}"/>
              </a:ext>
            </a:extLst>
          </p:cNvPr>
          <p:cNvSpPr txBox="1"/>
          <p:nvPr/>
        </p:nvSpPr>
        <p:spPr bwMode="gray">
          <a:xfrm>
            <a:off x="6762381" y="2149724"/>
            <a:ext cx="4968785" cy="3693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sz="2400" b="1">
                <a:solidFill>
                  <a:schemeClr val="accent2"/>
                </a:solidFill>
              </a:rPr>
              <a:t>More accurate semantics</a:t>
            </a:r>
          </a:p>
        </p:txBody>
      </p:sp>
      <p:cxnSp>
        <p:nvCxnSpPr>
          <p:cNvPr id="18" name="Straight Connector 17">
            <a:extLst>
              <a:ext uri="{FF2B5EF4-FFF2-40B4-BE49-F238E27FC236}">
                <a16:creationId xmlns:a16="http://schemas.microsoft.com/office/drawing/2014/main" id="{0E2DE591-E5E6-421C-A84D-4373F7522108}"/>
              </a:ext>
            </a:extLst>
          </p:cNvPr>
          <p:cNvCxnSpPr>
            <a:cxnSpLocks/>
          </p:cNvCxnSpPr>
          <p:nvPr/>
        </p:nvCxnSpPr>
        <p:spPr bwMode="gray">
          <a:xfrm>
            <a:off x="6718653" y="2482490"/>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E7730D9-3DCB-40E8-AE1F-2ADA091A9F1E}"/>
              </a:ext>
            </a:extLst>
          </p:cNvPr>
          <p:cNvCxnSpPr>
            <a:cxnSpLocks/>
          </p:cNvCxnSpPr>
          <p:nvPr/>
        </p:nvCxnSpPr>
        <p:spPr bwMode="gray">
          <a:xfrm>
            <a:off x="6326582" y="2676525"/>
            <a:ext cx="0" cy="3808358"/>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7" name="Picture 86">
            <a:extLst>
              <a:ext uri="{FF2B5EF4-FFF2-40B4-BE49-F238E27FC236}">
                <a16:creationId xmlns:a16="http://schemas.microsoft.com/office/drawing/2014/main" id="{23D18EAD-7596-4869-8024-E0B9D2C80272}"/>
              </a:ext>
            </a:extLst>
          </p:cNvPr>
          <p:cNvPicPr>
            <a:picLocks noChangeAspect="1"/>
          </p:cNvPicPr>
          <p:nvPr/>
        </p:nvPicPr>
        <p:blipFill>
          <a:blip r:embed="rId7"/>
          <a:stretch>
            <a:fillRect/>
          </a:stretch>
        </p:blipFill>
        <p:spPr>
          <a:xfrm>
            <a:off x="1716564" y="4520368"/>
            <a:ext cx="2998831" cy="1457704"/>
          </a:xfrm>
          <a:prstGeom prst="rect">
            <a:avLst/>
          </a:prstGeom>
        </p:spPr>
      </p:pic>
      <p:grpSp>
        <p:nvGrpSpPr>
          <p:cNvPr id="88" name="Group 87">
            <a:extLst>
              <a:ext uri="{FF2B5EF4-FFF2-40B4-BE49-F238E27FC236}">
                <a16:creationId xmlns:a16="http://schemas.microsoft.com/office/drawing/2014/main" id="{B1F2F51B-3BA1-450A-9E7B-57822565724A}"/>
              </a:ext>
            </a:extLst>
          </p:cNvPr>
          <p:cNvGrpSpPr/>
          <p:nvPr/>
        </p:nvGrpSpPr>
        <p:grpSpPr>
          <a:xfrm>
            <a:off x="1530292" y="2814813"/>
            <a:ext cx="3365929" cy="895102"/>
            <a:chOff x="6763788" y="2332916"/>
            <a:chExt cx="5286458" cy="878400"/>
          </a:xfrm>
        </p:grpSpPr>
        <p:pic>
          <p:nvPicPr>
            <p:cNvPr id="89" name="Picture 2" descr="01_什么是one-hot编码、one-hot编码过程详解、为什么需要one-hot编码？one-hot 编码的优缺点、使用sklearn中的API举例_涂作权的博客-CSDN博客_onehot编码的优缺点">
              <a:extLst>
                <a:ext uri="{FF2B5EF4-FFF2-40B4-BE49-F238E27FC236}">
                  <a16:creationId xmlns:a16="http://schemas.microsoft.com/office/drawing/2014/main" id="{4B1E0599-9ABE-4F9E-B6B8-B85DD12337D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65" t="17839" r="18832"/>
            <a:stretch/>
          </p:blipFill>
          <p:spPr bwMode="auto">
            <a:xfrm>
              <a:off x="6763788" y="2332916"/>
              <a:ext cx="2639419" cy="87840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01_什么是one-hot编码、one-hot编码过程详解、为什么需要one-hot编码？one-hot 编码的优缺点、使用sklearn中的API举例_涂作权的博客-CSDN博客_onehot编码的优缺点">
              <a:extLst>
                <a:ext uri="{FF2B5EF4-FFF2-40B4-BE49-F238E27FC236}">
                  <a16:creationId xmlns:a16="http://schemas.microsoft.com/office/drawing/2014/main" id="{31CDEAEF-663F-44CB-B6A4-5816AC9DC72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65" t="17839" r="18832"/>
            <a:stretch/>
          </p:blipFill>
          <p:spPr bwMode="auto">
            <a:xfrm>
              <a:off x="9410827" y="2332916"/>
              <a:ext cx="2639419" cy="878400"/>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TextBox 90">
            <a:extLst>
              <a:ext uri="{FF2B5EF4-FFF2-40B4-BE49-F238E27FC236}">
                <a16:creationId xmlns:a16="http://schemas.microsoft.com/office/drawing/2014/main" id="{64DA898B-B302-4B5A-A36B-D086EDB64346}"/>
              </a:ext>
            </a:extLst>
          </p:cNvPr>
          <p:cNvSpPr txBox="1"/>
          <p:nvPr/>
        </p:nvSpPr>
        <p:spPr bwMode="gray">
          <a:xfrm>
            <a:off x="2345964" y="3795424"/>
            <a:ext cx="1840631" cy="276963"/>
          </a:xfrm>
          <a:prstGeom prst="rect">
            <a:avLst/>
          </a:prstGeom>
          <a:noFill/>
        </p:spPr>
        <p:txBody>
          <a:bodyPr wrap="square">
            <a:spAutoFit/>
          </a:bodyPr>
          <a:lstStyle/>
          <a:p>
            <a:r>
              <a:rPr lang="en-US" altLang="zh-CN" sz="1200" b="1">
                <a:solidFill>
                  <a:srgbClr val="443247"/>
                </a:solidFill>
                <a:latin typeface="+mj-lt"/>
              </a:rPr>
              <a:t>1,000,000 dimensions</a:t>
            </a:r>
            <a:endParaRPr lang="en-US" sz="1200" b="1">
              <a:solidFill>
                <a:srgbClr val="443247"/>
              </a:solidFill>
              <a:latin typeface="+mj-lt"/>
            </a:endParaRPr>
          </a:p>
        </p:txBody>
      </p:sp>
      <p:sp>
        <p:nvSpPr>
          <p:cNvPr id="92" name="Arrow: Right 91">
            <a:extLst>
              <a:ext uri="{FF2B5EF4-FFF2-40B4-BE49-F238E27FC236}">
                <a16:creationId xmlns:a16="http://schemas.microsoft.com/office/drawing/2014/main" id="{E823A049-407C-4540-BB11-6B5EE85F047A}"/>
              </a:ext>
            </a:extLst>
          </p:cNvPr>
          <p:cNvSpPr/>
          <p:nvPr/>
        </p:nvSpPr>
        <p:spPr bwMode="gray">
          <a:xfrm rot="5400000">
            <a:off x="3077199" y="4131853"/>
            <a:ext cx="276963" cy="329049"/>
          </a:xfrm>
          <a:prstGeom prst="rightArrow">
            <a:avLst/>
          </a:prstGeom>
          <a:solidFill>
            <a:srgbClr val="443247"/>
          </a:solidFill>
          <a:ln>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rgbClr val="443247"/>
              </a:solidFill>
              <a:latin typeface="Arial" panose="020B0604020202020204" pitchFamily="34" charset="0"/>
            </a:endParaRPr>
          </a:p>
        </p:txBody>
      </p:sp>
      <p:sp>
        <p:nvSpPr>
          <p:cNvPr id="93" name="TextBox 92">
            <a:extLst>
              <a:ext uri="{FF2B5EF4-FFF2-40B4-BE49-F238E27FC236}">
                <a16:creationId xmlns:a16="http://schemas.microsoft.com/office/drawing/2014/main" id="{2B2BA080-3C3C-4A15-9B65-B45F0324F84D}"/>
              </a:ext>
            </a:extLst>
          </p:cNvPr>
          <p:cNvSpPr txBox="1"/>
          <p:nvPr/>
        </p:nvSpPr>
        <p:spPr bwMode="gray">
          <a:xfrm>
            <a:off x="2215320" y="6021039"/>
            <a:ext cx="1840631" cy="276963"/>
          </a:xfrm>
          <a:prstGeom prst="rect">
            <a:avLst/>
          </a:prstGeom>
          <a:noFill/>
        </p:spPr>
        <p:txBody>
          <a:bodyPr wrap="square">
            <a:spAutoFit/>
          </a:bodyPr>
          <a:lstStyle/>
          <a:p>
            <a:r>
              <a:rPr lang="en-US" altLang="zh-CN" sz="1200" b="1">
                <a:solidFill>
                  <a:srgbClr val="443247"/>
                </a:solidFill>
                <a:latin typeface="+mj-lt"/>
              </a:rPr>
              <a:t>100~300 dimensions</a:t>
            </a:r>
            <a:endParaRPr lang="en-US" sz="1200" b="1">
              <a:solidFill>
                <a:srgbClr val="443247"/>
              </a:solidFill>
              <a:latin typeface="+mj-lt"/>
            </a:endParaRPr>
          </a:p>
        </p:txBody>
      </p:sp>
      <p:cxnSp>
        <p:nvCxnSpPr>
          <p:cNvPr id="94" name="Straight Arrow Connector 93">
            <a:extLst>
              <a:ext uri="{FF2B5EF4-FFF2-40B4-BE49-F238E27FC236}">
                <a16:creationId xmlns:a16="http://schemas.microsoft.com/office/drawing/2014/main" id="{FC401CE1-1F8B-4B44-B30F-695A80670403}"/>
              </a:ext>
            </a:extLst>
          </p:cNvPr>
          <p:cNvCxnSpPr>
            <a:cxnSpLocks/>
          </p:cNvCxnSpPr>
          <p:nvPr/>
        </p:nvCxnSpPr>
        <p:spPr bwMode="gray">
          <a:xfrm flipH="1" flipV="1">
            <a:off x="8535593" y="4741344"/>
            <a:ext cx="22887" cy="1047883"/>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AAD39D64-68AA-4C1B-BB87-1780AC51AF06}"/>
              </a:ext>
            </a:extLst>
          </p:cNvPr>
          <p:cNvCxnSpPr>
            <a:cxnSpLocks/>
          </p:cNvCxnSpPr>
          <p:nvPr/>
        </p:nvCxnSpPr>
        <p:spPr bwMode="gray">
          <a:xfrm flipH="1">
            <a:off x="8034672" y="5789226"/>
            <a:ext cx="523807" cy="417306"/>
          </a:xfrm>
          <a:prstGeom prst="straightConnector1">
            <a:avLst/>
          </a:prstGeom>
          <a:ln w="6350">
            <a:solidFill>
              <a:srgbClr val="FF316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99DB97B4-06C4-46EA-8FD1-2D4A2CAE7B5C}"/>
              </a:ext>
            </a:extLst>
          </p:cNvPr>
          <p:cNvCxnSpPr>
            <a:cxnSpLocks/>
          </p:cNvCxnSpPr>
          <p:nvPr/>
        </p:nvCxnSpPr>
        <p:spPr bwMode="gray">
          <a:xfrm>
            <a:off x="8558479" y="5789226"/>
            <a:ext cx="923805" cy="17133"/>
          </a:xfrm>
          <a:prstGeom prst="straightConnector1">
            <a:avLst/>
          </a:prstGeom>
          <a:ln w="6350">
            <a:solidFill>
              <a:srgbClr val="FF3162"/>
            </a:solidFill>
            <a:tailEnd type="triangle"/>
          </a:ln>
        </p:spPr>
        <p:style>
          <a:lnRef idx="1">
            <a:schemeClr val="accent1"/>
          </a:lnRef>
          <a:fillRef idx="0">
            <a:schemeClr val="accent1"/>
          </a:fillRef>
          <a:effectRef idx="0">
            <a:schemeClr val="accent1"/>
          </a:effectRef>
          <a:fontRef idx="minor">
            <a:schemeClr val="tx1"/>
          </a:fontRef>
        </p:style>
      </p:cxnSp>
      <p:sp>
        <p:nvSpPr>
          <p:cNvPr id="97" name="Flowchart: Connector 96">
            <a:extLst>
              <a:ext uri="{FF2B5EF4-FFF2-40B4-BE49-F238E27FC236}">
                <a16:creationId xmlns:a16="http://schemas.microsoft.com/office/drawing/2014/main" id="{68786EF3-1313-4BEF-AE52-27FA1D63132F}"/>
              </a:ext>
            </a:extLst>
          </p:cNvPr>
          <p:cNvSpPr/>
          <p:nvPr/>
        </p:nvSpPr>
        <p:spPr bwMode="gray">
          <a:xfrm>
            <a:off x="8842287" y="534161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98" name="Flowchart: Connector 97">
            <a:extLst>
              <a:ext uri="{FF2B5EF4-FFF2-40B4-BE49-F238E27FC236}">
                <a16:creationId xmlns:a16="http://schemas.microsoft.com/office/drawing/2014/main" id="{AE5ED01F-929D-41EF-AB17-65087A712DFB}"/>
              </a:ext>
            </a:extLst>
          </p:cNvPr>
          <p:cNvSpPr/>
          <p:nvPr/>
        </p:nvSpPr>
        <p:spPr bwMode="gray">
          <a:xfrm>
            <a:off x="8874666" y="542361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99" name="Flowchart: Connector 98">
            <a:extLst>
              <a:ext uri="{FF2B5EF4-FFF2-40B4-BE49-F238E27FC236}">
                <a16:creationId xmlns:a16="http://schemas.microsoft.com/office/drawing/2014/main" id="{3DA89C4F-B4F3-43D7-94F6-995CB784D154}"/>
              </a:ext>
            </a:extLst>
          </p:cNvPr>
          <p:cNvSpPr/>
          <p:nvPr/>
        </p:nvSpPr>
        <p:spPr bwMode="gray">
          <a:xfrm>
            <a:off x="8994667" y="549399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0" name="Flowchart: Connector 99">
            <a:extLst>
              <a:ext uri="{FF2B5EF4-FFF2-40B4-BE49-F238E27FC236}">
                <a16:creationId xmlns:a16="http://schemas.microsoft.com/office/drawing/2014/main" id="{2655AB5D-AD6F-4E71-98A6-37940A668F36}"/>
              </a:ext>
            </a:extLst>
          </p:cNvPr>
          <p:cNvSpPr/>
          <p:nvPr/>
        </p:nvSpPr>
        <p:spPr bwMode="gray">
          <a:xfrm>
            <a:off x="9027046" y="557599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1" name="Flowchart: Connector 100">
            <a:extLst>
              <a:ext uri="{FF2B5EF4-FFF2-40B4-BE49-F238E27FC236}">
                <a16:creationId xmlns:a16="http://schemas.microsoft.com/office/drawing/2014/main" id="{133171F1-20DA-4FED-8881-603E77FC10DB}"/>
              </a:ext>
            </a:extLst>
          </p:cNvPr>
          <p:cNvSpPr/>
          <p:nvPr/>
        </p:nvSpPr>
        <p:spPr bwMode="gray">
          <a:xfrm>
            <a:off x="8612770" y="5463363"/>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2" name="Flowchart: Connector 101">
            <a:extLst>
              <a:ext uri="{FF2B5EF4-FFF2-40B4-BE49-F238E27FC236}">
                <a16:creationId xmlns:a16="http://schemas.microsoft.com/office/drawing/2014/main" id="{15EB33D9-E9A4-4B77-9E00-AF7A4009BC2C}"/>
              </a:ext>
            </a:extLst>
          </p:cNvPr>
          <p:cNvSpPr/>
          <p:nvPr/>
        </p:nvSpPr>
        <p:spPr bwMode="gray">
          <a:xfrm>
            <a:off x="8645149" y="554536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3" name="Flowchart: Connector 102">
            <a:extLst>
              <a:ext uri="{FF2B5EF4-FFF2-40B4-BE49-F238E27FC236}">
                <a16:creationId xmlns:a16="http://schemas.microsoft.com/office/drawing/2014/main" id="{62E5AF96-A2A3-48CC-9560-41BC4A0B2ABC}"/>
              </a:ext>
            </a:extLst>
          </p:cNvPr>
          <p:cNvSpPr/>
          <p:nvPr/>
        </p:nvSpPr>
        <p:spPr bwMode="gray">
          <a:xfrm>
            <a:off x="8765150" y="5615743"/>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4" name="Flowchart: Connector 103">
            <a:extLst>
              <a:ext uri="{FF2B5EF4-FFF2-40B4-BE49-F238E27FC236}">
                <a16:creationId xmlns:a16="http://schemas.microsoft.com/office/drawing/2014/main" id="{8DA1FEF4-E170-47AB-ABB2-3389C1D5B66B}"/>
              </a:ext>
            </a:extLst>
          </p:cNvPr>
          <p:cNvSpPr/>
          <p:nvPr/>
        </p:nvSpPr>
        <p:spPr bwMode="gray">
          <a:xfrm>
            <a:off x="8797529" y="569774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5" name="Flowchart: Connector 104">
            <a:extLst>
              <a:ext uri="{FF2B5EF4-FFF2-40B4-BE49-F238E27FC236}">
                <a16:creationId xmlns:a16="http://schemas.microsoft.com/office/drawing/2014/main" id="{62EC6407-E63D-4AAE-9EBE-1AF6FB6D98ED}"/>
              </a:ext>
            </a:extLst>
          </p:cNvPr>
          <p:cNvSpPr/>
          <p:nvPr/>
        </p:nvSpPr>
        <p:spPr bwMode="gray">
          <a:xfrm>
            <a:off x="8994667" y="549399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6" name="Flowchart: Connector 105">
            <a:extLst>
              <a:ext uri="{FF2B5EF4-FFF2-40B4-BE49-F238E27FC236}">
                <a16:creationId xmlns:a16="http://schemas.microsoft.com/office/drawing/2014/main" id="{252CEAF9-820B-45EB-9AC9-48A1EF3429E7}"/>
              </a:ext>
            </a:extLst>
          </p:cNvPr>
          <p:cNvSpPr/>
          <p:nvPr/>
        </p:nvSpPr>
        <p:spPr bwMode="gray">
          <a:xfrm>
            <a:off x="9027046" y="557599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7" name="Flowchart: Connector 106">
            <a:extLst>
              <a:ext uri="{FF2B5EF4-FFF2-40B4-BE49-F238E27FC236}">
                <a16:creationId xmlns:a16="http://schemas.microsoft.com/office/drawing/2014/main" id="{F81C555D-6A43-40B0-AC1A-FFE2126BDC6A}"/>
              </a:ext>
            </a:extLst>
          </p:cNvPr>
          <p:cNvSpPr/>
          <p:nvPr/>
        </p:nvSpPr>
        <p:spPr bwMode="gray">
          <a:xfrm>
            <a:off x="9147047" y="564637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8" name="Flowchart: Connector 107">
            <a:extLst>
              <a:ext uri="{FF2B5EF4-FFF2-40B4-BE49-F238E27FC236}">
                <a16:creationId xmlns:a16="http://schemas.microsoft.com/office/drawing/2014/main" id="{3C666A17-20E8-45AA-A3C8-5005F5312122}"/>
              </a:ext>
            </a:extLst>
          </p:cNvPr>
          <p:cNvSpPr/>
          <p:nvPr/>
        </p:nvSpPr>
        <p:spPr bwMode="gray">
          <a:xfrm>
            <a:off x="9179426" y="572837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09" name="Flowchart: Connector 108">
            <a:extLst>
              <a:ext uri="{FF2B5EF4-FFF2-40B4-BE49-F238E27FC236}">
                <a16:creationId xmlns:a16="http://schemas.microsoft.com/office/drawing/2014/main" id="{BC71FA54-206C-4F3F-BFE5-0852852EC23E}"/>
              </a:ext>
            </a:extLst>
          </p:cNvPr>
          <p:cNvSpPr/>
          <p:nvPr/>
        </p:nvSpPr>
        <p:spPr bwMode="gray">
          <a:xfrm>
            <a:off x="8765150" y="5615743"/>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0" name="Flowchart: Connector 109">
            <a:extLst>
              <a:ext uri="{FF2B5EF4-FFF2-40B4-BE49-F238E27FC236}">
                <a16:creationId xmlns:a16="http://schemas.microsoft.com/office/drawing/2014/main" id="{69F75F1D-3F97-4459-AA59-8417862E376F}"/>
              </a:ext>
            </a:extLst>
          </p:cNvPr>
          <p:cNvSpPr/>
          <p:nvPr/>
        </p:nvSpPr>
        <p:spPr bwMode="gray">
          <a:xfrm>
            <a:off x="8797529" y="569774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1" name="Flowchart: Connector 110">
            <a:extLst>
              <a:ext uri="{FF2B5EF4-FFF2-40B4-BE49-F238E27FC236}">
                <a16:creationId xmlns:a16="http://schemas.microsoft.com/office/drawing/2014/main" id="{045A9172-FD70-4A60-B7F6-4C694E24C355}"/>
              </a:ext>
            </a:extLst>
          </p:cNvPr>
          <p:cNvSpPr/>
          <p:nvPr/>
        </p:nvSpPr>
        <p:spPr bwMode="gray">
          <a:xfrm>
            <a:off x="8917530" y="5768123"/>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2" name="Flowchart: Connector 111">
            <a:extLst>
              <a:ext uri="{FF2B5EF4-FFF2-40B4-BE49-F238E27FC236}">
                <a16:creationId xmlns:a16="http://schemas.microsoft.com/office/drawing/2014/main" id="{699326DD-8075-4D77-9B6B-409CE3ED1E5A}"/>
              </a:ext>
            </a:extLst>
          </p:cNvPr>
          <p:cNvSpPr/>
          <p:nvPr/>
        </p:nvSpPr>
        <p:spPr bwMode="gray">
          <a:xfrm>
            <a:off x="8949909" y="585013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3" name="Flowchart: Connector 112">
            <a:extLst>
              <a:ext uri="{FF2B5EF4-FFF2-40B4-BE49-F238E27FC236}">
                <a16:creationId xmlns:a16="http://schemas.microsoft.com/office/drawing/2014/main" id="{93020E21-E663-4145-8DBC-FB260E713383}"/>
              </a:ext>
            </a:extLst>
          </p:cNvPr>
          <p:cNvSpPr/>
          <p:nvPr/>
        </p:nvSpPr>
        <p:spPr bwMode="gray">
          <a:xfrm>
            <a:off x="8450861" y="542084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4" name="Flowchart: Connector 113">
            <a:extLst>
              <a:ext uri="{FF2B5EF4-FFF2-40B4-BE49-F238E27FC236}">
                <a16:creationId xmlns:a16="http://schemas.microsoft.com/office/drawing/2014/main" id="{1A99E013-8166-4A25-BAB3-674F7C35DC89}"/>
              </a:ext>
            </a:extLst>
          </p:cNvPr>
          <p:cNvSpPr/>
          <p:nvPr/>
        </p:nvSpPr>
        <p:spPr bwMode="gray">
          <a:xfrm>
            <a:off x="8483240" y="550285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5" name="Flowchart: Connector 114">
            <a:extLst>
              <a:ext uri="{FF2B5EF4-FFF2-40B4-BE49-F238E27FC236}">
                <a16:creationId xmlns:a16="http://schemas.microsoft.com/office/drawing/2014/main" id="{850C928B-49D9-4661-861A-6370F873876D}"/>
              </a:ext>
            </a:extLst>
          </p:cNvPr>
          <p:cNvSpPr/>
          <p:nvPr/>
        </p:nvSpPr>
        <p:spPr bwMode="gray">
          <a:xfrm>
            <a:off x="8603241" y="557322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6" name="Flowchart: Connector 115">
            <a:extLst>
              <a:ext uri="{FF2B5EF4-FFF2-40B4-BE49-F238E27FC236}">
                <a16:creationId xmlns:a16="http://schemas.microsoft.com/office/drawing/2014/main" id="{EB22E69E-9B97-4C7B-82C0-3C4E4C57A9E6}"/>
              </a:ext>
            </a:extLst>
          </p:cNvPr>
          <p:cNvSpPr/>
          <p:nvPr/>
        </p:nvSpPr>
        <p:spPr bwMode="gray">
          <a:xfrm>
            <a:off x="8635620" y="565523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7" name="Flowchart: Connector 116">
            <a:extLst>
              <a:ext uri="{FF2B5EF4-FFF2-40B4-BE49-F238E27FC236}">
                <a16:creationId xmlns:a16="http://schemas.microsoft.com/office/drawing/2014/main" id="{96D19933-C3AE-4CF8-8327-3921AFB3704F}"/>
              </a:ext>
            </a:extLst>
          </p:cNvPr>
          <p:cNvSpPr/>
          <p:nvPr/>
        </p:nvSpPr>
        <p:spPr bwMode="gray">
          <a:xfrm>
            <a:off x="8221344" y="5542602"/>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8" name="Flowchart: Connector 117">
            <a:extLst>
              <a:ext uri="{FF2B5EF4-FFF2-40B4-BE49-F238E27FC236}">
                <a16:creationId xmlns:a16="http://schemas.microsoft.com/office/drawing/2014/main" id="{A60DCEE5-604D-4DE1-8734-5BEB84666715}"/>
              </a:ext>
            </a:extLst>
          </p:cNvPr>
          <p:cNvSpPr/>
          <p:nvPr/>
        </p:nvSpPr>
        <p:spPr bwMode="gray">
          <a:xfrm>
            <a:off x="8253723" y="562460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19" name="Flowchart: Connector 118">
            <a:extLst>
              <a:ext uri="{FF2B5EF4-FFF2-40B4-BE49-F238E27FC236}">
                <a16:creationId xmlns:a16="http://schemas.microsoft.com/office/drawing/2014/main" id="{1D1137C7-E2B3-4A32-BE67-7C5B58512A38}"/>
              </a:ext>
            </a:extLst>
          </p:cNvPr>
          <p:cNvSpPr/>
          <p:nvPr/>
        </p:nvSpPr>
        <p:spPr bwMode="gray">
          <a:xfrm>
            <a:off x="8373724" y="5694982"/>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0" name="Flowchart: Connector 119">
            <a:extLst>
              <a:ext uri="{FF2B5EF4-FFF2-40B4-BE49-F238E27FC236}">
                <a16:creationId xmlns:a16="http://schemas.microsoft.com/office/drawing/2014/main" id="{21B7B03E-1E96-4815-89CD-C337516BA44C}"/>
              </a:ext>
            </a:extLst>
          </p:cNvPr>
          <p:cNvSpPr/>
          <p:nvPr/>
        </p:nvSpPr>
        <p:spPr bwMode="gray">
          <a:xfrm>
            <a:off x="8406103" y="577698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1" name="Flowchart: Connector 120">
            <a:extLst>
              <a:ext uri="{FF2B5EF4-FFF2-40B4-BE49-F238E27FC236}">
                <a16:creationId xmlns:a16="http://schemas.microsoft.com/office/drawing/2014/main" id="{897D81D2-2952-44F6-8976-5D5920ACE848}"/>
              </a:ext>
            </a:extLst>
          </p:cNvPr>
          <p:cNvSpPr/>
          <p:nvPr/>
        </p:nvSpPr>
        <p:spPr bwMode="gray">
          <a:xfrm>
            <a:off x="8603241" y="557322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2" name="Flowchart: Connector 121">
            <a:extLst>
              <a:ext uri="{FF2B5EF4-FFF2-40B4-BE49-F238E27FC236}">
                <a16:creationId xmlns:a16="http://schemas.microsoft.com/office/drawing/2014/main" id="{68F12E61-0A2B-4749-87D2-8C91C1487CF8}"/>
              </a:ext>
            </a:extLst>
          </p:cNvPr>
          <p:cNvSpPr/>
          <p:nvPr/>
        </p:nvSpPr>
        <p:spPr bwMode="gray">
          <a:xfrm>
            <a:off x="8635620" y="565523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3" name="Flowchart: Connector 122">
            <a:extLst>
              <a:ext uri="{FF2B5EF4-FFF2-40B4-BE49-F238E27FC236}">
                <a16:creationId xmlns:a16="http://schemas.microsoft.com/office/drawing/2014/main" id="{BDDEBDC0-C3DF-4775-BF0E-73DE3CBD6552}"/>
              </a:ext>
            </a:extLst>
          </p:cNvPr>
          <p:cNvSpPr/>
          <p:nvPr/>
        </p:nvSpPr>
        <p:spPr bwMode="gray">
          <a:xfrm>
            <a:off x="8755621" y="572560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4" name="Flowchart: Connector 123">
            <a:extLst>
              <a:ext uri="{FF2B5EF4-FFF2-40B4-BE49-F238E27FC236}">
                <a16:creationId xmlns:a16="http://schemas.microsoft.com/office/drawing/2014/main" id="{E1E311BD-D523-4C88-9A85-D5917DA6E633}"/>
              </a:ext>
            </a:extLst>
          </p:cNvPr>
          <p:cNvSpPr/>
          <p:nvPr/>
        </p:nvSpPr>
        <p:spPr bwMode="gray">
          <a:xfrm>
            <a:off x="8788000" y="580761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5" name="Flowchart: Connector 124">
            <a:extLst>
              <a:ext uri="{FF2B5EF4-FFF2-40B4-BE49-F238E27FC236}">
                <a16:creationId xmlns:a16="http://schemas.microsoft.com/office/drawing/2014/main" id="{570E9CAD-1BAF-4535-9FE8-9EFB648185D5}"/>
              </a:ext>
            </a:extLst>
          </p:cNvPr>
          <p:cNvSpPr/>
          <p:nvPr/>
        </p:nvSpPr>
        <p:spPr bwMode="gray">
          <a:xfrm>
            <a:off x="8373724" y="5694982"/>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6" name="Flowchart: Connector 125">
            <a:extLst>
              <a:ext uri="{FF2B5EF4-FFF2-40B4-BE49-F238E27FC236}">
                <a16:creationId xmlns:a16="http://schemas.microsoft.com/office/drawing/2014/main" id="{8E1D55F3-933E-4FF4-9C22-8A011D97A6E2}"/>
              </a:ext>
            </a:extLst>
          </p:cNvPr>
          <p:cNvSpPr/>
          <p:nvPr/>
        </p:nvSpPr>
        <p:spPr bwMode="gray">
          <a:xfrm>
            <a:off x="8406103" y="577698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7" name="Flowchart: Connector 126">
            <a:extLst>
              <a:ext uri="{FF2B5EF4-FFF2-40B4-BE49-F238E27FC236}">
                <a16:creationId xmlns:a16="http://schemas.microsoft.com/office/drawing/2014/main" id="{D63BA0F2-21E3-44EB-AB46-784C09D0DAA2}"/>
              </a:ext>
            </a:extLst>
          </p:cNvPr>
          <p:cNvSpPr/>
          <p:nvPr/>
        </p:nvSpPr>
        <p:spPr bwMode="gray">
          <a:xfrm>
            <a:off x="8526104" y="5847362"/>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8" name="Flowchart: Connector 127">
            <a:extLst>
              <a:ext uri="{FF2B5EF4-FFF2-40B4-BE49-F238E27FC236}">
                <a16:creationId xmlns:a16="http://schemas.microsoft.com/office/drawing/2014/main" id="{EB3420F2-3D28-4310-9742-460E9F47CC2F}"/>
              </a:ext>
            </a:extLst>
          </p:cNvPr>
          <p:cNvSpPr/>
          <p:nvPr/>
        </p:nvSpPr>
        <p:spPr bwMode="gray">
          <a:xfrm>
            <a:off x="8558483" y="592936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29" name="Flowchart: Connector 128">
            <a:extLst>
              <a:ext uri="{FF2B5EF4-FFF2-40B4-BE49-F238E27FC236}">
                <a16:creationId xmlns:a16="http://schemas.microsoft.com/office/drawing/2014/main" id="{F3C247D4-BD85-4DCB-9516-A5D5BE7B8832}"/>
              </a:ext>
            </a:extLst>
          </p:cNvPr>
          <p:cNvSpPr/>
          <p:nvPr/>
        </p:nvSpPr>
        <p:spPr bwMode="gray">
          <a:xfrm>
            <a:off x="8689907" y="500844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0" name="Flowchart: Connector 129">
            <a:extLst>
              <a:ext uri="{FF2B5EF4-FFF2-40B4-BE49-F238E27FC236}">
                <a16:creationId xmlns:a16="http://schemas.microsoft.com/office/drawing/2014/main" id="{439C3F8B-2570-4DFD-A81E-8F8ECAD30FF8}"/>
              </a:ext>
            </a:extLst>
          </p:cNvPr>
          <p:cNvSpPr/>
          <p:nvPr/>
        </p:nvSpPr>
        <p:spPr bwMode="gray">
          <a:xfrm>
            <a:off x="8722286" y="509045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1" name="Flowchart: Connector 130">
            <a:extLst>
              <a:ext uri="{FF2B5EF4-FFF2-40B4-BE49-F238E27FC236}">
                <a16:creationId xmlns:a16="http://schemas.microsoft.com/office/drawing/2014/main" id="{A10E7256-B979-4941-8132-3E0CE63C1AB3}"/>
              </a:ext>
            </a:extLst>
          </p:cNvPr>
          <p:cNvSpPr/>
          <p:nvPr/>
        </p:nvSpPr>
        <p:spPr bwMode="gray">
          <a:xfrm>
            <a:off x="8842287" y="516082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2" name="Flowchart: Connector 131">
            <a:extLst>
              <a:ext uri="{FF2B5EF4-FFF2-40B4-BE49-F238E27FC236}">
                <a16:creationId xmlns:a16="http://schemas.microsoft.com/office/drawing/2014/main" id="{F584C2D6-4C55-48EA-9171-C74917EA50BA}"/>
              </a:ext>
            </a:extLst>
          </p:cNvPr>
          <p:cNvSpPr/>
          <p:nvPr/>
        </p:nvSpPr>
        <p:spPr bwMode="gray">
          <a:xfrm>
            <a:off x="8874666" y="524283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3" name="Flowchart: Connector 132">
            <a:extLst>
              <a:ext uri="{FF2B5EF4-FFF2-40B4-BE49-F238E27FC236}">
                <a16:creationId xmlns:a16="http://schemas.microsoft.com/office/drawing/2014/main" id="{355E208F-916B-4749-BA9F-E5298FA18FFB}"/>
              </a:ext>
            </a:extLst>
          </p:cNvPr>
          <p:cNvSpPr/>
          <p:nvPr/>
        </p:nvSpPr>
        <p:spPr bwMode="gray">
          <a:xfrm>
            <a:off x="8460390" y="5130197"/>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4" name="Flowchart: Connector 133">
            <a:extLst>
              <a:ext uri="{FF2B5EF4-FFF2-40B4-BE49-F238E27FC236}">
                <a16:creationId xmlns:a16="http://schemas.microsoft.com/office/drawing/2014/main" id="{22975853-5D4B-4C5E-916A-45BACAF11599}"/>
              </a:ext>
            </a:extLst>
          </p:cNvPr>
          <p:cNvSpPr/>
          <p:nvPr/>
        </p:nvSpPr>
        <p:spPr bwMode="gray">
          <a:xfrm>
            <a:off x="8492769" y="521220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5" name="Flowchart: Connector 134">
            <a:extLst>
              <a:ext uri="{FF2B5EF4-FFF2-40B4-BE49-F238E27FC236}">
                <a16:creationId xmlns:a16="http://schemas.microsoft.com/office/drawing/2014/main" id="{D0C86DC9-FE99-4483-B9FF-4D2009FCD8C3}"/>
              </a:ext>
            </a:extLst>
          </p:cNvPr>
          <p:cNvSpPr/>
          <p:nvPr/>
        </p:nvSpPr>
        <p:spPr bwMode="gray">
          <a:xfrm>
            <a:off x="8612770" y="528257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6" name="Flowchart: Connector 135">
            <a:extLst>
              <a:ext uri="{FF2B5EF4-FFF2-40B4-BE49-F238E27FC236}">
                <a16:creationId xmlns:a16="http://schemas.microsoft.com/office/drawing/2014/main" id="{A26CC56C-0B48-4F1B-9FD4-9B3828C21C4F}"/>
              </a:ext>
            </a:extLst>
          </p:cNvPr>
          <p:cNvSpPr/>
          <p:nvPr/>
        </p:nvSpPr>
        <p:spPr bwMode="gray">
          <a:xfrm>
            <a:off x="8645149" y="536458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7" name="Flowchart: Connector 136">
            <a:extLst>
              <a:ext uri="{FF2B5EF4-FFF2-40B4-BE49-F238E27FC236}">
                <a16:creationId xmlns:a16="http://schemas.microsoft.com/office/drawing/2014/main" id="{40EB936E-F989-40ED-88C8-45F5B1A0610E}"/>
              </a:ext>
            </a:extLst>
          </p:cNvPr>
          <p:cNvSpPr/>
          <p:nvPr/>
        </p:nvSpPr>
        <p:spPr bwMode="gray">
          <a:xfrm>
            <a:off x="8842287" y="516082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8" name="Flowchart: Connector 137">
            <a:extLst>
              <a:ext uri="{FF2B5EF4-FFF2-40B4-BE49-F238E27FC236}">
                <a16:creationId xmlns:a16="http://schemas.microsoft.com/office/drawing/2014/main" id="{AB4E6320-46D2-4072-970B-3E6F3BA5445F}"/>
              </a:ext>
            </a:extLst>
          </p:cNvPr>
          <p:cNvSpPr/>
          <p:nvPr/>
        </p:nvSpPr>
        <p:spPr bwMode="gray">
          <a:xfrm>
            <a:off x="8874666" y="524283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39" name="Flowchart: Connector 138">
            <a:extLst>
              <a:ext uri="{FF2B5EF4-FFF2-40B4-BE49-F238E27FC236}">
                <a16:creationId xmlns:a16="http://schemas.microsoft.com/office/drawing/2014/main" id="{127D7779-6970-4907-9D71-D09E0BC27C89}"/>
              </a:ext>
            </a:extLst>
          </p:cNvPr>
          <p:cNvSpPr/>
          <p:nvPr/>
        </p:nvSpPr>
        <p:spPr bwMode="gray">
          <a:xfrm>
            <a:off x="8994667" y="531320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40" name="Flowchart: Connector 139">
            <a:extLst>
              <a:ext uri="{FF2B5EF4-FFF2-40B4-BE49-F238E27FC236}">
                <a16:creationId xmlns:a16="http://schemas.microsoft.com/office/drawing/2014/main" id="{E06EAC22-0D61-460E-ABAC-BDFAA4E503D8}"/>
              </a:ext>
            </a:extLst>
          </p:cNvPr>
          <p:cNvSpPr/>
          <p:nvPr/>
        </p:nvSpPr>
        <p:spPr bwMode="gray">
          <a:xfrm>
            <a:off x="9027046" y="539521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41" name="Flowchart: Connector 140">
            <a:extLst>
              <a:ext uri="{FF2B5EF4-FFF2-40B4-BE49-F238E27FC236}">
                <a16:creationId xmlns:a16="http://schemas.microsoft.com/office/drawing/2014/main" id="{528D73CD-3628-4D2F-964C-C4F80CC117DF}"/>
              </a:ext>
            </a:extLst>
          </p:cNvPr>
          <p:cNvSpPr/>
          <p:nvPr/>
        </p:nvSpPr>
        <p:spPr bwMode="gray">
          <a:xfrm>
            <a:off x="8612770" y="528257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42" name="Flowchart: Connector 141">
            <a:extLst>
              <a:ext uri="{FF2B5EF4-FFF2-40B4-BE49-F238E27FC236}">
                <a16:creationId xmlns:a16="http://schemas.microsoft.com/office/drawing/2014/main" id="{ABDFB36F-3023-45C3-AA23-809A3F02339E}"/>
              </a:ext>
            </a:extLst>
          </p:cNvPr>
          <p:cNvSpPr/>
          <p:nvPr/>
        </p:nvSpPr>
        <p:spPr bwMode="gray">
          <a:xfrm>
            <a:off x="8645149" y="536458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43" name="Flowchart: Connector 142">
            <a:extLst>
              <a:ext uri="{FF2B5EF4-FFF2-40B4-BE49-F238E27FC236}">
                <a16:creationId xmlns:a16="http://schemas.microsoft.com/office/drawing/2014/main" id="{E0FA1420-036F-4B8C-8936-BF66490DE6D1}"/>
              </a:ext>
            </a:extLst>
          </p:cNvPr>
          <p:cNvSpPr/>
          <p:nvPr/>
        </p:nvSpPr>
        <p:spPr bwMode="gray">
          <a:xfrm>
            <a:off x="8765150" y="543495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44" name="Flowchart: Connector 143">
            <a:extLst>
              <a:ext uri="{FF2B5EF4-FFF2-40B4-BE49-F238E27FC236}">
                <a16:creationId xmlns:a16="http://schemas.microsoft.com/office/drawing/2014/main" id="{4E31AF2C-96BC-48B9-913E-4F9A7E4AFE73}"/>
              </a:ext>
            </a:extLst>
          </p:cNvPr>
          <p:cNvSpPr/>
          <p:nvPr/>
        </p:nvSpPr>
        <p:spPr bwMode="gray">
          <a:xfrm>
            <a:off x="8797529" y="551696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cxnSp>
        <p:nvCxnSpPr>
          <p:cNvPr id="145" name="Straight Connector 144">
            <a:extLst>
              <a:ext uri="{FF2B5EF4-FFF2-40B4-BE49-F238E27FC236}">
                <a16:creationId xmlns:a16="http://schemas.microsoft.com/office/drawing/2014/main" id="{567E9B09-A82C-4AC3-92E0-D5D154FA36A7}"/>
              </a:ext>
            </a:extLst>
          </p:cNvPr>
          <p:cNvCxnSpPr>
            <a:cxnSpLocks/>
          </p:cNvCxnSpPr>
          <p:nvPr/>
        </p:nvCxnSpPr>
        <p:spPr bwMode="gray">
          <a:xfrm flipV="1">
            <a:off x="9169904" y="5264983"/>
            <a:ext cx="485169" cy="408692"/>
          </a:xfrm>
          <a:prstGeom prst="line">
            <a:avLst/>
          </a:prstGeom>
          <a:ln>
            <a:solidFill>
              <a:srgbClr val="00BCFF"/>
            </a:solidFill>
            <a:headEnd type="oval"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46" name="TextBox 145">
            <a:extLst>
              <a:ext uri="{FF2B5EF4-FFF2-40B4-BE49-F238E27FC236}">
                <a16:creationId xmlns:a16="http://schemas.microsoft.com/office/drawing/2014/main" id="{7BB2F5C2-0F97-491C-86B4-BB96758554B9}"/>
              </a:ext>
            </a:extLst>
          </p:cNvPr>
          <p:cNvSpPr txBox="1"/>
          <p:nvPr/>
        </p:nvSpPr>
        <p:spPr bwMode="gray">
          <a:xfrm>
            <a:off x="9570034" y="5006598"/>
            <a:ext cx="1128162" cy="276963"/>
          </a:xfrm>
          <a:prstGeom prst="rect">
            <a:avLst/>
          </a:prstGeom>
          <a:noFill/>
        </p:spPr>
        <p:txBody>
          <a:bodyPr wrap="square">
            <a:spAutoFit/>
          </a:bodyPr>
          <a:lstStyle/>
          <a:p>
            <a:r>
              <a:rPr lang="en-US" altLang="zh-CN" sz="1200" b="1" err="1">
                <a:solidFill>
                  <a:srgbClr val="443247"/>
                </a:solidFill>
              </a:rPr>
              <a:t>Kerendia</a:t>
            </a:r>
            <a:endParaRPr lang="en-US" sz="1200" b="1">
              <a:solidFill>
                <a:srgbClr val="443247"/>
              </a:solidFill>
            </a:endParaRPr>
          </a:p>
        </p:txBody>
      </p:sp>
      <p:cxnSp>
        <p:nvCxnSpPr>
          <p:cNvPr id="147" name="Straight Connector 146">
            <a:extLst>
              <a:ext uri="{FF2B5EF4-FFF2-40B4-BE49-F238E27FC236}">
                <a16:creationId xmlns:a16="http://schemas.microsoft.com/office/drawing/2014/main" id="{12B7950F-00D8-4402-B56C-FF01D1111517}"/>
              </a:ext>
            </a:extLst>
          </p:cNvPr>
          <p:cNvCxnSpPr>
            <a:cxnSpLocks/>
            <a:stCxn id="108" idx="7"/>
          </p:cNvCxnSpPr>
          <p:nvPr/>
        </p:nvCxnSpPr>
        <p:spPr bwMode="gray">
          <a:xfrm flipV="1">
            <a:off x="9218445" y="5548568"/>
            <a:ext cx="569274" cy="186503"/>
          </a:xfrm>
          <a:prstGeom prst="line">
            <a:avLst/>
          </a:prstGeom>
          <a:ln>
            <a:solidFill>
              <a:srgbClr val="00BCFF"/>
            </a:solidFill>
            <a:headEnd type="oval"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48" name="TextBox 147">
            <a:extLst>
              <a:ext uri="{FF2B5EF4-FFF2-40B4-BE49-F238E27FC236}">
                <a16:creationId xmlns:a16="http://schemas.microsoft.com/office/drawing/2014/main" id="{DAB11002-B651-418A-B63D-6C01849BE194}"/>
              </a:ext>
            </a:extLst>
          </p:cNvPr>
          <p:cNvSpPr txBox="1"/>
          <p:nvPr/>
        </p:nvSpPr>
        <p:spPr bwMode="gray">
          <a:xfrm>
            <a:off x="9750591" y="5373612"/>
            <a:ext cx="1011150" cy="276963"/>
          </a:xfrm>
          <a:prstGeom prst="rect">
            <a:avLst/>
          </a:prstGeom>
          <a:noFill/>
        </p:spPr>
        <p:txBody>
          <a:bodyPr wrap="square">
            <a:spAutoFit/>
          </a:bodyPr>
          <a:lstStyle/>
          <a:p>
            <a:r>
              <a:rPr lang="en-US" altLang="zh-CN" sz="1200" b="1" err="1">
                <a:solidFill>
                  <a:srgbClr val="443247"/>
                </a:solidFill>
              </a:rPr>
              <a:t>Finerenone</a:t>
            </a:r>
            <a:endParaRPr lang="en-US" sz="1200" b="1">
              <a:solidFill>
                <a:srgbClr val="443247"/>
              </a:solidFill>
            </a:endParaRPr>
          </a:p>
        </p:txBody>
      </p:sp>
      <p:cxnSp>
        <p:nvCxnSpPr>
          <p:cNvPr id="149" name="Straight Arrow Connector 148">
            <a:extLst>
              <a:ext uri="{FF2B5EF4-FFF2-40B4-BE49-F238E27FC236}">
                <a16:creationId xmlns:a16="http://schemas.microsoft.com/office/drawing/2014/main" id="{03E509AE-23CE-490B-B420-5172BA2194EB}"/>
              </a:ext>
            </a:extLst>
          </p:cNvPr>
          <p:cNvCxnSpPr>
            <a:cxnSpLocks/>
          </p:cNvCxnSpPr>
          <p:nvPr/>
        </p:nvCxnSpPr>
        <p:spPr bwMode="gray">
          <a:xfrm flipH="1" flipV="1">
            <a:off x="8840584" y="2800165"/>
            <a:ext cx="14761" cy="1107033"/>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71B80827-0B03-4E00-BEEE-51EDDBDEE572}"/>
              </a:ext>
            </a:extLst>
          </p:cNvPr>
          <p:cNvCxnSpPr>
            <a:cxnSpLocks/>
          </p:cNvCxnSpPr>
          <p:nvPr/>
        </p:nvCxnSpPr>
        <p:spPr bwMode="gray">
          <a:xfrm flipH="1">
            <a:off x="8331538" y="3907197"/>
            <a:ext cx="523807" cy="417306"/>
          </a:xfrm>
          <a:prstGeom prst="straightConnector1">
            <a:avLst/>
          </a:prstGeom>
          <a:ln w="6350">
            <a:solidFill>
              <a:srgbClr val="FF3162"/>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AADBB07D-AC64-40F4-9D55-68C3D410131F}"/>
              </a:ext>
            </a:extLst>
          </p:cNvPr>
          <p:cNvCxnSpPr>
            <a:cxnSpLocks/>
          </p:cNvCxnSpPr>
          <p:nvPr/>
        </p:nvCxnSpPr>
        <p:spPr bwMode="gray">
          <a:xfrm>
            <a:off x="8855344" y="3907198"/>
            <a:ext cx="923805" cy="17133"/>
          </a:xfrm>
          <a:prstGeom prst="straightConnector1">
            <a:avLst/>
          </a:prstGeom>
          <a:ln w="6350">
            <a:solidFill>
              <a:srgbClr val="FF3162"/>
            </a:solidFill>
            <a:tailEnd type="triangle"/>
          </a:ln>
        </p:spPr>
        <p:style>
          <a:lnRef idx="1">
            <a:schemeClr val="accent1"/>
          </a:lnRef>
          <a:fillRef idx="0">
            <a:schemeClr val="accent1"/>
          </a:fillRef>
          <a:effectRef idx="0">
            <a:schemeClr val="accent1"/>
          </a:effectRef>
          <a:fontRef idx="minor">
            <a:schemeClr val="tx1"/>
          </a:fontRef>
        </p:style>
      </p:cxnSp>
      <p:sp>
        <p:nvSpPr>
          <p:cNvPr id="152" name="Flowchart: Connector 151">
            <a:extLst>
              <a:ext uri="{FF2B5EF4-FFF2-40B4-BE49-F238E27FC236}">
                <a16:creationId xmlns:a16="http://schemas.microsoft.com/office/drawing/2014/main" id="{CEE24C8E-2CDF-47A5-A82B-3F9248DA2A89}"/>
              </a:ext>
            </a:extLst>
          </p:cNvPr>
          <p:cNvSpPr/>
          <p:nvPr/>
        </p:nvSpPr>
        <p:spPr bwMode="gray">
          <a:xfrm>
            <a:off x="9139152" y="345958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53" name="Flowchart: Connector 152">
            <a:extLst>
              <a:ext uri="{FF2B5EF4-FFF2-40B4-BE49-F238E27FC236}">
                <a16:creationId xmlns:a16="http://schemas.microsoft.com/office/drawing/2014/main" id="{7809E162-1697-4C98-A08E-29F72454A94E}"/>
              </a:ext>
            </a:extLst>
          </p:cNvPr>
          <p:cNvSpPr/>
          <p:nvPr/>
        </p:nvSpPr>
        <p:spPr bwMode="gray">
          <a:xfrm>
            <a:off x="9171531" y="3541587"/>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54" name="Flowchart: Connector 153">
            <a:extLst>
              <a:ext uri="{FF2B5EF4-FFF2-40B4-BE49-F238E27FC236}">
                <a16:creationId xmlns:a16="http://schemas.microsoft.com/office/drawing/2014/main" id="{110C620F-EB5A-4F05-BB5B-7B65B9CAD708}"/>
              </a:ext>
            </a:extLst>
          </p:cNvPr>
          <p:cNvSpPr/>
          <p:nvPr/>
        </p:nvSpPr>
        <p:spPr bwMode="gray">
          <a:xfrm>
            <a:off x="9291533" y="361196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55" name="Flowchart: Connector 154">
            <a:extLst>
              <a:ext uri="{FF2B5EF4-FFF2-40B4-BE49-F238E27FC236}">
                <a16:creationId xmlns:a16="http://schemas.microsoft.com/office/drawing/2014/main" id="{19079375-BA70-44D4-A2A3-87D2652B3B70}"/>
              </a:ext>
            </a:extLst>
          </p:cNvPr>
          <p:cNvSpPr/>
          <p:nvPr/>
        </p:nvSpPr>
        <p:spPr bwMode="gray">
          <a:xfrm>
            <a:off x="9323911" y="369396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56" name="Flowchart: Connector 155">
            <a:extLst>
              <a:ext uri="{FF2B5EF4-FFF2-40B4-BE49-F238E27FC236}">
                <a16:creationId xmlns:a16="http://schemas.microsoft.com/office/drawing/2014/main" id="{865252BB-3B5A-4373-980C-C7138117EEE8}"/>
              </a:ext>
            </a:extLst>
          </p:cNvPr>
          <p:cNvSpPr/>
          <p:nvPr/>
        </p:nvSpPr>
        <p:spPr bwMode="gray">
          <a:xfrm>
            <a:off x="8909635" y="358133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57" name="Flowchart: Connector 156">
            <a:extLst>
              <a:ext uri="{FF2B5EF4-FFF2-40B4-BE49-F238E27FC236}">
                <a16:creationId xmlns:a16="http://schemas.microsoft.com/office/drawing/2014/main" id="{D7F33CC9-E7A2-46A4-BD72-7C118226BD05}"/>
              </a:ext>
            </a:extLst>
          </p:cNvPr>
          <p:cNvSpPr/>
          <p:nvPr/>
        </p:nvSpPr>
        <p:spPr bwMode="gray">
          <a:xfrm>
            <a:off x="8942014" y="366334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58" name="Flowchart: Connector 157">
            <a:extLst>
              <a:ext uri="{FF2B5EF4-FFF2-40B4-BE49-F238E27FC236}">
                <a16:creationId xmlns:a16="http://schemas.microsoft.com/office/drawing/2014/main" id="{EFA1EF8C-14C4-4740-BA82-1F267D0B0864}"/>
              </a:ext>
            </a:extLst>
          </p:cNvPr>
          <p:cNvSpPr/>
          <p:nvPr/>
        </p:nvSpPr>
        <p:spPr bwMode="gray">
          <a:xfrm>
            <a:off x="9062016" y="373371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59" name="Flowchart: Connector 158">
            <a:extLst>
              <a:ext uri="{FF2B5EF4-FFF2-40B4-BE49-F238E27FC236}">
                <a16:creationId xmlns:a16="http://schemas.microsoft.com/office/drawing/2014/main" id="{68082A28-FB24-4214-8DE5-2E0CC28AC25A}"/>
              </a:ext>
            </a:extLst>
          </p:cNvPr>
          <p:cNvSpPr/>
          <p:nvPr/>
        </p:nvSpPr>
        <p:spPr bwMode="gray">
          <a:xfrm>
            <a:off x="9094394" y="381572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0" name="Flowchart: Connector 159">
            <a:extLst>
              <a:ext uri="{FF2B5EF4-FFF2-40B4-BE49-F238E27FC236}">
                <a16:creationId xmlns:a16="http://schemas.microsoft.com/office/drawing/2014/main" id="{821983DB-09AC-410F-9C3F-4D1A101F22B2}"/>
              </a:ext>
            </a:extLst>
          </p:cNvPr>
          <p:cNvSpPr/>
          <p:nvPr/>
        </p:nvSpPr>
        <p:spPr bwMode="gray">
          <a:xfrm>
            <a:off x="9291533" y="361196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1" name="Flowchart: Connector 160">
            <a:extLst>
              <a:ext uri="{FF2B5EF4-FFF2-40B4-BE49-F238E27FC236}">
                <a16:creationId xmlns:a16="http://schemas.microsoft.com/office/drawing/2014/main" id="{5F56AF44-1607-4FFF-B391-FEB94CBABB72}"/>
              </a:ext>
            </a:extLst>
          </p:cNvPr>
          <p:cNvSpPr/>
          <p:nvPr/>
        </p:nvSpPr>
        <p:spPr bwMode="gray">
          <a:xfrm>
            <a:off x="9323911" y="369396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2" name="Flowchart: Connector 161">
            <a:extLst>
              <a:ext uri="{FF2B5EF4-FFF2-40B4-BE49-F238E27FC236}">
                <a16:creationId xmlns:a16="http://schemas.microsoft.com/office/drawing/2014/main" id="{ED67876A-BF49-4BAF-A780-C53C506AF0E2}"/>
              </a:ext>
            </a:extLst>
          </p:cNvPr>
          <p:cNvSpPr/>
          <p:nvPr/>
        </p:nvSpPr>
        <p:spPr bwMode="gray">
          <a:xfrm>
            <a:off x="9443913" y="376434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3" name="Flowchart: Connector 162">
            <a:extLst>
              <a:ext uri="{FF2B5EF4-FFF2-40B4-BE49-F238E27FC236}">
                <a16:creationId xmlns:a16="http://schemas.microsoft.com/office/drawing/2014/main" id="{8E58477B-C672-43E1-8303-C23E72414047}"/>
              </a:ext>
            </a:extLst>
          </p:cNvPr>
          <p:cNvSpPr/>
          <p:nvPr/>
        </p:nvSpPr>
        <p:spPr bwMode="gray">
          <a:xfrm>
            <a:off x="9476292" y="3846348"/>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4" name="Flowchart: Connector 163">
            <a:extLst>
              <a:ext uri="{FF2B5EF4-FFF2-40B4-BE49-F238E27FC236}">
                <a16:creationId xmlns:a16="http://schemas.microsoft.com/office/drawing/2014/main" id="{B9C6C903-3D30-4769-A484-E8E4A17F5FCD}"/>
              </a:ext>
            </a:extLst>
          </p:cNvPr>
          <p:cNvSpPr/>
          <p:nvPr/>
        </p:nvSpPr>
        <p:spPr bwMode="gray">
          <a:xfrm>
            <a:off x="9062016" y="3733714"/>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5" name="Flowchart: Connector 164">
            <a:extLst>
              <a:ext uri="{FF2B5EF4-FFF2-40B4-BE49-F238E27FC236}">
                <a16:creationId xmlns:a16="http://schemas.microsoft.com/office/drawing/2014/main" id="{058E554F-4563-4DAC-985C-24D22ADC8B45}"/>
              </a:ext>
            </a:extLst>
          </p:cNvPr>
          <p:cNvSpPr/>
          <p:nvPr/>
        </p:nvSpPr>
        <p:spPr bwMode="gray">
          <a:xfrm>
            <a:off x="9094394" y="381572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6" name="Flowchart: Connector 165">
            <a:extLst>
              <a:ext uri="{FF2B5EF4-FFF2-40B4-BE49-F238E27FC236}">
                <a16:creationId xmlns:a16="http://schemas.microsoft.com/office/drawing/2014/main" id="{899CDF99-10E7-48CF-B487-5BB8282E9DE6}"/>
              </a:ext>
            </a:extLst>
          </p:cNvPr>
          <p:cNvSpPr/>
          <p:nvPr/>
        </p:nvSpPr>
        <p:spPr bwMode="gray">
          <a:xfrm>
            <a:off x="9214396" y="388609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7" name="Flowchart: Connector 166">
            <a:extLst>
              <a:ext uri="{FF2B5EF4-FFF2-40B4-BE49-F238E27FC236}">
                <a16:creationId xmlns:a16="http://schemas.microsoft.com/office/drawing/2014/main" id="{4E7E1F4B-4B67-4501-99BB-E9B988BB0805}"/>
              </a:ext>
            </a:extLst>
          </p:cNvPr>
          <p:cNvSpPr/>
          <p:nvPr/>
        </p:nvSpPr>
        <p:spPr bwMode="gray">
          <a:xfrm>
            <a:off x="9246774" y="3968101"/>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8" name="Flowchart: Connector 167">
            <a:extLst>
              <a:ext uri="{FF2B5EF4-FFF2-40B4-BE49-F238E27FC236}">
                <a16:creationId xmlns:a16="http://schemas.microsoft.com/office/drawing/2014/main" id="{D18AEDA4-5677-4DC8-9516-C6082611129B}"/>
              </a:ext>
            </a:extLst>
          </p:cNvPr>
          <p:cNvSpPr/>
          <p:nvPr/>
        </p:nvSpPr>
        <p:spPr bwMode="gray">
          <a:xfrm>
            <a:off x="8747726" y="353882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69" name="Flowchart: Connector 168">
            <a:extLst>
              <a:ext uri="{FF2B5EF4-FFF2-40B4-BE49-F238E27FC236}">
                <a16:creationId xmlns:a16="http://schemas.microsoft.com/office/drawing/2014/main" id="{6B353C85-8FA9-4BC7-94BF-718833E8AAAF}"/>
              </a:ext>
            </a:extLst>
          </p:cNvPr>
          <p:cNvSpPr/>
          <p:nvPr/>
        </p:nvSpPr>
        <p:spPr bwMode="gray">
          <a:xfrm>
            <a:off x="8780105" y="362082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0" name="Flowchart: Connector 169">
            <a:extLst>
              <a:ext uri="{FF2B5EF4-FFF2-40B4-BE49-F238E27FC236}">
                <a16:creationId xmlns:a16="http://schemas.microsoft.com/office/drawing/2014/main" id="{AAE46445-C05D-4AF2-87CB-C851A8C0B70A}"/>
              </a:ext>
            </a:extLst>
          </p:cNvPr>
          <p:cNvSpPr/>
          <p:nvPr/>
        </p:nvSpPr>
        <p:spPr bwMode="gray">
          <a:xfrm>
            <a:off x="8900107" y="369120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1" name="Flowchart: Connector 170">
            <a:extLst>
              <a:ext uri="{FF2B5EF4-FFF2-40B4-BE49-F238E27FC236}">
                <a16:creationId xmlns:a16="http://schemas.microsoft.com/office/drawing/2014/main" id="{AB6A68CE-B32C-45B5-9AF7-19F74E1C2510}"/>
              </a:ext>
            </a:extLst>
          </p:cNvPr>
          <p:cNvSpPr/>
          <p:nvPr/>
        </p:nvSpPr>
        <p:spPr bwMode="gray">
          <a:xfrm>
            <a:off x="8932485" y="377320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2" name="Flowchart: Connector 171">
            <a:extLst>
              <a:ext uri="{FF2B5EF4-FFF2-40B4-BE49-F238E27FC236}">
                <a16:creationId xmlns:a16="http://schemas.microsoft.com/office/drawing/2014/main" id="{AB57B5D0-14F9-40D7-8FF2-B91DBDABEF2B}"/>
              </a:ext>
            </a:extLst>
          </p:cNvPr>
          <p:cNvSpPr/>
          <p:nvPr/>
        </p:nvSpPr>
        <p:spPr bwMode="gray">
          <a:xfrm>
            <a:off x="8518209" y="3660573"/>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3" name="Flowchart: Connector 172">
            <a:extLst>
              <a:ext uri="{FF2B5EF4-FFF2-40B4-BE49-F238E27FC236}">
                <a16:creationId xmlns:a16="http://schemas.microsoft.com/office/drawing/2014/main" id="{9C9F1467-5BAB-4FE0-B168-E3647A9E6C03}"/>
              </a:ext>
            </a:extLst>
          </p:cNvPr>
          <p:cNvSpPr/>
          <p:nvPr/>
        </p:nvSpPr>
        <p:spPr bwMode="gray">
          <a:xfrm>
            <a:off x="8550588" y="374257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4" name="Flowchart: Connector 173">
            <a:extLst>
              <a:ext uri="{FF2B5EF4-FFF2-40B4-BE49-F238E27FC236}">
                <a16:creationId xmlns:a16="http://schemas.microsoft.com/office/drawing/2014/main" id="{8B779551-F66F-4817-872D-6DB197B69845}"/>
              </a:ext>
            </a:extLst>
          </p:cNvPr>
          <p:cNvSpPr/>
          <p:nvPr/>
        </p:nvSpPr>
        <p:spPr bwMode="gray">
          <a:xfrm>
            <a:off x="8670590" y="3812953"/>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5" name="Flowchart: Connector 174">
            <a:extLst>
              <a:ext uri="{FF2B5EF4-FFF2-40B4-BE49-F238E27FC236}">
                <a16:creationId xmlns:a16="http://schemas.microsoft.com/office/drawing/2014/main" id="{3F109C96-073D-45A8-A4D8-EA6D6119654D}"/>
              </a:ext>
            </a:extLst>
          </p:cNvPr>
          <p:cNvSpPr/>
          <p:nvPr/>
        </p:nvSpPr>
        <p:spPr bwMode="gray">
          <a:xfrm>
            <a:off x="8702968" y="389495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6" name="Flowchart: Connector 175">
            <a:extLst>
              <a:ext uri="{FF2B5EF4-FFF2-40B4-BE49-F238E27FC236}">
                <a16:creationId xmlns:a16="http://schemas.microsoft.com/office/drawing/2014/main" id="{2E9B65A8-96A7-4500-8E18-87FC77D5B05A}"/>
              </a:ext>
            </a:extLst>
          </p:cNvPr>
          <p:cNvSpPr/>
          <p:nvPr/>
        </p:nvSpPr>
        <p:spPr bwMode="gray">
          <a:xfrm>
            <a:off x="8900107" y="369120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7" name="Flowchart: Connector 176">
            <a:extLst>
              <a:ext uri="{FF2B5EF4-FFF2-40B4-BE49-F238E27FC236}">
                <a16:creationId xmlns:a16="http://schemas.microsoft.com/office/drawing/2014/main" id="{4BF8C560-2CA9-45F5-A7BE-BAC8980D0AA9}"/>
              </a:ext>
            </a:extLst>
          </p:cNvPr>
          <p:cNvSpPr/>
          <p:nvPr/>
        </p:nvSpPr>
        <p:spPr bwMode="gray">
          <a:xfrm>
            <a:off x="8932485" y="377320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8" name="Flowchart: Connector 177">
            <a:extLst>
              <a:ext uri="{FF2B5EF4-FFF2-40B4-BE49-F238E27FC236}">
                <a16:creationId xmlns:a16="http://schemas.microsoft.com/office/drawing/2014/main" id="{58AF4805-CA20-4AB2-B73E-589312E59933}"/>
              </a:ext>
            </a:extLst>
          </p:cNvPr>
          <p:cNvSpPr/>
          <p:nvPr/>
        </p:nvSpPr>
        <p:spPr bwMode="gray">
          <a:xfrm>
            <a:off x="9052487" y="384358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9" name="Flowchart: Connector 178">
            <a:extLst>
              <a:ext uri="{FF2B5EF4-FFF2-40B4-BE49-F238E27FC236}">
                <a16:creationId xmlns:a16="http://schemas.microsoft.com/office/drawing/2014/main" id="{2108A892-FB5D-49D6-ACED-B17CCB7B7DBF}"/>
              </a:ext>
            </a:extLst>
          </p:cNvPr>
          <p:cNvSpPr/>
          <p:nvPr/>
        </p:nvSpPr>
        <p:spPr bwMode="gray">
          <a:xfrm>
            <a:off x="9084866" y="392558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0" name="Flowchart: Connector 179">
            <a:extLst>
              <a:ext uri="{FF2B5EF4-FFF2-40B4-BE49-F238E27FC236}">
                <a16:creationId xmlns:a16="http://schemas.microsoft.com/office/drawing/2014/main" id="{D601D455-38E1-4415-9BEE-80A2472E4D1E}"/>
              </a:ext>
            </a:extLst>
          </p:cNvPr>
          <p:cNvSpPr/>
          <p:nvPr/>
        </p:nvSpPr>
        <p:spPr bwMode="gray">
          <a:xfrm>
            <a:off x="8670590" y="3812953"/>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1" name="Flowchart: Connector 180">
            <a:extLst>
              <a:ext uri="{FF2B5EF4-FFF2-40B4-BE49-F238E27FC236}">
                <a16:creationId xmlns:a16="http://schemas.microsoft.com/office/drawing/2014/main" id="{6D0C22BA-8C58-41A1-919C-0B54116D02FC}"/>
              </a:ext>
            </a:extLst>
          </p:cNvPr>
          <p:cNvSpPr/>
          <p:nvPr/>
        </p:nvSpPr>
        <p:spPr bwMode="gray">
          <a:xfrm>
            <a:off x="8702968" y="389495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2" name="Flowchart: Connector 181">
            <a:extLst>
              <a:ext uri="{FF2B5EF4-FFF2-40B4-BE49-F238E27FC236}">
                <a16:creationId xmlns:a16="http://schemas.microsoft.com/office/drawing/2014/main" id="{E18FD054-7604-47F4-A1EB-63358EB37344}"/>
              </a:ext>
            </a:extLst>
          </p:cNvPr>
          <p:cNvSpPr/>
          <p:nvPr/>
        </p:nvSpPr>
        <p:spPr bwMode="gray">
          <a:xfrm>
            <a:off x="8822970" y="3965333"/>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3" name="Flowchart: Connector 182">
            <a:extLst>
              <a:ext uri="{FF2B5EF4-FFF2-40B4-BE49-F238E27FC236}">
                <a16:creationId xmlns:a16="http://schemas.microsoft.com/office/drawing/2014/main" id="{C08202DA-5728-44EF-A9D8-D622F87DA819}"/>
              </a:ext>
            </a:extLst>
          </p:cNvPr>
          <p:cNvSpPr/>
          <p:nvPr/>
        </p:nvSpPr>
        <p:spPr bwMode="gray">
          <a:xfrm>
            <a:off x="8855348" y="4047340"/>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4" name="Flowchart: Connector 183">
            <a:extLst>
              <a:ext uri="{FF2B5EF4-FFF2-40B4-BE49-F238E27FC236}">
                <a16:creationId xmlns:a16="http://schemas.microsoft.com/office/drawing/2014/main" id="{3F3FB89D-BF5E-4901-A490-D7B5509F84C9}"/>
              </a:ext>
            </a:extLst>
          </p:cNvPr>
          <p:cNvSpPr/>
          <p:nvPr/>
        </p:nvSpPr>
        <p:spPr bwMode="gray">
          <a:xfrm>
            <a:off x="8986772" y="312641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5" name="Flowchart: Connector 184">
            <a:extLst>
              <a:ext uri="{FF2B5EF4-FFF2-40B4-BE49-F238E27FC236}">
                <a16:creationId xmlns:a16="http://schemas.microsoft.com/office/drawing/2014/main" id="{8E949AFC-4062-4FDA-8CCB-025DC423C6E7}"/>
              </a:ext>
            </a:extLst>
          </p:cNvPr>
          <p:cNvSpPr/>
          <p:nvPr/>
        </p:nvSpPr>
        <p:spPr bwMode="gray">
          <a:xfrm>
            <a:off x="9019151" y="3208422"/>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6" name="Flowchart: Connector 185">
            <a:extLst>
              <a:ext uri="{FF2B5EF4-FFF2-40B4-BE49-F238E27FC236}">
                <a16:creationId xmlns:a16="http://schemas.microsoft.com/office/drawing/2014/main" id="{6670E9A5-3096-4E8A-BD4F-16C1928446E9}"/>
              </a:ext>
            </a:extLst>
          </p:cNvPr>
          <p:cNvSpPr/>
          <p:nvPr/>
        </p:nvSpPr>
        <p:spPr bwMode="gray">
          <a:xfrm>
            <a:off x="9139152" y="327879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7" name="Flowchart: Connector 186">
            <a:extLst>
              <a:ext uri="{FF2B5EF4-FFF2-40B4-BE49-F238E27FC236}">
                <a16:creationId xmlns:a16="http://schemas.microsoft.com/office/drawing/2014/main" id="{D0F8E751-883E-4B0B-BD6E-95015557CB9C}"/>
              </a:ext>
            </a:extLst>
          </p:cNvPr>
          <p:cNvSpPr/>
          <p:nvPr/>
        </p:nvSpPr>
        <p:spPr bwMode="gray">
          <a:xfrm>
            <a:off x="9171531" y="3360802"/>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8" name="Flowchart: Connector 187">
            <a:extLst>
              <a:ext uri="{FF2B5EF4-FFF2-40B4-BE49-F238E27FC236}">
                <a16:creationId xmlns:a16="http://schemas.microsoft.com/office/drawing/2014/main" id="{526563A0-E712-4513-8BD1-4CC27CB801EF}"/>
              </a:ext>
            </a:extLst>
          </p:cNvPr>
          <p:cNvSpPr/>
          <p:nvPr/>
        </p:nvSpPr>
        <p:spPr bwMode="gray">
          <a:xfrm>
            <a:off x="8757255" y="324816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89" name="Flowchart: Connector 188">
            <a:extLst>
              <a:ext uri="{FF2B5EF4-FFF2-40B4-BE49-F238E27FC236}">
                <a16:creationId xmlns:a16="http://schemas.microsoft.com/office/drawing/2014/main" id="{09CB6757-3577-4A60-B658-618DC31BD904}"/>
              </a:ext>
            </a:extLst>
          </p:cNvPr>
          <p:cNvSpPr/>
          <p:nvPr/>
        </p:nvSpPr>
        <p:spPr bwMode="gray">
          <a:xfrm>
            <a:off x="8789634" y="333017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0" name="Flowchart: Connector 189">
            <a:extLst>
              <a:ext uri="{FF2B5EF4-FFF2-40B4-BE49-F238E27FC236}">
                <a16:creationId xmlns:a16="http://schemas.microsoft.com/office/drawing/2014/main" id="{EACF9EDF-2914-4613-A769-D45174F40CE4}"/>
              </a:ext>
            </a:extLst>
          </p:cNvPr>
          <p:cNvSpPr/>
          <p:nvPr/>
        </p:nvSpPr>
        <p:spPr bwMode="gray">
          <a:xfrm>
            <a:off x="8909635" y="340054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1" name="Flowchart: Connector 190">
            <a:extLst>
              <a:ext uri="{FF2B5EF4-FFF2-40B4-BE49-F238E27FC236}">
                <a16:creationId xmlns:a16="http://schemas.microsoft.com/office/drawing/2014/main" id="{29185715-1855-47DD-8EB8-0D9A2561FA21}"/>
              </a:ext>
            </a:extLst>
          </p:cNvPr>
          <p:cNvSpPr/>
          <p:nvPr/>
        </p:nvSpPr>
        <p:spPr bwMode="gray">
          <a:xfrm>
            <a:off x="8942014" y="348255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2" name="Flowchart: Connector 191">
            <a:extLst>
              <a:ext uri="{FF2B5EF4-FFF2-40B4-BE49-F238E27FC236}">
                <a16:creationId xmlns:a16="http://schemas.microsoft.com/office/drawing/2014/main" id="{C54478C3-3E4B-4A42-AE75-15D28D68AD18}"/>
              </a:ext>
            </a:extLst>
          </p:cNvPr>
          <p:cNvSpPr/>
          <p:nvPr/>
        </p:nvSpPr>
        <p:spPr bwMode="gray">
          <a:xfrm>
            <a:off x="9139152" y="327879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3" name="Flowchart: Connector 192">
            <a:extLst>
              <a:ext uri="{FF2B5EF4-FFF2-40B4-BE49-F238E27FC236}">
                <a16:creationId xmlns:a16="http://schemas.microsoft.com/office/drawing/2014/main" id="{6CA5F3BB-71F5-41BC-B0A2-8C8292A7C1A7}"/>
              </a:ext>
            </a:extLst>
          </p:cNvPr>
          <p:cNvSpPr/>
          <p:nvPr/>
        </p:nvSpPr>
        <p:spPr bwMode="gray">
          <a:xfrm>
            <a:off x="9171531" y="3360802"/>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4" name="Flowchart: Connector 193">
            <a:extLst>
              <a:ext uri="{FF2B5EF4-FFF2-40B4-BE49-F238E27FC236}">
                <a16:creationId xmlns:a16="http://schemas.microsoft.com/office/drawing/2014/main" id="{E709BB30-3ECF-4C61-8814-78A4EB6876CF}"/>
              </a:ext>
            </a:extLst>
          </p:cNvPr>
          <p:cNvSpPr/>
          <p:nvPr/>
        </p:nvSpPr>
        <p:spPr bwMode="gray">
          <a:xfrm>
            <a:off x="9291533" y="3431176"/>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5" name="Flowchart: Connector 194">
            <a:extLst>
              <a:ext uri="{FF2B5EF4-FFF2-40B4-BE49-F238E27FC236}">
                <a16:creationId xmlns:a16="http://schemas.microsoft.com/office/drawing/2014/main" id="{1D8A7362-6B4F-432D-98B3-4A8520700174}"/>
              </a:ext>
            </a:extLst>
          </p:cNvPr>
          <p:cNvSpPr/>
          <p:nvPr/>
        </p:nvSpPr>
        <p:spPr bwMode="gray">
          <a:xfrm>
            <a:off x="9323911" y="3513182"/>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6" name="Flowchart: Connector 195">
            <a:extLst>
              <a:ext uri="{FF2B5EF4-FFF2-40B4-BE49-F238E27FC236}">
                <a16:creationId xmlns:a16="http://schemas.microsoft.com/office/drawing/2014/main" id="{C037419E-9B97-451C-9E5E-576A9D6E1B0D}"/>
              </a:ext>
            </a:extLst>
          </p:cNvPr>
          <p:cNvSpPr/>
          <p:nvPr/>
        </p:nvSpPr>
        <p:spPr bwMode="gray">
          <a:xfrm>
            <a:off x="8909635" y="340054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7" name="Flowchart: Connector 196">
            <a:extLst>
              <a:ext uri="{FF2B5EF4-FFF2-40B4-BE49-F238E27FC236}">
                <a16:creationId xmlns:a16="http://schemas.microsoft.com/office/drawing/2014/main" id="{DAB871E7-02D7-425E-8CCD-F46BD9379556}"/>
              </a:ext>
            </a:extLst>
          </p:cNvPr>
          <p:cNvSpPr/>
          <p:nvPr/>
        </p:nvSpPr>
        <p:spPr bwMode="gray">
          <a:xfrm>
            <a:off x="8942014" y="348255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8" name="Flowchart: Connector 197">
            <a:extLst>
              <a:ext uri="{FF2B5EF4-FFF2-40B4-BE49-F238E27FC236}">
                <a16:creationId xmlns:a16="http://schemas.microsoft.com/office/drawing/2014/main" id="{1D0A5A8E-DA25-46CE-83A7-1AA3BF80048B}"/>
              </a:ext>
            </a:extLst>
          </p:cNvPr>
          <p:cNvSpPr/>
          <p:nvPr/>
        </p:nvSpPr>
        <p:spPr bwMode="gray">
          <a:xfrm>
            <a:off x="9062016" y="3552929"/>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99" name="Flowchart: Connector 198">
            <a:extLst>
              <a:ext uri="{FF2B5EF4-FFF2-40B4-BE49-F238E27FC236}">
                <a16:creationId xmlns:a16="http://schemas.microsoft.com/office/drawing/2014/main" id="{AE6AF242-3F09-4C7C-AA09-327449EA0CEE}"/>
              </a:ext>
            </a:extLst>
          </p:cNvPr>
          <p:cNvSpPr/>
          <p:nvPr/>
        </p:nvSpPr>
        <p:spPr bwMode="gray">
          <a:xfrm>
            <a:off x="9094394" y="3634935"/>
            <a:ext cx="45713" cy="45713"/>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cxnSp>
        <p:nvCxnSpPr>
          <p:cNvPr id="200" name="Straight Connector 199">
            <a:extLst>
              <a:ext uri="{FF2B5EF4-FFF2-40B4-BE49-F238E27FC236}">
                <a16:creationId xmlns:a16="http://schemas.microsoft.com/office/drawing/2014/main" id="{3CFB73D7-AF5B-41C3-B402-88DFEA45470B}"/>
              </a:ext>
            </a:extLst>
          </p:cNvPr>
          <p:cNvCxnSpPr>
            <a:cxnSpLocks/>
          </p:cNvCxnSpPr>
          <p:nvPr/>
        </p:nvCxnSpPr>
        <p:spPr bwMode="gray">
          <a:xfrm flipV="1">
            <a:off x="9466769" y="3382955"/>
            <a:ext cx="485169" cy="408692"/>
          </a:xfrm>
          <a:prstGeom prst="line">
            <a:avLst/>
          </a:prstGeom>
          <a:ln>
            <a:solidFill>
              <a:srgbClr val="00BCFF"/>
            </a:solidFill>
            <a:headEnd type="oval"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01" name="Straight Connector 200">
            <a:extLst>
              <a:ext uri="{FF2B5EF4-FFF2-40B4-BE49-F238E27FC236}">
                <a16:creationId xmlns:a16="http://schemas.microsoft.com/office/drawing/2014/main" id="{4EAB1436-BFBF-47C6-BCD0-9CDAECD9AF7D}"/>
              </a:ext>
            </a:extLst>
          </p:cNvPr>
          <p:cNvCxnSpPr>
            <a:cxnSpLocks/>
          </p:cNvCxnSpPr>
          <p:nvPr/>
        </p:nvCxnSpPr>
        <p:spPr bwMode="gray">
          <a:xfrm flipH="1" flipV="1">
            <a:off x="8198561" y="3337190"/>
            <a:ext cx="358667" cy="357381"/>
          </a:xfrm>
          <a:prstGeom prst="line">
            <a:avLst/>
          </a:prstGeom>
          <a:ln>
            <a:solidFill>
              <a:srgbClr val="00BCFF"/>
            </a:solidFill>
            <a:headEnd type="oval" w="med" len="med"/>
            <a:tailEnd type="triangle" w="med" len="med"/>
          </a:ln>
        </p:spPr>
        <p:style>
          <a:lnRef idx="1">
            <a:schemeClr val="accent2"/>
          </a:lnRef>
          <a:fillRef idx="0">
            <a:schemeClr val="accent2"/>
          </a:fillRef>
          <a:effectRef idx="0">
            <a:schemeClr val="accent2"/>
          </a:effectRef>
          <a:fontRef idx="minor">
            <a:schemeClr val="tx1"/>
          </a:fontRef>
        </p:style>
      </p:cxnSp>
      <p:sp>
        <p:nvSpPr>
          <p:cNvPr id="202" name="TextBox 201">
            <a:extLst>
              <a:ext uri="{FF2B5EF4-FFF2-40B4-BE49-F238E27FC236}">
                <a16:creationId xmlns:a16="http://schemas.microsoft.com/office/drawing/2014/main" id="{6FDF859F-4D63-4C9F-8001-31C65D4803BC}"/>
              </a:ext>
            </a:extLst>
          </p:cNvPr>
          <p:cNvSpPr txBox="1"/>
          <p:nvPr/>
        </p:nvSpPr>
        <p:spPr bwMode="gray">
          <a:xfrm>
            <a:off x="7705153" y="2959903"/>
            <a:ext cx="1011150" cy="276963"/>
          </a:xfrm>
          <a:prstGeom prst="rect">
            <a:avLst/>
          </a:prstGeom>
          <a:noFill/>
        </p:spPr>
        <p:txBody>
          <a:bodyPr wrap="square">
            <a:spAutoFit/>
          </a:bodyPr>
          <a:lstStyle/>
          <a:p>
            <a:r>
              <a:rPr lang="en-US" altLang="zh-CN" sz="1200" b="1" err="1">
                <a:solidFill>
                  <a:srgbClr val="443247"/>
                </a:solidFill>
              </a:rPr>
              <a:t>Finerenone</a:t>
            </a:r>
            <a:endParaRPr lang="en-US" sz="1200" b="1">
              <a:solidFill>
                <a:srgbClr val="443247"/>
              </a:solidFill>
            </a:endParaRPr>
          </a:p>
        </p:txBody>
      </p:sp>
      <p:sp>
        <p:nvSpPr>
          <p:cNvPr id="203" name="TextBox 202">
            <a:extLst>
              <a:ext uri="{FF2B5EF4-FFF2-40B4-BE49-F238E27FC236}">
                <a16:creationId xmlns:a16="http://schemas.microsoft.com/office/drawing/2014/main" id="{8928667C-276F-4E38-BE29-800B1A3232C9}"/>
              </a:ext>
            </a:extLst>
          </p:cNvPr>
          <p:cNvSpPr txBox="1"/>
          <p:nvPr/>
        </p:nvSpPr>
        <p:spPr bwMode="gray">
          <a:xfrm>
            <a:off x="9958921" y="3132320"/>
            <a:ext cx="1128162" cy="276963"/>
          </a:xfrm>
          <a:prstGeom prst="rect">
            <a:avLst/>
          </a:prstGeom>
          <a:noFill/>
        </p:spPr>
        <p:txBody>
          <a:bodyPr wrap="square">
            <a:spAutoFit/>
          </a:bodyPr>
          <a:lstStyle/>
          <a:p>
            <a:r>
              <a:rPr lang="en-US" altLang="zh-CN" sz="1200" b="1" err="1">
                <a:solidFill>
                  <a:srgbClr val="443247"/>
                </a:solidFill>
              </a:rPr>
              <a:t>Kerendia</a:t>
            </a:r>
            <a:endParaRPr lang="en-US" sz="1200" b="1">
              <a:solidFill>
                <a:srgbClr val="443247"/>
              </a:solidFill>
            </a:endParaRPr>
          </a:p>
        </p:txBody>
      </p:sp>
      <p:sp>
        <p:nvSpPr>
          <p:cNvPr id="204" name="Arrow: Right 203">
            <a:extLst>
              <a:ext uri="{FF2B5EF4-FFF2-40B4-BE49-F238E27FC236}">
                <a16:creationId xmlns:a16="http://schemas.microsoft.com/office/drawing/2014/main" id="{8B27AEAA-9DC3-4EF5-9C04-36263FBB5477}"/>
              </a:ext>
            </a:extLst>
          </p:cNvPr>
          <p:cNvSpPr/>
          <p:nvPr/>
        </p:nvSpPr>
        <p:spPr bwMode="gray">
          <a:xfrm rot="5400000">
            <a:off x="8799949" y="4332027"/>
            <a:ext cx="348774" cy="329049"/>
          </a:xfrm>
          <a:prstGeom prst="rightArrow">
            <a:avLst/>
          </a:prstGeom>
          <a:solidFill>
            <a:srgbClr val="443247"/>
          </a:solidFill>
          <a:ln>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rgbClr val="443247"/>
              </a:solidFill>
              <a:latin typeface="Arial" panose="020B0604020202020204" pitchFamily="34" charset="0"/>
            </a:endParaRPr>
          </a:p>
        </p:txBody>
      </p:sp>
      <p:grpSp>
        <p:nvGrpSpPr>
          <p:cNvPr id="205" name="Group 204">
            <a:extLst>
              <a:ext uri="{FF2B5EF4-FFF2-40B4-BE49-F238E27FC236}">
                <a16:creationId xmlns:a16="http://schemas.microsoft.com/office/drawing/2014/main" id="{EC9AF664-B6E3-43CE-83AC-D974B50199A0}"/>
              </a:ext>
            </a:extLst>
          </p:cNvPr>
          <p:cNvGrpSpPr/>
          <p:nvPr/>
        </p:nvGrpSpPr>
        <p:grpSpPr>
          <a:xfrm>
            <a:off x="10947419" y="121406"/>
            <a:ext cx="1176925" cy="304109"/>
            <a:chOff x="7530052" y="5001373"/>
            <a:chExt cx="1176925" cy="304109"/>
          </a:xfrm>
        </p:grpSpPr>
        <p:sp>
          <p:nvSpPr>
            <p:cNvPr id="206" name="Rectangle 205">
              <a:extLst>
                <a:ext uri="{FF2B5EF4-FFF2-40B4-BE49-F238E27FC236}">
                  <a16:creationId xmlns:a16="http://schemas.microsoft.com/office/drawing/2014/main" id="{3DF3E9B7-0C0C-4296-84EF-65A8B055A253}"/>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dirty="0">
                  <a:ln w="0"/>
                  <a:solidFill>
                    <a:schemeClr val="tx1"/>
                  </a:solidFill>
                  <a:effectLst>
                    <a:outerShdw blurRad="38100" dist="19050" dir="2700000" algn="tl" rotWithShape="0">
                      <a:schemeClr val="dk1">
                        <a:alpha val="40000"/>
                      </a:schemeClr>
                    </a:outerShdw>
                  </a:effectLst>
                </a:rPr>
                <a:t>text  》numbers</a:t>
              </a:r>
              <a:endParaRPr lang="en-US" sz="1100" b="0" cap="none" spc="0" dirty="0">
                <a:ln w="0"/>
                <a:solidFill>
                  <a:schemeClr val="tx1"/>
                </a:solidFill>
                <a:effectLst>
                  <a:outerShdw blurRad="38100" dist="19050" dir="2700000" algn="tl" rotWithShape="0">
                    <a:schemeClr val="dk1">
                      <a:alpha val="40000"/>
                    </a:schemeClr>
                  </a:outerShdw>
                </a:effectLst>
              </a:endParaRPr>
            </a:p>
          </p:txBody>
        </p:sp>
        <p:sp>
          <p:nvSpPr>
            <p:cNvPr id="207" name="Flowchart: Connector 206">
              <a:extLst>
                <a:ext uri="{FF2B5EF4-FFF2-40B4-BE49-F238E27FC236}">
                  <a16:creationId xmlns:a16="http://schemas.microsoft.com/office/drawing/2014/main" id="{02F694F8-3950-4DFE-9CED-7197B853F00F}"/>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Flowchart: Connector 207">
              <a:extLst>
                <a:ext uri="{FF2B5EF4-FFF2-40B4-BE49-F238E27FC236}">
                  <a16:creationId xmlns:a16="http://schemas.microsoft.com/office/drawing/2014/main" id="{BEE168E7-E83E-4417-BB67-690C75CEBD02}"/>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9" name="Oval 208">
            <a:extLst>
              <a:ext uri="{FF2B5EF4-FFF2-40B4-BE49-F238E27FC236}">
                <a16:creationId xmlns:a16="http://schemas.microsoft.com/office/drawing/2014/main" id="{0FDC27AF-59D5-4F2B-B9DE-A0AD64C6B13D}"/>
              </a:ext>
            </a:extLst>
          </p:cNvPr>
          <p:cNvSpPr/>
          <p:nvPr/>
        </p:nvSpPr>
        <p:spPr bwMode="gray">
          <a:xfrm>
            <a:off x="11930010" y="34859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a:t>
            </a:r>
          </a:p>
        </p:txBody>
      </p:sp>
    </p:spTree>
    <p:extLst>
      <p:ext uri="{BB962C8B-B14F-4D97-AF65-F5344CB8AC3E}">
        <p14:creationId xmlns:p14="http://schemas.microsoft.com/office/powerpoint/2010/main" val="104217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el 4">
            <a:extLst>
              <a:ext uri="{FF2B5EF4-FFF2-40B4-BE49-F238E27FC236}">
                <a16:creationId xmlns:a16="http://schemas.microsoft.com/office/drawing/2014/main" id="{49F0CB16-F326-47B7-B2A7-2D978E568FCE}"/>
              </a:ext>
            </a:extLst>
          </p:cNvPr>
          <p:cNvSpPr>
            <a:spLocks noGrp="1"/>
          </p:cNvSpPr>
          <p:nvPr>
            <p:ph type="title"/>
          </p:nvPr>
        </p:nvSpPr>
        <p:spPr bwMode="gray"/>
        <p:txBody>
          <a:bodyPr vert="horz" lIns="0" tIns="0" rIns="0" bIns="0" rtlCol="0" anchor="b">
            <a:normAutofit/>
          </a:bodyPr>
          <a:lstStyle/>
          <a:p>
            <a:r>
              <a:rPr lang="en-US" altLang="zh-CN"/>
              <a:t>NLP is not character matching, but semantic understanding</a:t>
            </a:r>
            <a:endParaRPr lang="en-US"/>
          </a:p>
        </p:txBody>
      </p:sp>
      <p:sp>
        <p:nvSpPr>
          <p:cNvPr id="8" name="Footer Placeholder 7"/>
          <p:cNvSpPr>
            <a:spLocks noGrp="1"/>
          </p:cNvSpPr>
          <p:nvPr>
            <p:ph type="ftr" sz="quarter" idx="11"/>
          </p:nvPr>
        </p:nvSpPr>
        <p:spPr bwMode="gray">
          <a:xfrm>
            <a:off x="1717622"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938793"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17</a:t>
            </a:fld>
            <a:endParaRPr lang="en-US">
              <a:solidFill>
                <a:srgbClr val="443247"/>
              </a:solidFill>
            </a:endParaRPr>
          </a:p>
        </p:txBody>
      </p:sp>
      <p:grpSp>
        <p:nvGrpSpPr>
          <p:cNvPr id="2" name="Group 1">
            <a:extLst>
              <a:ext uri="{FF2B5EF4-FFF2-40B4-BE49-F238E27FC236}">
                <a16:creationId xmlns:a16="http://schemas.microsoft.com/office/drawing/2014/main" id="{1A1E0026-346E-43CE-8728-A1A1E42AA0D7}"/>
              </a:ext>
            </a:extLst>
          </p:cNvPr>
          <p:cNvGrpSpPr/>
          <p:nvPr/>
        </p:nvGrpSpPr>
        <p:grpSpPr>
          <a:xfrm>
            <a:off x="1190323" y="2056713"/>
            <a:ext cx="4492209" cy="2744574"/>
            <a:chOff x="5631544" y="551102"/>
            <a:chExt cx="4631466" cy="3118963"/>
          </a:xfrm>
        </p:grpSpPr>
        <p:pic>
          <p:nvPicPr>
            <p:cNvPr id="3" name="Picture 2">
              <a:extLst>
                <a:ext uri="{FF2B5EF4-FFF2-40B4-BE49-F238E27FC236}">
                  <a16:creationId xmlns:a16="http://schemas.microsoft.com/office/drawing/2014/main" id="{D631A8BB-D0A0-413C-B355-4B23DEAA6ED8}"/>
                </a:ext>
              </a:extLst>
            </p:cNvPr>
            <p:cNvPicPr>
              <a:picLocks noChangeAspect="1"/>
            </p:cNvPicPr>
            <p:nvPr/>
          </p:nvPicPr>
          <p:blipFill rotWithShape="1">
            <a:blip r:embed="rId3"/>
            <a:srcRect r="23126" b="47512"/>
            <a:stretch/>
          </p:blipFill>
          <p:spPr>
            <a:xfrm>
              <a:off x="5631544" y="551102"/>
              <a:ext cx="4631466" cy="3118963"/>
            </a:xfrm>
            <a:prstGeom prst="rect">
              <a:avLst/>
            </a:prstGeom>
          </p:spPr>
        </p:pic>
        <p:cxnSp>
          <p:nvCxnSpPr>
            <p:cNvPr id="5" name="Straight Connector 4">
              <a:extLst>
                <a:ext uri="{FF2B5EF4-FFF2-40B4-BE49-F238E27FC236}">
                  <a16:creationId xmlns:a16="http://schemas.microsoft.com/office/drawing/2014/main" id="{B2E0653B-73BA-499B-BAC2-94824EB8334F}"/>
                </a:ext>
              </a:extLst>
            </p:cNvPr>
            <p:cNvCxnSpPr/>
            <p:nvPr/>
          </p:nvCxnSpPr>
          <p:spPr bwMode="gray">
            <a:xfrm>
              <a:off x="6222380" y="2286000"/>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21" name="Straight Connector 20">
              <a:extLst>
                <a:ext uri="{FF2B5EF4-FFF2-40B4-BE49-F238E27FC236}">
                  <a16:creationId xmlns:a16="http://schemas.microsoft.com/office/drawing/2014/main" id="{4D6E1497-FEF3-4044-AEC3-92C4C6809618}"/>
                </a:ext>
              </a:extLst>
            </p:cNvPr>
            <p:cNvCxnSpPr/>
            <p:nvPr/>
          </p:nvCxnSpPr>
          <p:spPr bwMode="gray">
            <a:xfrm>
              <a:off x="6608951" y="2282286"/>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22" name="Straight Connector 21">
              <a:extLst>
                <a:ext uri="{FF2B5EF4-FFF2-40B4-BE49-F238E27FC236}">
                  <a16:creationId xmlns:a16="http://schemas.microsoft.com/office/drawing/2014/main" id="{B68342CF-CCE0-42D8-977F-15A6116BB0AA}"/>
                </a:ext>
              </a:extLst>
            </p:cNvPr>
            <p:cNvCxnSpPr/>
            <p:nvPr/>
          </p:nvCxnSpPr>
          <p:spPr bwMode="gray">
            <a:xfrm>
              <a:off x="6809678" y="2282286"/>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23" name="Straight Connector 22">
              <a:extLst>
                <a:ext uri="{FF2B5EF4-FFF2-40B4-BE49-F238E27FC236}">
                  <a16:creationId xmlns:a16="http://schemas.microsoft.com/office/drawing/2014/main" id="{EEA5051C-6CA2-4F88-A348-568373263033}"/>
                </a:ext>
              </a:extLst>
            </p:cNvPr>
            <p:cNvCxnSpPr/>
            <p:nvPr/>
          </p:nvCxnSpPr>
          <p:spPr bwMode="gray">
            <a:xfrm>
              <a:off x="7028984" y="2300874"/>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24" name="Straight Connector 23">
              <a:extLst>
                <a:ext uri="{FF2B5EF4-FFF2-40B4-BE49-F238E27FC236}">
                  <a16:creationId xmlns:a16="http://schemas.microsoft.com/office/drawing/2014/main" id="{72914176-74C8-444C-B858-77D43D247304}"/>
                </a:ext>
              </a:extLst>
            </p:cNvPr>
            <p:cNvCxnSpPr/>
            <p:nvPr/>
          </p:nvCxnSpPr>
          <p:spPr bwMode="gray">
            <a:xfrm>
              <a:off x="7218554" y="2300872"/>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25" name="Straight Connector 24">
              <a:extLst>
                <a:ext uri="{FF2B5EF4-FFF2-40B4-BE49-F238E27FC236}">
                  <a16:creationId xmlns:a16="http://schemas.microsoft.com/office/drawing/2014/main" id="{65083572-C86D-40A6-A404-995553005ECD}"/>
                </a:ext>
              </a:extLst>
            </p:cNvPr>
            <p:cNvCxnSpPr/>
            <p:nvPr/>
          </p:nvCxnSpPr>
          <p:spPr bwMode="gray">
            <a:xfrm>
              <a:off x="7783544" y="2297156"/>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26" name="Straight Connector 25">
              <a:extLst>
                <a:ext uri="{FF2B5EF4-FFF2-40B4-BE49-F238E27FC236}">
                  <a16:creationId xmlns:a16="http://schemas.microsoft.com/office/drawing/2014/main" id="{EF1E1B36-1A2D-4E39-A730-5CBD7D9D20B0}"/>
                </a:ext>
              </a:extLst>
            </p:cNvPr>
            <p:cNvCxnSpPr/>
            <p:nvPr/>
          </p:nvCxnSpPr>
          <p:spPr bwMode="gray">
            <a:xfrm>
              <a:off x="6012365" y="2862151"/>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27" name="Straight Connector 26">
              <a:extLst>
                <a:ext uri="{FF2B5EF4-FFF2-40B4-BE49-F238E27FC236}">
                  <a16:creationId xmlns:a16="http://schemas.microsoft.com/office/drawing/2014/main" id="{E998CDE4-7BF4-4B61-97D8-D55AA54EB6A8}"/>
                </a:ext>
              </a:extLst>
            </p:cNvPr>
            <p:cNvCxnSpPr/>
            <p:nvPr/>
          </p:nvCxnSpPr>
          <p:spPr bwMode="gray">
            <a:xfrm>
              <a:off x="7030835" y="2862151"/>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28" name="Straight Connector 27">
              <a:extLst>
                <a:ext uri="{FF2B5EF4-FFF2-40B4-BE49-F238E27FC236}">
                  <a16:creationId xmlns:a16="http://schemas.microsoft.com/office/drawing/2014/main" id="{1C2D9E35-81BF-4096-864B-A6C7A52931D3}"/>
                </a:ext>
              </a:extLst>
            </p:cNvPr>
            <p:cNvCxnSpPr/>
            <p:nvPr/>
          </p:nvCxnSpPr>
          <p:spPr bwMode="gray">
            <a:xfrm>
              <a:off x="7220405" y="2862151"/>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29" name="Straight Connector 28">
              <a:extLst>
                <a:ext uri="{FF2B5EF4-FFF2-40B4-BE49-F238E27FC236}">
                  <a16:creationId xmlns:a16="http://schemas.microsoft.com/office/drawing/2014/main" id="{BE7A038A-A844-4FDC-AE2C-5901DD048CF8}"/>
                </a:ext>
              </a:extLst>
            </p:cNvPr>
            <p:cNvCxnSpPr/>
            <p:nvPr/>
          </p:nvCxnSpPr>
          <p:spPr bwMode="gray">
            <a:xfrm>
              <a:off x="6616375" y="3466456"/>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A893B1DA-D86F-46F0-BA8D-DF1ABD9C8F43}"/>
                </a:ext>
              </a:extLst>
            </p:cNvPr>
            <p:cNvCxnSpPr/>
            <p:nvPr/>
          </p:nvCxnSpPr>
          <p:spPr bwMode="gray">
            <a:xfrm>
              <a:off x="6817102" y="3466456"/>
              <a:ext cx="167269" cy="0"/>
            </a:xfrm>
            <a:prstGeom prst="line">
              <a:avLst/>
            </a:prstGeom>
            <a:ln w="38100">
              <a:solidFill>
                <a:srgbClr val="624963"/>
              </a:solidFill>
            </a:ln>
          </p:spPr>
          <p:style>
            <a:lnRef idx="1">
              <a:schemeClr val="accent6"/>
            </a:lnRef>
            <a:fillRef idx="0">
              <a:schemeClr val="accent6"/>
            </a:fillRef>
            <a:effectRef idx="0">
              <a:schemeClr val="accent6"/>
            </a:effectRef>
            <a:fontRef idx="minor">
              <a:schemeClr val="tx1"/>
            </a:fontRef>
          </p:style>
        </p:cxnSp>
      </p:grpSp>
      <p:pic>
        <p:nvPicPr>
          <p:cNvPr id="33" name="Picture 32">
            <a:extLst>
              <a:ext uri="{FF2B5EF4-FFF2-40B4-BE49-F238E27FC236}">
                <a16:creationId xmlns:a16="http://schemas.microsoft.com/office/drawing/2014/main" id="{30BF3BB0-6E35-489B-B983-D119E7A15611}"/>
              </a:ext>
            </a:extLst>
          </p:cNvPr>
          <p:cNvPicPr>
            <a:picLocks noChangeAspect="1"/>
          </p:cNvPicPr>
          <p:nvPr/>
        </p:nvPicPr>
        <p:blipFill rotWithShape="1">
          <a:blip r:embed="rId3"/>
          <a:srcRect t="61480" r="12075"/>
          <a:stretch/>
        </p:blipFill>
        <p:spPr>
          <a:xfrm>
            <a:off x="6307105" y="2008401"/>
            <a:ext cx="5774287" cy="2563599"/>
          </a:xfrm>
          <a:prstGeom prst="rect">
            <a:avLst/>
          </a:prstGeom>
        </p:spPr>
      </p:pic>
      <p:sp>
        <p:nvSpPr>
          <p:cNvPr id="34" name="Rectangle 33">
            <a:extLst>
              <a:ext uri="{FF2B5EF4-FFF2-40B4-BE49-F238E27FC236}">
                <a16:creationId xmlns:a16="http://schemas.microsoft.com/office/drawing/2014/main" id="{0F9C8785-2A26-4939-9026-0DABE609517E}"/>
              </a:ext>
            </a:extLst>
          </p:cNvPr>
          <p:cNvSpPr/>
          <p:nvPr/>
        </p:nvSpPr>
        <p:spPr>
          <a:xfrm>
            <a:off x="558386" y="6189668"/>
            <a:ext cx="3484392" cy="215431"/>
          </a:xfrm>
          <a:prstGeom prst="rect">
            <a:avLst/>
          </a:prstGeom>
          <a:noFill/>
        </p:spPr>
        <p:txBody>
          <a:bodyPr wrap="square" lIns="91428" tIns="45714" rIns="91428" bIns="45714">
            <a:spAutoFit/>
          </a:bodyPr>
          <a:lstStyle/>
          <a:p>
            <a:pPr algn="ctr"/>
            <a:r>
              <a:rPr lang="en-US" sz="800">
                <a:solidFill>
                  <a:schemeClr val="bg1">
                    <a:lumMod val="50000"/>
                  </a:schemeClr>
                </a:solidFill>
                <a:hlinkClick r:id="rId4">
                  <a:extLst>
                    <a:ext uri="{A12FA001-AC4F-418D-AE19-62706E023703}">
                      <ahyp:hlinkClr xmlns:ahyp="http://schemas.microsoft.com/office/drawing/2018/hyperlinkcolor" val="tx"/>
                    </a:ext>
                  </a:extLst>
                </a:hlinkClick>
              </a:rPr>
              <a:t>Source: </a:t>
            </a:r>
            <a:r>
              <a:rPr lang="en-US" sz="800" err="1">
                <a:solidFill>
                  <a:schemeClr val="bg1">
                    <a:lumMod val="50000"/>
                  </a:schemeClr>
                </a:solidFill>
                <a:hlinkClick r:id="rId4">
                  <a:extLst>
                    <a:ext uri="{A12FA001-AC4F-418D-AE19-62706E023703}">
                      <ahyp:hlinkClr xmlns:ahyp="http://schemas.microsoft.com/office/drawing/2018/hyperlinkcolor" val="tx"/>
                    </a:ext>
                  </a:extLst>
                </a:hlinkClick>
              </a:rPr>
              <a:t>symanto</a:t>
            </a:r>
            <a:r>
              <a:rPr lang="en-US" sz="800">
                <a:solidFill>
                  <a:schemeClr val="bg1">
                    <a:lumMod val="50000"/>
                  </a:schemeClr>
                </a:solidFill>
                <a:hlinkClick r:id="rId4">
                  <a:extLst>
                    <a:ext uri="{A12FA001-AC4F-418D-AE19-62706E023703}">
                      <ahyp:hlinkClr xmlns:ahyp="http://schemas.microsoft.com/office/drawing/2018/hyperlinkcolor" val="tx"/>
                    </a:ext>
                  </a:extLst>
                </a:hlinkClick>
              </a:rPr>
              <a:t>/</a:t>
            </a:r>
            <a:r>
              <a:rPr lang="en-US" sz="800" err="1">
                <a:solidFill>
                  <a:schemeClr val="bg1">
                    <a:lumMod val="50000"/>
                  </a:schemeClr>
                </a:solidFill>
                <a:hlinkClick r:id="rId4">
                  <a:extLst>
                    <a:ext uri="{A12FA001-AC4F-418D-AE19-62706E023703}">
                      <ahyp:hlinkClr xmlns:ahyp="http://schemas.microsoft.com/office/drawing/2018/hyperlinkcolor" val="tx"/>
                    </a:ext>
                  </a:extLst>
                </a:hlinkClick>
              </a:rPr>
              <a:t>sn</a:t>
            </a:r>
            <a:r>
              <a:rPr lang="en-US" sz="800">
                <a:solidFill>
                  <a:schemeClr val="bg1">
                    <a:lumMod val="50000"/>
                  </a:schemeClr>
                </a:solidFill>
                <a:hlinkClick r:id="rId4">
                  <a:extLst>
                    <a:ext uri="{A12FA001-AC4F-418D-AE19-62706E023703}">
                      <ahyp:hlinkClr xmlns:ahyp="http://schemas.microsoft.com/office/drawing/2018/hyperlinkcolor" val="tx"/>
                    </a:ext>
                  </a:extLst>
                </a:hlinkClick>
              </a:rPr>
              <a:t>-</a:t>
            </a:r>
            <a:r>
              <a:rPr lang="en-US" sz="800" err="1">
                <a:solidFill>
                  <a:schemeClr val="bg1">
                    <a:lumMod val="50000"/>
                  </a:schemeClr>
                </a:solidFill>
                <a:hlinkClick r:id="rId4">
                  <a:extLst>
                    <a:ext uri="{A12FA001-AC4F-418D-AE19-62706E023703}">
                      <ahyp:hlinkClr xmlns:ahyp="http://schemas.microsoft.com/office/drawing/2018/hyperlinkcolor" val="tx"/>
                    </a:ext>
                  </a:extLst>
                </a:hlinkClick>
              </a:rPr>
              <a:t>xlm</a:t>
            </a:r>
            <a:r>
              <a:rPr lang="en-US" sz="800">
                <a:solidFill>
                  <a:schemeClr val="bg1">
                    <a:lumMod val="50000"/>
                  </a:schemeClr>
                </a:solidFill>
                <a:hlinkClick r:id="rId4">
                  <a:extLst>
                    <a:ext uri="{A12FA001-AC4F-418D-AE19-62706E023703}">
                      <ahyp:hlinkClr xmlns:ahyp="http://schemas.microsoft.com/office/drawing/2018/hyperlinkcolor" val="tx"/>
                    </a:ext>
                  </a:extLst>
                </a:hlinkClick>
              </a:rPr>
              <a:t>-</a:t>
            </a:r>
            <a:r>
              <a:rPr lang="en-US" sz="800" err="1">
                <a:solidFill>
                  <a:schemeClr val="bg1">
                    <a:lumMod val="50000"/>
                  </a:schemeClr>
                </a:solidFill>
                <a:hlinkClick r:id="rId4">
                  <a:extLst>
                    <a:ext uri="{A12FA001-AC4F-418D-AE19-62706E023703}">
                      <ahyp:hlinkClr xmlns:ahyp="http://schemas.microsoft.com/office/drawing/2018/hyperlinkcolor" val="tx"/>
                    </a:ext>
                  </a:extLst>
                </a:hlinkClick>
              </a:rPr>
              <a:t>roberta</a:t>
            </a:r>
            <a:r>
              <a:rPr lang="en-US" sz="800">
                <a:solidFill>
                  <a:schemeClr val="bg1">
                    <a:lumMod val="50000"/>
                  </a:schemeClr>
                </a:solidFill>
                <a:hlinkClick r:id="rId4">
                  <a:extLst>
                    <a:ext uri="{A12FA001-AC4F-418D-AE19-62706E023703}">
                      <ahyp:hlinkClr xmlns:ahyp="http://schemas.microsoft.com/office/drawing/2018/hyperlinkcolor" val="tx"/>
                    </a:ext>
                  </a:extLst>
                </a:hlinkClick>
              </a:rPr>
              <a:t>-base-</a:t>
            </a:r>
            <a:r>
              <a:rPr lang="en-US" sz="800" err="1">
                <a:solidFill>
                  <a:schemeClr val="bg1">
                    <a:lumMod val="50000"/>
                  </a:schemeClr>
                </a:solidFill>
                <a:hlinkClick r:id="rId4">
                  <a:extLst>
                    <a:ext uri="{A12FA001-AC4F-418D-AE19-62706E023703}">
                      <ahyp:hlinkClr xmlns:ahyp="http://schemas.microsoft.com/office/drawing/2018/hyperlinkcolor" val="tx"/>
                    </a:ext>
                  </a:extLst>
                </a:hlinkClick>
              </a:rPr>
              <a:t>snli</a:t>
            </a:r>
            <a:r>
              <a:rPr lang="en-US" sz="800">
                <a:solidFill>
                  <a:schemeClr val="bg1">
                    <a:lumMod val="50000"/>
                  </a:schemeClr>
                </a:solidFill>
                <a:hlinkClick r:id="rId4">
                  <a:extLst>
                    <a:ext uri="{A12FA001-AC4F-418D-AE19-62706E023703}">
                      <ahyp:hlinkClr xmlns:ahyp="http://schemas.microsoft.com/office/drawing/2018/hyperlinkcolor" val="tx"/>
                    </a:ext>
                  </a:extLst>
                </a:hlinkClick>
              </a:rPr>
              <a:t>-</a:t>
            </a:r>
            <a:r>
              <a:rPr lang="en-US" sz="800" err="1">
                <a:solidFill>
                  <a:schemeClr val="bg1">
                    <a:lumMod val="50000"/>
                  </a:schemeClr>
                </a:solidFill>
                <a:hlinkClick r:id="rId4">
                  <a:extLst>
                    <a:ext uri="{A12FA001-AC4F-418D-AE19-62706E023703}">
                      <ahyp:hlinkClr xmlns:ahyp="http://schemas.microsoft.com/office/drawing/2018/hyperlinkcolor" val="tx"/>
                    </a:ext>
                  </a:extLst>
                </a:hlinkClick>
              </a:rPr>
              <a:t>mnli-anli-xnli</a:t>
            </a:r>
            <a:r>
              <a:rPr lang="en-US" sz="800">
                <a:solidFill>
                  <a:schemeClr val="bg1">
                    <a:lumMod val="50000"/>
                  </a:schemeClr>
                </a:solidFill>
                <a:hlinkClick r:id="rId4">
                  <a:extLst>
                    <a:ext uri="{A12FA001-AC4F-418D-AE19-62706E023703}">
                      <ahyp:hlinkClr xmlns:ahyp="http://schemas.microsoft.com/office/drawing/2018/hyperlinkcolor" val="tx"/>
                    </a:ext>
                  </a:extLst>
                </a:hlinkClick>
              </a:rPr>
              <a:t> · Hugging Face</a:t>
            </a:r>
            <a:endParaRPr lang="en-US" sz="800">
              <a:solidFill>
                <a:schemeClr val="bg1">
                  <a:lumMod val="50000"/>
                </a:schemeClr>
              </a:solidFill>
            </a:endParaRPr>
          </a:p>
        </p:txBody>
      </p:sp>
      <p:cxnSp>
        <p:nvCxnSpPr>
          <p:cNvPr id="6" name="Straight Connector 5">
            <a:extLst>
              <a:ext uri="{FF2B5EF4-FFF2-40B4-BE49-F238E27FC236}">
                <a16:creationId xmlns:a16="http://schemas.microsoft.com/office/drawing/2014/main" id="{4091BD31-5ADF-4E9D-84A5-76800A73997C}"/>
              </a:ext>
            </a:extLst>
          </p:cNvPr>
          <p:cNvCxnSpPr/>
          <p:nvPr/>
        </p:nvCxnSpPr>
        <p:spPr bwMode="gray">
          <a:xfrm>
            <a:off x="10611698" y="2861711"/>
            <a:ext cx="0" cy="1674617"/>
          </a:xfrm>
          <a:prstGeom prst="line">
            <a:avLst/>
          </a:prstGeom>
          <a:ln w="635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7F22BE-22C2-4701-814A-40BC76D27CC8}"/>
              </a:ext>
            </a:extLst>
          </p:cNvPr>
          <p:cNvCxnSpPr/>
          <p:nvPr/>
        </p:nvCxnSpPr>
        <p:spPr bwMode="gray">
          <a:xfrm>
            <a:off x="10841278" y="2861709"/>
            <a:ext cx="0" cy="1674617"/>
          </a:xfrm>
          <a:prstGeom prst="line">
            <a:avLst/>
          </a:prstGeom>
          <a:ln w="635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8C29F63-2396-40E4-913F-1BCCCE29DE5F}"/>
              </a:ext>
            </a:extLst>
          </p:cNvPr>
          <p:cNvCxnSpPr>
            <a:cxnSpLocks/>
          </p:cNvCxnSpPr>
          <p:nvPr/>
        </p:nvCxnSpPr>
        <p:spPr bwMode="gray">
          <a:xfrm>
            <a:off x="5764607" y="2008401"/>
            <a:ext cx="0" cy="3306549"/>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B90AC3FD-5BFE-422D-97B5-C0A9F07AAB36}"/>
              </a:ext>
            </a:extLst>
          </p:cNvPr>
          <p:cNvGrpSpPr/>
          <p:nvPr/>
        </p:nvGrpSpPr>
        <p:grpSpPr>
          <a:xfrm>
            <a:off x="10947419" y="121406"/>
            <a:ext cx="1176925" cy="304109"/>
            <a:chOff x="7530052" y="5001373"/>
            <a:chExt cx="1176925" cy="304109"/>
          </a:xfrm>
        </p:grpSpPr>
        <p:sp>
          <p:nvSpPr>
            <p:cNvPr id="37" name="Rectangle 36">
              <a:extLst>
                <a:ext uri="{FF2B5EF4-FFF2-40B4-BE49-F238E27FC236}">
                  <a16:creationId xmlns:a16="http://schemas.microsoft.com/office/drawing/2014/main" id="{72FF525F-EB3F-4297-815E-32FFE13C0B75}"/>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dirty="0">
                  <a:ln w="0"/>
                  <a:solidFill>
                    <a:schemeClr val="tx1"/>
                  </a:solidFill>
                  <a:effectLst>
                    <a:outerShdw blurRad="38100" dist="19050" dir="2700000" algn="tl" rotWithShape="0">
                      <a:schemeClr val="dk1">
                        <a:alpha val="40000"/>
                      </a:schemeClr>
                    </a:outerShdw>
                  </a:effectLst>
                </a:rPr>
                <a:t>text  》numbers</a:t>
              </a:r>
              <a:endParaRPr lang="en-US" sz="1100" b="0" cap="none" spc="0" dirty="0">
                <a:ln w="0"/>
                <a:solidFill>
                  <a:schemeClr val="tx1"/>
                </a:solidFill>
                <a:effectLst>
                  <a:outerShdw blurRad="38100" dist="19050" dir="2700000" algn="tl" rotWithShape="0">
                    <a:schemeClr val="dk1">
                      <a:alpha val="40000"/>
                    </a:schemeClr>
                  </a:outerShdw>
                </a:effectLst>
              </a:endParaRPr>
            </a:p>
          </p:txBody>
        </p:sp>
        <p:sp>
          <p:nvSpPr>
            <p:cNvPr id="38" name="Flowchart: Connector 37">
              <a:extLst>
                <a:ext uri="{FF2B5EF4-FFF2-40B4-BE49-F238E27FC236}">
                  <a16:creationId xmlns:a16="http://schemas.microsoft.com/office/drawing/2014/main" id="{DE08E458-BBAE-4D4C-A243-F872ED8799AB}"/>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lowchart: Connector 38">
              <a:extLst>
                <a:ext uri="{FF2B5EF4-FFF2-40B4-BE49-F238E27FC236}">
                  <a16:creationId xmlns:a16="http://schemas.microsoft.com/office/drawing/2014/main" id="{8F112393-B2DE-4BD5-BD56-B44FA4F5CBB6}"/>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Oval 39">
            <a:extLst>
              <a:ext uri="{FF2B5EF4-FFF2-40B4-BE49-F238E27FC236}">
                <a16:creationId xmlns:a16="http://schemas.microsoft.com/office/drawing/2014/main" id="{14300266-E070-44B9-B6FC-AD799107BBCA}"/>
              </a:ext>
            </a:extLst>
          </p:cNvPr>
          <p:cNvSpPr/>
          <p:nvPr/>
        </p:nvSpPr>
        <p:spPr bwMode="gray">
          <a:xfrm>
            <a:off x="11930010" y="34859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a:t>
            </a:r>
          </a:p>
        </p:txBody>
      </p:sp>
    </p:spTree>
    <p:extLst>
      <p:ext uri="{BB962C8B-B14F-4D97-AF65-F5344CB8AC3E}">
        <p14:creationId xmlns:p14="http://schemas.microsoft.com/office/powerpoint/2010/main" val="2714321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
            <a:extLst>
              <a:ext uri="{FF2B5EF4-FFF2-40B4-BE49-F238E27FC236}">
                <a16:creationId xmlns:a16="http://schemas.microsoft.com/office/drawing/2014/main" id="{23EA4584-DCA5-4855-8CA5-1346876D6E25}"/>
              </a:ext>
            </a:extLst>
          </p:cNvPr>
          <p:cNvSpPr/>
          <p:nvPr/>
        </p:nvSpPr>
        <p:spPr bwMode="gray">
          <a:xfrm>
            <a:off x="9269845" y="3614"/>
            <a:ext cx="2915935" cy="6875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59" name="Gleichschenkliges Dreieck 6">
            <a:extLst>
              <a:ext uri="{FF2B5EF4-FFF2-40B4-BE49-F238E27FC236}">
                <a16:creationId xmlns:a16="http://schemas.microsoft.com/office/drawing/2014/main" id="{B3BF4676-B0F9-4108-8A70-53BC6C4A55DB}"/>
              </a:ext>
            </a:extLst>
          </p:cNvPr>
          <p:cNvSpPr/>
          <p:nvPr/>
        </p:nvSpPr>
        <p:spPr bwMode="gray">
          <a:xfrm>
            <a:off x="7839590" y="10277"/>
            <a:ext cx="1438303" cy="6875105"/>
          </a:xfrm>
          <a:prstGeom prst="triangle">
            <a:avLst>
              <a:gd name="adj" fmla="val 10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8" name="Footer Placeholder 7"/>
          <p:cNvSpPr>
            <a:spLocks noGrp="1"/>
          </p:cNvSpPr>
          <p:nvPr>
            <p:ph type="ftr" sz="quarter" idx="11"/>
          </p:nvPr>
        </p:nvSpPr>
        <p:spPr bwMode="gray">
          <a:xfrm>
            <a:off x="1860497"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1081668"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18</a:t>
            </a:fld>
            <a:endParaRPr lang="en-US">
              <a:solidFill>
                <a:srgbClr val="443247"/>
              </a:solidFill>
            </a:endParaRPr>
          </a:p>
        </p:txBody>
      </p:sp>
      <p:sp>
        <p:nvSpPr>
          <p:cNvPr id="11" name="Rectangle 10">
            <a:extLst>
              <a:ext uri="{FF2B5EF4-FFF2-40B4-BE49-F238E27FC236}">
                <a16:creationId xmlns:a16="http://schemas.microsoft.com/office/drawing/2014/main" id="{5A52AF07-8DBD-47B3-B124-553162ED92B3}"/>
              </a:ext>
            </a:extLst>
          </p:cNvPr>
          <p:cNvSpPr/>
          <p:nvPr/>
        </p:nvSpPr>
        <p:spPr>
          <a:xfrm>
            <a:off x="0" y="6297383"/>
            <a:ext cx="3484392" cy="215431"/>
          </a:xfrm>
          <a:prstGeom prst="rect">
            <a:avLst/>
          </a:prstGeom>
          <a:noFill/>
        </p:spPr>
        <p:txBody>
          <a:bodyPr wrap="square" lIns="91428" tIns="45714" rIns="91428" bIns="45714">
            <a:spAutoFit/>
          </a:bodyPr>
          <a:lstStyle/>
          <a:p>
            <a:r>
              <a:rPr lang="en-US" sz="800" dirty="0">
                <a:solidFill>
                  <a:schemeClr val="bg1">
                    <a:lumMod val="50000"/>
                  </a:schemeClr>
                </a:solidFill>
                <a:hlinkClick r:id="rId13">
                  <a:extLst>
                    <a:ext uri="{A12FA001-AC4F-418D-AE19-62706E023703}">
                      <ahyp:hlinkClr xmlns:ahyp="http://schemas.microsoft.com/office/drawing/2018/hyperlinkcolor" val="tx"/>
                    </a:ext>
                  </a:extLst>
                </a:hlinkClick>
              </a:rPr>
              <a:t>Source: </a:t>
            </a:r>
            <a:r>
              <a:rPr lang="en-US" sz="800" dirty="0">
                <a:solidFill>
                  <a:schemeClr val="bg1">
                    <a:lumMod val="50000"/>
                  </a:schemeClr>
                </a:solidFill>
              </a:rPr>
              <a:t>https://chinesenlp.xyz/#/</a:t>
            </a:r>
          </a:p>
        </p:txBody>
      </p:sp>
      <p:sp>
        <p:nvSpPr>
          <p:cNvPr id="21" name="Title 2">
            <a:extLst>
              <a:ext uri="{FF2B5EF4-FFF2-40B4-BE49-F238E27FC236}">
                <a16:creationId xmlns:a16="http://schemas.microsoft.com/office/drawing/2014/main" id="{3222B55B-282E-4C9F-A925-5D882DDD07E3}"/>
              </a:ext>
            </a:extLst>
          </p:cNvPr>
          <p:cNvSpPr>
            <a:spLocks noGrp="1"/>
          </p:cNvSpPr>
          <p:nvPr>
            <p:ph type="title"/>
          </p:nvPr>
        </p:nvSpPr>
        <p:spPr>
          <a:xfrm>
            <a:off x="895966" y="405502"/>
            <a:ext cx="7746527" cy="1484897"/>
          </a:xfrm>
        </p:spPr>
        <p:txBody>
          <a:bodyPr anchor="ctr"/>
          <a:lstStyle/>
          <a:p>
            <a:r>
              <a:rPr lang="en-US" sz="3600" b="1"/>
              <a:t>NLP aims at Decision </a:t>
            </a:r>
            <a:r>
              <a:rPr lang="en-US" sz="3600" b="1">
                <a:solidFill>
                  <a:srgbClr val="FF3162"/>
                </a:solidFill>
              </a:rPr>
              <a:t>Supporting</a:t>
            </a:r>
            <a:r>
              <a:rPr lang="en-US" sz="3600" b="1"/>
              <a:t> </a:t>
            </a:r>
            <a:br>
              <a:rPr lang="en-US" sz="3600" b="1"/>
            </a:br>
            <a:r>
              <a:rPr lang="en-US" sz="3600" b="1"/>
              <a:t>not Decision Making!</a:t>
            </a:r>
          </a:p>
        </p:txBody>
      </p:sp>
      <p:sp>
        <p:nvSpPr>
          <p:cNvPr id="25" name="Google Shape;305;p5">
            <a:extLst>
              <a:ext uri="{FF2B5EF4-FFF2-40B4-BE49-F238E27FC236}">
                <a16:creationId xmlns:a16="http://schemas.microsoft.com/office/drawing/2014/main" id="{A8FD0D4A-C727-4FF0-A037-0C5E11F183D8}"/>
              </a:ext>
            </a:extLst>
          </p:cNvPr>
          <p:cNvSpPr txBox="1"/>
          <p:nvPr/>
        </p:nvSpPr>
        <p:spPr>
          <a:xfrm>
            <a:off x="8924818" y="2789856"/>
            <a:ext cx="3151358" cy="844521"/>
          </a:xfrm>
          <a:prstGeom prst="rect">
            <a:avLst/>
          </a:prstGeom>
          <a:noFill/>
          <a:ln>
            <a:noFill/>
          </a:ln>
        </p:spPr>
        <p:txBody>
          <a:bodyPr spcFirstLastPara="1" wrap="square" lIns="91425" tIns="91425" rIns="91425" bIns="91425" anchor="t" anchorCtr="0">
            <a:noAutofit/>
          </a:bodyPr>
          <a:lstStyle/>
          <a:p>
            <a:pPr lvl="0" algn="ctr">
              <a:buSzPts val="4400"/>
            </a:pPr>
            <a:r>
              <a:rPr lang="en-US" sz="4800" b="1" i="1" baseline="30000" dirty="0">
                <a:solidFill>
                  <a:schemeClr val="accent2"/>
                </a:solidFill>
              </a:rPr>
              <a:t>Put Humans </a:t>
            </a:r>
          </a:p>
          <a:p>
            <a:pPr lvl="0" algn="ctr">
              <a:buSzPts val="4400"/>
            </a:pPr>
            <a:r>
              <a:rPr lang="en-US" sz="4800" b="1" i="1" baseline="30000" dirty="0">
                <a:solidFill>
                  <a:schemeClr val="accent2"/>
                </a:solidFill>
              </a:rPr>
              <a:t>into NLP Loop</a:t>
            </a:r>
            <a:endParaRPr lang="en-US" sz="4800" b="1" i="1" baseline="30000" dirty="0">
              <a:solidFill>
                <a:schemeClr val="accent4"/>
              </a:solidFill>
            </a:endParaRPr>
          </a:p>
        </p:txBody>
      </p:sp>
      <p:sp>
        <p:nvSpPr>
          <p:cNvPr id="30" name="Left Arrow 1">
            <a:extLst>
              <a:ext uri="{FF2B5EF4-FFF2-40B4-BE49-F238E27FC236}">
                <a16:creationId xmlns:a16="http://schemas.microsoft.com/office/drawing/2014/main" id="{4EE32351-1153-4264-BDF8-C7399BF8270B}"/>
              </a:ext>
            </a:extLst>
          </p:cNvPr>
          <p:cNvSpPr>
            <a:spLocks noChangeAspect="1"/>
          </p:cNvSpPr>
          <p:nvPr/>
        </p:nvSpPr>
        <p:spPr>
          <a:xfrm>
            <a:off x="9923502" y="977428"/>
            <a:ext cx="1305588" cy="1270743"/>
          </a:xfrm>
          <a:custGeom>
            <a:avLst/>
            <a:gdLst/>
            <a:ahLst/>
            <a:cxnLst/>
            <a:rect l="l" t="t" r="r" b="b"/>
            <a:pathLst>
              <a:path w="3306630" h="3218379">
                <a:moveTo>
                  <a:pt x="0" y="2085651"/>
                </a:moveTo>
                <a:cubicBezTo>
                  <a:pt x="253919" y="2342528"/>
                  <a:pt x="881542" y="2297196"/>
                  <a:pt x="1388167" y="2271654"/>
                </a:cubicBezTo>
                <a:lnTo>
                  <a:pt x="1417952" y="2988872"/>
                </a:lnTo>
                <a:lnTo>
                  <a:pt x="717647" y="2950294"/>
                </a:lnTo>
                <a:cubicBezTo>
                  <a:pt x="467617" y="2928101"/>
                  <a:pt x="217417" y="2555860"/>
                  <a:pt x="0" y="2085651"/>
                </a:cubicBezTo>
                <a:close/>
                <a:moveTo>
                  <a:pt x="1969797" y="2019847"/>
                </a:moveTo>
                <a:lnTo>
                  <a:pt x="1969797" y="2274913"/>
                </a:lnTo>
                <a:lnTo>
                  <a:pt x="2657809" y="2274913"/>
                </a:lnTo>
                <a:cubicBezTo>
                  <a:pt x="2787205" y="2599270"/>
                  <a:pt x="2968360" y="2923626"/>
                  <a:pt x="2675062" y="2954686"/>
                </a:cubicBezTo>
                <a:lnTo>
                  <a:pt x="1969797" y="2963313"/>
                </a:lnTo>
                <a:lnTo>
                  <a:pt x="1969797" y="3218379"/>
                </a:lnTo>
                <a:lnTo>
                  <a:pt x="1429598" y="2619113"/>
                </a:lnTo>
                <a:close/>
                <a:moveTo>
                  <a:pt x="2961009" y="1275432"/>
                </a:moveTo>
                <a:lnTo>
                  <a:pt x="3277752" y="1901203"/>
                </a:lnTo>
                <a:cubicBezTo>
                  <a:pt x="3383548" y="2128832"/>
                  <a:pt x="3186278" y="2531632"/>
                  <a:pt x="2887773" y="2955026"/>
                </a:cubicBezTo>
                <a:cubicBezTo>
                  <a:pt x="2983276" y="2606687"/>
                  <a:pt x="2630206" y="2085815"/>
                  <a:pt x="2354773" y="1659836"/>
                </a:cubicBezTo>
                <a:close/>
                <a:moveTo>
                  <a:pt x="1019997" y="990789"/>
                </a:moveTo>
                <a:lnTo>
                  <a:pt x="1268877" y="1758248"/>
                </a:lnTo>
                <a:lnTo>
                  <a:pt x="1047983" y="1630715"/>
                </a:lnTo>
                <a:lnTo>
                  <a:pt x="703977" y="2226552"/>
                </a:lnTo>
                <a:cubicBezTo>
                  <a:pt x="358378" y="2176433"/>
                  <a:pt x="-13100" y="2171140"/>
                  <a:pt x="106650" y="1901606"/>
                </a:cubicBezTo>
                <a:lnTo>
                  <a:pt x="451811" y="1286515"/>
                </a:lnTo>
                <a:lnTo>
                  <a:pt x="230918" y="1158982"/>
                </a:lnTo>
                <a:close/>
                <a:moveTo>
                  <a:pt x="2174825" y="119764"/>
                </a:moveTo>
                <a:cubicBezTo>
                  <a:pt x="2220451" y="119103"/>
                  <a:pt x="2264887" y="143875"/>
                  <a:pt x="2308274" y="203493"/>
                </a:cubicBezTo>
                <a:lnTo>
                  <a:pt x="2668377" y="809957"/>
                </a:lnTo>
                <a:lnTo>
                  <a:pt x="2889271" y="682424"/>
                </a:lnTo>
                <a:lnTo>
                  <a:pt x="2640391" y="1449883"/>
                </a:lnTo>
                <a:lnTo>
                  <a:pt x="1851312" y="1281690"/>
                </a:lnTo>
                <a:lnTo>
                  <a:pt x="2072206" y="1154157"/>
                </a:lnTo>
                <a:lnTo>
                  <a:pt x="1728200" y="558321"/>
                </a:lnTo>
                <a:cubicBezTo>
                  <a:pt x="1890352" y="352642"/>
                  <a:pt x="2037947" y="121750"/>
                  <a:pt x="2174825" y="119764"/>
                </a:cubicBezTo>
                <a:close/>
                <a:moveTo>
                  <a:pt x="1831774" y="30"/>
                </a:moveTo>
                <a:cubicBezTo>
                  <a:pt x="1948530" y="539"/>
                  <a:pt x="2073232" y="7407"/>
                  <a:pt x="2202212" y="19111"/>
                </a:cubicBezTo>
                <a:cubicBezTo>
                  <a:pt x="1852790" y="110572"/>
                  <a:pt x="1578238" y="676776"/>
                  <a:pt x="1347045" y="1128297"/>
                </a:cubicBezTo>
                <a:lnTo>
                  <a:pt x="711024" y="795483"/>
                </a:lnTo>
                <a:lnTo>
                  <a:pt x="1094586" y="208291"/>
                </a:lnTo>
                <a:cubicBezTo>
                  <a:pt x="1202761" y="54213"/>
                  <a:pt x="1481508" y="-1496"/>
                  <a:pt x="1831774" y="3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2" name="Google Shape;305;p5">
            <a:extLst>
              <a:ext uri="{FF2B5EF4-FFF2-40B4-BE49-F238E27FC236}">
                <a16:creationId xmlns:a16="http://schemas.microsoft.com/office/drawing/2014/main" id="{94E5D0CD-B31C-4B16-955C-4C4F4E05C242}"/>
              </a:ext>
            </a:extLst>
          </p:cNvPr>
          <p:cNvSpPr txBox="1"/>
          <p:nvPr/>
        </p:nvSpPr>
        <p:spPr>
          <a:xfrm>
            <a:off x="8447999" y="4032717"/>
            <a:ext cx="3736539" cy="328748"/>
          </a:xfrm>
          <a:prstGeom prst="rect">
            <a:avLst/>
          </a:prstGeom>
          <a:noFill/>
          <a:ln>
            <a:noFill/>
          </a:ln>
        </p:spPr>
        <p:txBody>
          <a:bodyPr spcFirstLastPara="1" wrap="square" lIns="91425" tIns="91425" rIns="91425" bIns="91425" anchor="t" anchorCtr="0">
            <a:noAutofit/>
          </a:bodyPr>
          <a:lstStyle/>
          <a:p>
            <a:pPr lvl="0" algn="ctr">
              <a:buSzPts val="4400"/>
            </a:pPr>
            <a:r>
              <a:rPr lang="en-US" sz="2800" b="1" baseline="30000">
                <a:solidFill>
                  <a:schemeClr val="bg1">
                    <a:lumMod val="95000"/>
                  </a:schemeClr>
                </a:solidFill>
              </a:rPr>
              <a:t>Case: TL insights exploration </a:t>
            </a:r>
          </a:p>
        </p:txBody>
      </p:sp>
      <p:pic>
        <p:nvPicPr>
          <p:cNvPr id="6" name="Graphic 5" descr="Monitor with solid fill">
            <a:extLst>
              <a:ext uri="{FF2B5EF4-FFF2-40B4-BE49-F238E27FC236}">
                <a16:creationId xmlns:a16="http://schemas.microsoft.com/office/drawing/2014/main" id="{29672628-FC66-4C32-BA79-B05425BC7C6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634050" y="4748898"/>
            <a:ext cx="571716" cy="594739"/>
          </a:xfrm>
          <a:prstGeom prst="rect">
            <a:avLst/>
          </a:prstGeom>
        </p:spPr>
      </p:pic>
      <p:sp>
        <p:nvSpPr>
          <p:cNvPr id="19" name="Google Shape;305;p5">
            <a:extLst>
              <a:ext uri="{FF2B5EF4-FFF2-40B4-BE49-F238E27FC236}">
                <a16:creationId xmlns:a16="http://schemas.microsoft.com/office/drawing/2014/main" id="{19311425-721C-4E87-AF41-E1DE70F6DB39}"/>
              </a:ext>
            </a:extLst>
          </p:cNvPr>
          <p:cNvSpPr txBox="1"/>
          <p:nvPr/>
        </p:nvSpPr>
        <p:spPr>
          <a:xfrm>
            <a:off x="8026504" y="4913685"/>
            <a:ext cx="1173444" cy="249400"/>
          </a:xfrm>
          <a:prstGeom prst="rect">
            <a:avLst/>
          </a:prstGeom>
          <a:noFill/>
          <a:ln>
            <a:noFill/>
          </a:ln>
        </p:spPr>
        <p:txBody>
          <a:bodyPr spcFirstLastPara="1" wrap="square" lIns="91425" tIns="91425" rIns="91425" bIns="91425" anchor="t" anchorCtr="0">
            <a:noAutofit/>
          </a:bodyPr>
          <a:lstStyle/>
          <a:p>
            <a:pPr lvl="0" algn="ctr">
              <a:buSzPts val="4400"/>
            </a:pPr>
            <a:r>
              <a:rPr lang="en-US" sz="2400" baseline="30000" dirty="0">
                <a:solidFill>
                  <a:schemeClr val="bg1">
                    <a:lumMod val="95000"/>
                  </a:schemeClr>
                </a:solidFill>
              </a:rPr>
              <a:t>big data</a:t>
            </a:r>
          </a:p>
        </p:txBody>
      </p:sp>
      <p:cxnSp>
        <p:nvCxnSpPr>
          <p:cNvPr id="14" name="Connector: Elbow 13">
            <a:extLst>
              <a:ext uri="{FF2B5EF4-FFF2-40B4-BE49-F238E27FC236}">
                <a16:creationId xmlns:a16="http://schemas.microsoft.com/office/drawing/2014/main" id="{D6F82D16-03F8-417D-98B3-47BEFD5E78EA}"/>
              </a:ext>
            </a:extLst>
          </p:cNvPr>
          <p:cNvCxnSpPr>
            <a:cxnSpLocks/>
            <a:endCxn id="6" idx="1"/>
          </p:cNvCxnSpPr>
          <p:nvPr/>
        </p:nvCxnSpPr>
        <p:spPr bwMode="gray">
          <a:xfrm>
            <a:off x="9072478" y="5043789"/>
            <a:ext cx="561572" cy="2479"/>
          </a:xfrm>
          <a:prstGeom prst="bentConnector3">
            <a:avLst/>
          </a:prstGeom>
          <a:ln w="63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20C0C210-0D52-4F95-A3C7-EE0481BB5F07}"/>
              </a:ext>
            </a:extLst>
          </p:cNvPr>
          <p:cNvCxnSpPr>
            <a:cxnSpLocks/>
            <a:endCxn id="6" idx="2"/>
          </p:cNvCxnSpPr>
          <p:nvPr/>
        </p:nvCxnSpPr>
        <p:spPr bwMode="gray">
          <a:xfrm flipV="1">
            <a:off x="9051847" y="5343637"/>
            <a:ext cx="868061" cy="824824"/>
          </a:xfrm>
          <a:prstGeom prst="bentConnector2">
            <a:avLst/>
          </a:prstGeom>
          <a:ln w="63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1" name="Google Shape;305;p5">
            <a:extLst>
              <a:ext uri="{FF2B5EF4-FFF2-40B4-BE49-F238E27FC236}">
                <a16:creationId xmlns:a16="http://schemas.microsoft.com/office/drawing/2014/main" id="{135F6415-8C4B-4489-8093-A5B0DCB7DA3F}"/>
              </a:ext>
            </a:extLst>
          </p:cNvPr>
          <p:cNvSpPr txBox="1"/>
          <p:nvPr/>
        </p:nvSpPr>
        <p:spPr>
          <a:xfrm>
            <a:off x="8979760" y="5606425"/>
            <a:ext cx="2161562" cy="429872"/>
          </a:xfrm>
          <a:prstGeom prst="rect">
            <a:avLst/>
          </a:prstGeom>
          <a:solidFill>
            <a:srgbClr val="443247"/>
          </a:solidFill>
          <a:ln>
            <a:noFill/>
          </a:ln>
        </p:spPr>
        <p:txBody>
          <a:bodyPr spcFirstLastPara="1" wrap="square" lIns="91425" tIns="91425" rIns="91425" bIns="91425" anchor="t" anchorCtr="0">
            <a:noAutofit/>
          </a:bodyPr>
          <a:lstStyle/>
          <a:p>
            <a:pPr lvl="0">
              <a:buSzPts val="4400"/>
            </a:pPr>
            <a:r>
              <a:rPr lang="en-US" b="1" i="1" baseline="30000" dirty="0">
                <a:solidFill>
                  <a:schemeClr val="bg1">
                    <a:lumMod val="95000"/>
                  </a:schemeClr>
                </a:solidFill>
              </a:rPr>
              <a:t>Expert Knowledge</a:t>
            </a:r>
          </a:p>
          <a:p>
            <a:pPr lvl="0">
              <a:buSzPts val="4400"/>
            </a:pPr>
            <a:r>
              <a:rPr lang="en-US" baseline="30000" dirty="0">
                <a:solidFill>
                  <a:schemeClr val="bg1">
                    <a:lumMod val="95000"/>
                  </a:schemeClr>
                </a:solidFill>
              </a:rPr>
              <a:t>-Patient related aspect: </a:t>
            </a:r>
            <a:r>
              <a:rPr lang="zh-CN" altLang="en-US" baseline="30000" dirty="0">
                <a:solidFill>
                  <a:schemeClr val="bg1">
                    <a:lumMod val="95000"/>
                  </a:schemeClr>
                </a:solidFill>
              </a:rPr>
              <a:t>年龄</a:t>
            </a:r>
            <a:endParaRPr lang="en-US" baseline="30000" dirty="0">
              <a:solidFill>
                <a:schemeClr val="bg1">
                  <a:lumMod val="95000"/>
                </a:schemeClr>
              </a:solidFill>
            </a:endParaRPr>
          </a:p>
        </p:txBody>
      </p:sp>
      <p:cxnSp>
        <p:nvCxnSpPr>
          <p:cNvPr id="32" name="Connector: Elbow 31">
            <a:extLst>
              <a:ext uri="{FF2B5EF4-FFF2-40B4-BE49-F238E27FC236}">
                <a16:creationId xmlns:a16="http://schemas.microsoft.com/office/drawing/2014/main" id="{9180D95E-6C25-4ED1-8A97-EBF63D81DF8C}"/>
              </a:ext>
            </a:extLst>
          </p:cNvPr>
          <p:cNvCxnSpPr>
            <a:cxnSpLocks/>
            <a:stCxn id="6" idx="3"/>
            <a:endCxn id="33" idx="1"/>
          </p:cNvCxnSpPr>
          <p:nvPr/>
        </p:nvCxnSpPr>
        <p:spPr bwMode="gray">
          <a:xfrm flipV="1">
            <a:off x="10205766" y="5044471"/>
            <a:ext cx="477785" cy="1797"/>
          </a:xfrm>
          <a:prstGeom prst="bentConnector3">
            <a:avLst/>
          </a:prstGeom>
          <a:ln w="63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Google Shape;305;p5">
            <a:extLst>
              <a:ext uri="{FF2B5EF4-FFF2-40B4-BE49-F238E27FC236}">
                <a16:creationId xmlns:a16="http://schemas.microsoft.com/office/drawing/2014/main" id="{4C3F4446-A84A-43C4-849E-64C2B737589E}"/>
              </a:ext>
            </a:extLst>
          </p:cNvPr>
          <p:cNvSpPr txBox="1"/>
          <p:nvPr/>
        </p:nvSpPr>
        <p:spPr>
          <a:xfrm>
            <a:off x="10683551" y="4645183"/>
            <a:ext cx="1498635" cy="798575"/>
          </a:xfrm>
          <a:prstGeom prst="rect">
            <a:avLst/>
          </a:prstGeom>
          <a:solidFill>
            <a:srgbClr val="443247"/>
          </a:solidFill>
          <a:ln>
            <a:noFill/>
          </a:ln>
        </p:spPr>
        <p:txBody>
          <a:bodyPr spcFirstLastPara="1" wrap="square" lIns="91425" tIns="91425" rIns="91425" bIns="91425" anchor="t" anchorCtr="0">
            <a:noAutofit/>
          </a:bodyPr>
          <a:lstStyle/>
          <a:p>
            <a:pPr>
              <a:buSzPts val="4400"/>
            </a:pPr>
            <a:r>
              <a:rPr lang="en-US" b="1" i="1" baseline="30000">
                <a:solidFill>
                  <a:schemeClr val="bg1">
                    <a:lumMod val="95000"/>
                  </a:schemeClr>
                </a:solidFill>
              </a:rPr>
              <a:t>Computer Result</a:t>
            </a:r>
            <a:endParaRPr lang="en-US" baseline="30000">
              <a:solidFill>
                <a:schemeClr val="bg1">
                  <a:lumMod val="95000"/>
                </a:schemeClr>
              </a:solidFill>
            </a:endParaRPr>
          </a:p>
          <a:p>
            <a:pPr lvl="0">
              <a:buSzPts val="4400"/>
            </a:pPr>
            <a:r>
              <a:rPr lang="en-US" baseline="30000">
                <a:solidFill>
                  <a:schemeClr val="bg1">
                    <a:lumMod val="95000"/>
                  </a:schemeClr>
                </a:solidFill>
              </a:rPr>
              <a:t>-Patient related </a:t>
            </a:r>
            <a:r>
              <a:rPr lang="en-US" altLang="zh-CN" baseline="30000">
                <a:solidFill>
                  <a:schemeClr val="bg1">
                    <a:lumMod val="95000"/>
                  </a:schemeClr>
                </a:solidFill>
              </a:rPr>
              <a:t>term</a:t>
            </a:r>
            <a:r>
              <a:rPr lang="en-US" baseline="30000">
                <a:solidFill>
                  <a:schemeClr val="bg1">
                    <a:lumMod val="95000"/>
                  </a:schemeClr>
                </a:solidFill>
              </a:rPr>
              <a:t>: </a:t>
            </a:r>
          </a:p>
          <a:p>
            <a:pPr lvl="0">
              <a:buSzPts val="4400"/>
            </a:pPr>
            <a:r>
              <a:rPr lang="zh-CN" altLang="en-US" baseline="30000">
                <a:solidFill>
                  <a:schemeClr val="bg1">
                    <a:lumMod val="95000"/>
                  </a:schemeClr>
                </a:solidFill>
              </a:rPr>
              <a:t>年龄：高龄、儿童</a:t>
            </a:r>
            <a:endParaRPr lang="en-US" baseline="30000">
              <a:solidFill>
                <a:schemeClr val="bg1">
                  <a:lumMod val="95000"/>
                </a:schemeClr>
              </a:solidFill>
            </a:endParaRPr>
          </a:p>
        </p:txBody>
      </p:sp>
      <p:cxnSp>
        <p:nvCxnSpPr>
          <p:cNvPr id="34" name="Connector: Elbow 33">
            <a:extLst>
              <a:ext uri="{FF2B5EF4-FFF2-40B4-BE49-F238E27FC236}">
                <a16:creationId xmlns:a16="http://schemas.microsoft.com/office/drawing/2014/main" id="{2D5BDD4E-A8CD-4470-ADE5-077F1A1F5264}"/>
              </a:ext>
            </a:extLst>
          </p:cNvPr>
          <p:cNvCxnSpPr>
            <a:cxnSpLocks/>
            <a:stCxn id="33" idx="2"/>
          </p:cNvCxnSpPr>
          <p:nvPr/>
        </p:nvCxnSpPr>
        <p:spPr bwMode="gray">
          <a:xfrm rot="5400000">
            <a:off x="9773942" y="4862297"/>
            <a:ext cx="1077466" cy="2240389"/>
          </a:xfrm>
          <a:prstGeom prst="bentConnector2">
            <a:avLst/>
          </a:prstGeom>
          <a:ln w="63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E66528C2-AD11-424E-955C-F7CCB0D68A53}"/>
              </a:ext>
            </a:extLst>
          </p:cNvPr>
          <p:cNvSpPr/>
          <p:nvPr/>
        </p:nvSpPr>
        <p:spPr bwMode="gray">
          <a:xfrm>
            <a:off x="296588" y="1914630"/>
            <a:ext cx="8020050" cy="4571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3E9789F1-235B-4D93-B5EC-0B7D549839BF}"/>
              </a:ext>
            </a:extLst>
          </p:cNvPr>
          <p:cNvGrpSpPr>
            <a:grpSpLocks noChangeAspect="1"/>
          </p:cNvGrpSpPr>
          <p:nvPr>
            <p:custDataLst>
              <p:tags r:id="rId1"/>
            </p:custDataLst>
          </p:nvPr>
        </p:nvGrpSpPr>
        <p:grpSpPr>
          <a:xfrm>
            <a:off x="6187305" y="2492369"/>
            <a:ext cx="548640" cy="548640"/>
            <a:chOff x="11423092" y="1732751"/>
            <a:chExt cx="357188" cy="357188"/>
          </a:xfrm>
        </p:grpSpPr>
        <p:sp>
          <p:nvSpPr>
            <p:cNvPr id="60" name="Harvey Ball">
              <a:extLst>
                <a:ext uri="{FF2B5EF4-FFF2-40B4-BE49-F238E27FC236}">
                  <a16:creationId xmlns:a16="http://schemas.microsoft.com/office/drawing/2014/main" id="{10E4D1A4-2465-4B2D-9197-C9375BC33C7F}"/>
                </a:ext>
              </a:extLst>
            </p:cNvPr>
            <p:cNvSpPr>
              <a:spLocks noChangeArrowheads="1"/>
            </p:cNvSpPr>
            <p:nvPr>
              <p:custDataLst>
                <p:tags r:id="rId9"/>
              </p:custDataLst>
            </p:nvPr>
          </p:nvSpPr>
          <p:spPr bwMode="auto">
            <a:xfrm>
              <a:off x="11423092" y="1732751"/>
              <a:ext cx="357188" cy="357188"/>
            </a:xfrm>
            <a:prstGeom prst="ellipse">
              <a:avLst/>
            </a:prstGeom>
            <a:noFill/>
            <a:ln w="25400" algn="ctr">
              <a:solidFill>
                <a:schemeClr val="accent1"/>
              </a:solidFill>
              <a:round/>
              <a:headEnd/>
              <a:tailEnd/>
            </a:ln>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61" name="Harvey Ball">
              <a:extLst>
                <a:ext uri="{FF2B5EF4-FFF2-40B4-BE49-F238E27FC236}">
                  <a16:creationId xmlns:a16="http://schemas.microsoft.com/office/drawing/2014/main" id="{834CCF6E-8387-4B0C-9F93-6F341741EA90}"/>
                </a:ext>
              </a:extLst>
            </p:cNvPr>
            <p:cNvSpPr/>
            <p:nvPr>
              <p:custDataLst>
                <p:tags r:id="rId10"/>
              </p:custDataLst>
            </p:nvPr>
          </p:nvSpPr>
          <p:spPr bwMode="auto">
            <a:xfrm>
              <a:off x="11423092" y="1732751"/>
              <a:ext cx="357188" cy="357188"/>
            </a:xfrm>
            <a:prstGeom prst="pie">
              <a:avLst>
                <a:gd name="adj1" fmla="val 16200000"/>
                <a:gd name="adj2" fmla="val 14688000"/>
              </a:avLst>
            </a:prstGeom>
            <a:solidFill>
              <a:schemeClr val="accent1"/>
            </a:solidFill>
            <a:ln w="12700" cap="flat" cmpd="sng" algn="ctr">
              <a:no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defRPr/>
              </a:pPr>
              <a:endParaRPr lang="en-US" sz="2400" dirty="0">
                <a:latin typeface="Arial" pitchFamily="34" charset="0"/>
              </a:endParaRPr>
            </a:p>
          </p:txBody>
        </p:sp>
      </p:grpSp>
      <p:sp>
        <p:nvSpPr>
          <p:cNvPr id="77" name="TextBox 76">
            <a:extLst>
              <a:ext uri="{FF2B5EF4-FFF2-40B4-BE49-F238E27FC236}">
                <a16:creationId xmlns:a16="http://schemas.microsoft.com/office/drawing/2014/main" id="{DE8E816A-6B89-4F62-A452-48B83B0A2E67}"/>
              </a:ext>
            </a:extLst>
          </p:cNvPr>
          <p:cNvSpPr txBox="1">
            <a:spLocks/>
          </p:cNvSpPr>
          <p:nvPr/>
        </p:nvSpPr>
        <p:spPr bwMode="gray">
          <a:xfrm>
            <a:off x="882878" y="2211203"/>
            <a:ext cx="1854200" cy="934304"/>
          </a:xfrm>
          <a:prstGeom prst="rect">
            <a:avLst/>
          </a:prstGeom>
          <a:solidFill>
            <a:schemeClr val="accent5"/>
          </a:solidFill>
          <a:ln w="9525">
            <a:noFill/>
          </a:ln>
        </p:spPr>
        <p:txBody>
          <a:bodyPr vert="horz" wrap="square" lIns="72009" tIns="72009" rIns="72009" bIns="72009" rtlCol="0" anchor="ctr" anchorCtr="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pPr marL="266700">
              <a:buClr>
                <a:schemeClr val="bg2"/>
              </a:buClr>
            </a:pPr>
            <a:r>
              <a:rPr lang="en-US" sz="1500" b="1" dirty="0">
                <a:solidFill>
                  <a:schemeClr val="lt1"/>
                </a:solidFill>
              </a:rPr>
              <a:t>Natural language extraction </a:t>
            </a:r>
          </a:p>
        </p:txBody>
      </p:sp>
      <p:sp>
        <p:nvSpPr>
          <p:cNvPr id="78" name="TextBox 77">
            <a:extLst>
              <a:ext uri="{FF2B5EF4-FFF2-40B4-BE49-F238E27FC236}">
                <a16:creationId xmlns:a16="http://schemas.microsoft.com/office/drawing/2014/main" id="{1D3D8080-09C4-4AB2-B4C7-33976BD754A8}"/>
              </a:ext>
            </a:extLst>
          </p:cNvPr>
          <p:cNvSpPr txBox="1">
            <a:spLocks/>
          </p:cNvSpPr>
          <p:nvPr/>
        </p:nvSpPr>
        <p:spPr bwMode="gray">
          <a:xfrm>
            <a:off x="882878" y="3411743"/>
            <a:ext cx="1854200" cy="1386486"/>
          </a:xfrm>
          <a:prstGeom prst="rect">
            <a:avLst/>
          </a:prstGeom>
          <a:solidFill>
            <a:schemeClr val="accent5"/>
          </a:solidFill>
          <a:ln w="9525">
            <a:noFill/>
          </a:ln>
        </p:spPr>
        <p:txBody>
          <a:bodyPr vert="horz" wrap="square" lIns="72009" tIns="72009" rIns="72009" bIns="72009" rtlCol="0" anchor="ctr" anchorCtr="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pPr marL="266700">
              <a:buClr>
                <a:schemeClr val="bg2"/>
              </a:buClr>
            </a:pPr>
            <a:r>
              <a:rPr lang="en-US" sz="1500" b="1" dirty="0">
                <a:solidFill>
                  <a:schemeClr val="lt1"/>
                </a:solidFill>
              </a:rPr>
              <a:t>Natural language understanding </a:t>
            </a:r>
          </a:p>
        </p:txBody>
      </p:sp>
      <p:sp>
        <p:nvSpPr>
          <p:cNvPr id="79" name="TextBox 78">
            <a:extLst>
              <a:ext uri="{FF2B5EF4-FFF2-40B4-BE49-F238E27FC236}">
                <a16:creationId xmlns:a16="http://schemas.microsoft.com/office/drawing/2014/main" id="{64AD28CE-12B0-469B-9EA7-54ADF3117189}"/>
              </a:ext>
            </a:extLst>
          </p:cNvPr>
          <p:cNvSpPr txBox="1">
            <a:spLocks/>
          </p:cNvSpPr>
          <p:nvPr/>
        </p:nvSpPr>
        <p:spPr bwMode="gray">
          <a:xfrm>
            <a:off x="882878" y="5012864"/>
            <a:ext cx="1854200" cy="1177061"/>
          </a:xfrm>
          <a:prstGeom prst="rect">
            <a:avLst/>
          </a:prstGeom>
          <a:solidFill>
            <a:schemeClr val="accent5"/>
          </a:solidFill>
          <a:ln w="9525">
            <a:noFill/>
          </a:ln>
        </p:spPr>
        <p:txBody>
          <a:bodyPr vert="horz" wrap="square" lIns="72009" tIns="72009" rIns="72009" bIns="72009" rtlCol="0" anchor="ctr" anchorCtr="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pPr marL="266700">
              <a:buClr>
                <a:schemeClr val="bg2"/>
              </a:buClr>
            </a:pPr>
            <a:r>
              <a:rPr lang="en-US" sz="1500" b="1" dirty="0">
                <a:solidFill>
                  <a:schemeClr val="lt1"/>
                </a:solidFill>
              </a:rPr>
              <a:t>Natural language generation </a:t>
            </a:r>
          </a:p>
        </p:txBody>
      </p:sp>
      <p:sp>
        <p:nvSpPr>
          <p:cNvPr id="81" name="Oval 80">
            <a:extLst>
              <a:ext uri="{FF2B5EF4-FFF2-40B4-BE49-F238E27FC236}">
                <a16:creationId xmlns:a16="http://schemas.microsoft.com/office/drawing/2014/main" id="{72EA5AD0-A074-44A8-B4A0-09C7C602FF24}"/>
              </a:ext>
            </a:extLst>
          </p:cNvPr>
          <p:cNvSpPr/>
          <p:nvPr/>
        </p:nvSpPr>
        <p:spPr bwMode="gray">
          <a:xfrm>
            <a:off x="482828" y="1839219"/>
            <a:ext cx="622300" cy="622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GB" sz="2800" b="1" i="0" u="none" baseline="0">
                <a:solidFill>
                  <a:schemeClr val="accent2"/>
                </a:solidFill>
                <a:latin typeface="Georgia" panose="02040502050405020303" pitchFamily="18" charset="0"/>
              </a:rPr>
              <a:t>1</a:t>
            </a:r>
          </a:p>
        </p:txBody>
      </p:sp>
      <p:sp>
        <p:nvSpPr>
          <p:cNvPr id="82" name="Oval 81">
            <a:extLst>
              <a:ext uri="{FF2B5EF4-FFF2-40B4-BE49-F238E27FC236}">
                <a16:creationId xmlns:a16="http://schemas.microsoft.com/office/drawing/2014/main" id="{FC1E6C0F-F549-47E8-86C7-AD6C283659C4}"/>
              </a:ext>
            </a:extLst>
          </p:cNvPr>
          <p:cNvSpPr/>
          <p:nvPr/>
        </p:nvSpPr>
        <p:spPr bwMode="gray">
          <a:xfrm>
            <a:off x="482828" y="3293054"/>
            <a:ext cx="622300" cy="622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GB" sz="2800" b="1" i="0" u="none" baseline="0">
                <a:solidFill>
                  <a:schemeClr val="accent2"/>
                </a:solidFill>
                <a:latin typeface="Georgia" panose="02040502050405020303" pitchFamily="18" charset="0"/>
              </a:rPr>
              <a:t>2</a:t>
            </a:r>
          </a:p>
        </p:txBody>
      </p:sp>
      <p:sp>
        <p:nvSpPr>
          <p:cNvPr id="83" name="Oval 82">
            <a:extLst>
              <a:ext uri="{FF2B5EF4-FFF2-40B4-BE49-F238E27FC236}">
                <a16:creationId xmlns:a16="http://schemas.microsoft.com/office/drawing/2014/main" id="{CF8B4F7D-EE1B-4E6A-B395-C4FDAB5F17B9}"/>
              </a:ext>
            </a:extLst>
          </p:cNvPr>
          <p:cNvSpPr/>
          <p:nvPr>
            <p:custDataLst>
              <p:tags r:id="rId2"/>
            </p:custDataLst>
          </p:nvPr>
        </p:nvSpPr>
        <p:spPr bwMode="gray">
          <a:xfrm>
            <a:off x="482828" y="4749336"/>
            <a:ext cx="622300" cy="622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GB" sz="2800" b="1" i="0" u="none" baseline="0">
                <a:solidFill>
                  <a:schemeClr val="accent2"/>
                </a:solidFill>
                <a:latin typeface="Georgia" panose="02040502050405020303" pitchFamily="18" charset="0"/>
              </a:rPr>
              <a:t>3</a:t>
            </a:r>
          </a:p>
        </p:txBody>
      </p:sp>
      <p:cxnSp>
        <p:nvCxnSpPr>
          <p:cNvPr id="90" name="Straight Connector 89">
            <a:extLst>
              <a:ext uri="{FF2B5EF4-FFF2-40B4-BE49-F238E27FC236}">
                <a16:creationId xmlns:a16="http://schemas.microsoft.com/office/drawing/2014/main" id="{51279B7F-4619-4637-B86F-24EA071DC187}"/>
              </a:ext>
            </a:extLst>
          </p:cNvPr>
          <p:cNvCxnSpPr>
            <a:cxnSpLocks/>
          </p:cNvCxnSpPr>
          <p:nvPr/>
        </p:nvCxnSpPr>
        <p:spPr bwMode="gray">
          <a:xfrm>
            <a:off x="5856412" y="2248171"/>
            <a:ext cx="246888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65352359-EBB8-43B6-923B-9DF991478CA1}"/>
              </a:ext>
            </a:extLst>
          </p:cNvPr>
          <p:cNvGrpSpPr/>
          <p:nvPr/>
        </p:nvGrpSpPr>
        <p:grpSpPr>
          <a:xfrm>
            <a:off x="2889497" y="2248171"/>
            <a:ext cx="3471569" cy="3484408"/>
            <a:chOff x="3096259" y="1577818"/>
            <a:chExt cx="3810335" cy="3484408"/>
          </a:xfrm>
        </p:grpSpPr>
        <p:cxnSp>
          <p:nvCxnSpPr>
            <p:cNvPr id="121" name="Straight Connector 120">
              <a:extLst>
                <a:ext uri="{FF2B5EF4-FFF2-40B4-BE49-F238E27FC236}">
                  <a16:creationId xmlns:a16="http://schemas.microsoft.com/office/drawing/2014/main" id="{5EBAC112-E785-4E69-BF97-A102686EFC9D}"/>
                </a:ext>
              </a:extLst>
            </p:cNvPr>
            <p:cNvCxnSpPr>
              <a:cxnSpLocks/>
            </p:cNvCxnSpPr>
            <p:nvPr/>
          </p:nvCxnSpPr>
          <p:spPr bwMode="gray">
            <a:xfrm>
              <a:off x="3096260" y="1577818"/>
              <a:ext cx="378341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DE839471-8092-476A-B59D-2E8AF03B5ECD}"/>
                </a:ext>
              </a:extLst>
            </p:cNvPr>
            <p:cNvSpPr txBox="1"/>
            <p:nvPr/>
          </p:nvSpPr>
          <p:spPr bwMode="gray">
            <a:xfrm>
              <a:off x="3123179" y="1714488"/>
              <a:ext cx="3783415" cy="95410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pPr marL="270000" lvl="1" indent="-270000" defTabSz="914400"/>
              <a:r>
                <a:rPr lang="en-GB" sz="1600" dirty="0">
                  <a:solidFill>
                    <a:schemeClr val="tx1"/>
                  </a:solidFill>
                </a:rPr>
                <a:t>Name entity extraction</a:t>
              </a:r>
            </a:p>
            <a:p>
              <a:pPr marL="270000" lvl="1" indent="-270000" defTabSz="914400"/>
              <a:r>
                <a:rPr lang="en-GB" sz="1600" dirty="0">
                  <a:solidFill>
                    <a:schemeClr val="tx1"/>
                  </a:solidFill>
                </a:rPr>
                <a:t>Relation extraction </a:t>
              </a:r>
            </a:p>
            <a:p>
              <a:pPr marL="0" lvl="1" indent="0">
                <a:buNone/>
              </a:pPr>
              <a:endParaRPr lang="en-GB" sz="1500" dirty="0">
                <a:solidFill>
                  <a:schemeClr val="tx1"/>
                </a:solidFill>
              </a:endParaRPr>
            </a:p>
          </p:txBody>
        </p:sp>
        <p:sp>
          <p:nvSpPr>
            <p:cNvPr id="123" name="TextBox 122">
              <a:extLst>
                <a:ext uri="{FF2B5EF4-FFF2-40B4-BE49-F238E27FC236}">
                  <a16:creationId xmlns:a16="http://schemas.microsoft.com/office/drawing/2014/main" id="{AC06A76D-883F-4B8C-8250-0942C19B989B}"/>
                </a:ext>
              </a:extLst>
            </p:cNvPr>
            <p:cNvSpPr txBox="1"/>
            <p:nvPr/>
          </p:nvSpPr>
          <p:spPr bwMode="gray">
            <a:xfrm>
              <a:off x="3096259" y="2796837"/>
              <a:ext cx="3783416" cy="167738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pPr marL="270000" lvl="1" indent="-270000" defTabSz="914400"/>
              <a:r>
                <a:rPr lang="en-GB" sz="1600" dirty="0">
                  <a:solidFill>
                    <a:schemeClr val="tx1"/>
                  </a:solidFill>
                </a:rPr>
                <a:t>Sentiment analysis </a:t>
              </a:r>
            </a:p>
            <a:p>
              <a:pPr marL="270000" lvl="1" indent="-270000" defTabSz="914400"/>
              <a:r>
                <a:rPr lang="en-GB" sz="1600" dirty="0">
                  <a:solidFill>
                    <a:schemeClr val="tx1"/>
                  </a:solidFill>
                </a:rPr>
                <a:t>Chatbot and virtual assistant </a:t>
              </a:r>
            </a:p>
            <a:p>
              <a:pPr marL="270000" lvl="1" indent="-270000" defTabSz="914400"/>
              <a:r>
                <a:rPr lang="en-GB" sz="1600" dirty="0">
                  <a:solidFill>
                    <a:schemeClr val="tx1"/>
                  </a:solidFill>
                </a:rPr>
                <a:t>Voice of customers </a:t>
              </a:r>
            </a:p>
            <a:p>
              <a:pPr marL="270000" lvl="1" indent="-270000" defTabSz="914400"/>
              <a:r>
                <a:rPr lang="en-GB" sz="1600" dirty="0">
                  <a:solidFill>
                    <a:schemeClr val="tx1"/>
                  </a:solidFill>
                </a:rPr>
                <a:t>Machine translation ...</a:t>
              </a:r>
            </a:p>
            <a:p>
              <a:pPr lvl="1">
                <a:buFont typeface="Arial" panose="020B0604020202020204" pitchFamily="34" charset="0"/>
                <a:buChar char="•"/>
              </a:pPr>
              <a:endParaRPr lang="en-GB" sz="1500" dirty="0">
                <a:solidFill>
                  <a:schemeClr val="tx1"/>
                </a:solidFill>
              </a:endParaRPr>
            </a:p>
          </p:txBody>
        </p:sp>
        <p:sp>
          <p:nvSpPr>
            <p:cNvPr id="124" name="TextBox 123">
              <a:extLst>
                <a:ext uri="{FF2B5EF4-FFF2-40B4-BE49-F238E27FC236}">
                  <a16:creationId xmlns:a16="http://schemas.microsoft.com/office/drawing/2014/main" id="{B5FE05E7-C336-4C43-A8F2-7E56F00DB485}"/>
                </a:ext>
              </a:extLst>
            </p:cNvPr>
            <p:cNvSpPr txBox="1"/>
            <p:nvPr/>
          </p:nvSpPr>
          <p:spPr bwMode="gray">
            <a:xfrm>
              <a:off x="3096262" y="4454367"/>
              <a:ext cx="3783415" cy="60785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pPr marL="270000" lvl="1" indent="-270000" defTabSz="914400"/>
              <a:r>
                <a:rPr lang="en-GB" sz="1600" dirty="0">
                  <a:solidFill>
                    <a:schemeClr val="tx1"/>
                  </a:solidFill>
                </a:rPr>
                <a:t>Abstract and summarization </a:t>
              </a:r>
            </a:p>
            <a:p>
              <a:pPr marL="270000" lvl="1" indent="-270000" defTabSz="914400"/>
              <a:r>
                <a:rPr lang="en-GB" sz="1600" dirty="0">
                  <a:solidFill>
                    <a:schemeClr val="tx1"/>
                  </a:solidFill>
                </a:rPr>
                <a:t>Contents generation </a:t>
              </a:r>
            </a:p>
          </p:txBody>
        </p:sp>
      </p:grpSp>
      <p:grpSp>
        <p:nvGrpSpPr>
          <p:cNvPr id="126" name="Group 125">
            <a:extLst>
              <a:ext uri="{FF2B5EF4-FFF2-40B4-BE49-F238E27FC236}">
                <a16:creationId xmlns:a16="http://schemas.microsoft.com/office/drawing/2014/main" id="{F865DC2B-AB0E-429C-B371-5EBA51C58EDE}"/>
              </a:ext>
            </a:extLst>
          </p:cNvPr>
          <p:cNvGrpSpPr/>
          <p:nvPr/>
        </p:nvGrpSpPr>
        <p:grpSpPr>
          <a:xfrm>
            <a:off x="882878" y="3277026"/>
            <a:ext cx="6788152" cy="1628520"/>
            <a:chOff x="1104899" y="2718529"/>
            <a:chExt cx="7278623" cy="1628520"/>
          </a:xfrm>
        </p:grpSpPr>
        <p:cxnSp>
          <p:nvCxnSpPr>
            <p:cNvPr id="127" name="Straight Connector 126">
              <a:extLst>
                <a:ext uri="{FF2B5EF4-FFF2-40B4-BE49-F238E27FC236}">
                  <a16:creationId xmlns:a16="http://schemas.microsoft.com/office/drawing/2014/main" id="{A75D9BBE-2770-4B7E-AA8F-F2CA76246A41}"/>
                </a:ext>
              </a:extLst>
            </p:cNvPr>
            <p:cNvCxnSpPr>
              <a:cxnSpLocks/>
            </p:cNvCxnSpPr>
            <p:nvPr/>
          </p:nvCxnSpPr>
          <p:spPr bwMode="gray">
            <a:xfrm>
              <a:off x="1104899" y="2718529"/>
              <a:ext cx="7278623" cy="0"/>
            </a:xfrm>
            <a:prstGeom prst="line">
              <a:avLst/>
            </a:prstGeom>
            <a:ln w="63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23DDBDC-40ED-4A4F-B385-282178494B40}"/>
                </a:ext>
              </a:extLst>
            </p:cNvPr>
            <p:cNvCxnSpPr>
              <a:cxnSpLocks/>
            </p:cNvCxnSpPr>
            <p:nvPr/>
          </p:nvCxnSpPr>
          <p:spPr bwMode="gray">
            <a:xfrm>
              <a:off x="1104899" y="4347049"/>
              <a:ext cx="7278623" cy="0"/>
            </a:xfrm>
            <a:prstGeom prst="line">
              <a:avLst/>
            </a:prstGeom>
            <a:ln w="63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088DBC25-5762-4E7E-BB77-2A23C4055989}"/>
              </a:ext>
            </a:extLst>
          </p:cNvPr>
          <p:cNvGrpSpPr>
            <a:grpSpLocks noChangeAspect="1"/>
          </p:cNvGrpSpPr>
          <p:nvPr>
            <p:custDataLst>
              <p:tags r:id="rId3"/>
            </p:custDataLst>
          </p:nvPr>
        </p:nvGrpSpPr>
        <p:grpSpPr>
          <a:xfrm>
            <a:off x="6198799" y="5319703"/>
            <a:ext cx="548640" cy="548640"/>
            <a:chOff x="6891521" y="5319703"/>
            <a:chExt cx="548640" cy="548640"/>
          </a:xfrm>
        </p:grpSpPr>
        <p:sp>
          <p:nvSpPr>
            <p:cNvPr id="133" name="Harvey Ball">
              <a:extLst>
                <a:ext uri="{FF2B5EF4-FFF2-40B4-BE49-F238E27FC236}">
                  <a16:creationId xmlns:a16="http://schemas.microsoft.com/office/drawing/2014/main" id="{6BE7F973-757D-4A32-879A-E628FB149078}"/>
                </a:ext>
              </a:extLst>
            </p:cNvPr>
            <p:cNvSpPr>
              <a:spLocks noChangeArrowheads="1"/>
            </p:cNvSpPr>
            <p:nvPr>
              <p:custDataLst>
                <p:tags r:id="rId7"/>
              </p:custDataLst>
            </p:nvPr>
          </p:nvSpPr>
          <p:spPr bwMode="auto">
            <a:xfrm>
              <a:off x="6891521" y="5319703"/>
              <a:ext cx="548640" cy="548640"/>
            </a:xfrm>
            <a:prstGeom prst="ellipse">
              <a:avLst/>
            </a:prstGeom>
            <a:noFill/>
            <a:ln w="25400" algn="ctr">
              <a:solidFill>
                <a:schemeClr val="accent1"/>
              </a:solidFill>
              <a:round/>
              <a:headEnd/>
              <a:tailEnd/>
            </a:ln>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134" name="Harvey Ball">
              <a:extLst>
                <a:ext uri="{FF2B5EF4-FFF2-40B4-BE49-F238E27FC236}">
                  <a16:creationId xmlns:a16="http://schemas.microsoft.com/office/drawing/2014/main" id="{CA9AD26F-4AFF-46D0-B485-96DE0562D438}"/>
                </a:ext>
              </a:extLst>
            </p:cNvPr>
            <p:cNvSpPr/>
            <p:nvPr>
              <p:custDataLst>
                <p:tags r:id="rId8"/>
              </p:custDataLst>
            </p:nvPr>
          </p:nvSpPr>
          <p:spPr bwMode="auto">
            <a:xfrm>
              <a:off x="6891521" y="5319703"/>
              <a:ext cx="548640" cy="548640"/>
            </a:xfrm>
            <a:prstGeom prst="pie">
              <a:avLst>
                <a:gd name="adj1" fmla="val 16200000"/>
                <a:gd name="adj2" fmla="val 8640000"/>
              </a:avLst>
            </a:prstGeom>
            <a:solidFill>
              <a:schemeClr val="accent1"/>
            </a:solidFill>
            <a:ln w="12700" cap="flat" cmpd="sng" algn="ctr">
              <a:no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defRPr/>
              </a:pPr>
              <a:endParaRPr lang="en-US" sz="2400" dirty="0">
                <a:latin typeface="Arial" pitchFamily="34" charset="0"/>
              </a:endParaRPr>
            </a:p>
          </p:txBody>
        </p:sp>
      </p:grpSp>
      <p:grpSp>
        <p:nvGrpSpPr>
          <p:cNvPr id="35" name="Group 34">
            <a:extLst>
              <a:ext uri="{FF2B5EF4-FFF2-40B4-BE49-F238E27FC236}">
                <a16:creationId xmlns:a16="http://schemas.microsoft.com/office/drawing/2014/main" id="{2D752819-7237-4ADC-9FB6-E3E5D574628A}"/>
              </a:ext>
            </a:extLst>
          </p:cNvPr>
          <p:cNvGrpSpPr>
            <a:grpSpLocks noChangeAspect="1"/>
          </p:cNvGrpSpPr>
          <p:nvPr>
            <p:custDataLst>
              <p:tags r:id="rId4"/>
            </p:custDataLst>
          </p:nvPr>
        </p:nvGrpSpPr>
        <p:grpSpPr>
          <a:xfrm>
            <a:off x="6214909" y="3915354"/>
            <a:ext cx="548640" cy="548640"/>
            <a:chOff x="6907631" y="3915354"/>
            <a:chExt cx="548640" cy="548640"/>
          </a:xfrm>
        </p:grpSpPr>
        <p:sp>
          <p:nvSpPr>
            <p:cNvPr id="130" name="Harvey Ball">
              <a:extLst>
                <a:ext uri="{FF2B5EF4-FFF2-40B4-BE49-F238E27FC236}">
                  <a16:creationId xmlns:a16="http://schemas.microsoft.com/office/drawing/2014/main" id="{72FF97B3-C392-4A6C-9D03-3F3B3C223699}"/>
                </a:ext>
              </a:extLst>
            </p:cNvPr>
            <p:cNvSpPr>
              <a:spLocks noChangeArrowheads="1"/>
            </p:cNvSpPr>
            <p:nvPr>
              <p:custDataLst>
                <p:tags r:id="rId5"/>
              </p:custDataLst>
            </p:nvPr>
          </p:nvSpPr>
          <p:spPr bwMode="auto">
            <a:xfrm>
              <a:off x="6907631" y="3915354"/>
              <a:ext cx="548640" cy="548640"/>
            </a:xfrm>
            <a:prstGeom prst="ellipse">
              <a:avLst/>
            </a:prstGeom>
            <a:noFill/>
            <a:ln w="25400" algn="ctr">
              <a:solidFill>
                <a:schemeClr val="accent1"/>
              </a:solidFill>
              <a:round/>
              <a:headEnd/>
              <a:tailEnd/>
            </a:ln>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131" name="Harvey Ball">
              <a:extLst>
                <a:ext uri="{FF2B5EF4-FFF2-40B4-BE49-F238E27FC236}">
                  <a16:creationId xmlns:a16="http://schemas.microsoft.com/office/drawing/2014/main" id="{995551AB-A560-482B-B50C-D066D77B8C93}"/>
                </a:ext>
              </a:extLst>
            </p:cNvPr>
            <p:cNvSpPr/>
            <p:nvPr>
              <p:custDataLst>
                <p:tags r:id="rId6"/>
              </p:custDataLst>
            </p:nvPr>
          </p:nvSpPr>
          <p:spPr bwMode="auto">
            <a:xfrm>
              <a:off x="6907631" y="3915354"/>
              <a:ext cx="548640" cy="548640"/>
            </a:xfrm>
            <a:prstGeom prst="pie">
              <a:avLst>
                <a:gd name="adj1" fmla="val 16200000"/>
                <a:gd name="adj2" fmla="val 13824000"/>
              </a:avLst>
            </a:prstGeom>
            <a:solidFill>
              <a:schemeClr val="accent1"/>
            </a:solidFill>
            <a:ln w="12700" cap="flat" cmpd="sng" algn="ctr">
              <a:no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defRPr/>
              </a:pPr>
              <a:endParaRPr lang="en-US" sz="2400" dirty="0">
                <a:latin typeface="Arial" pitchFamily="34" charset="0"/>
              </a:endParaRPr>
            </a:p>
          </p:txBody>
        </p:sp>
      </p:grpSp>
      <p:sp>
        <p:nvSpPr>
          <p:cNvPr id="44" name="TextBox 43">
            <a:extLst>
              <a:ext uri="{FF2B5EF4-FFF2-40B4-BE49-F238E27FC236}">
                <a16:creationId xmlns:a16="http://schemas.microsoft.com/office/drawing/2014/main" id="{CECB99E9-37B1-4C61-9C5A-339104931219}"/>
              </a:ext>
            </a:extLst>
          </p:cNvPr>
          <p:cNvSpPr txBox="1">
            <a:spLocks/>
          </p:cNvSpPr>
          <p:nvPr/>
        </p:nvSpPr>
        <p:spPr bwMode="gray">
          <a:xfrm>
            <a:off x="6112756" y="1994916"/>
            <a:ext cx="1188814" cy="249299"/>
          </a:xfrm>
          <a:prstGeom prst="rect">
            <a:avLst/>
          </a:prstGeom>
        </p:spPr>
        <p:txBody>
          <a:bodyPr vert="horz" wrap="square" lIns="0" tIns="0" rIns="0" bIns="18288" rtlCol="0" anchor="b">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r>
              <a:rPr lang="en-US" altLang="zh-CN" sz="1500" b="1" dirty="0">
                <a:solidFill>
                  <a:schemeClr val="accent2"/>
                </a:solidFill>
              </a:rPr>
              <a:t>Maturity </a:t>
            </a:r>
            <a:endParaRPr lang="en-GB" sz="1500" b="1" dirty="0">
              <a:solidFill>
                <a:schemeClr val="accent2"/>
              </a:solidFill>
            </a:endParaRPr>
          </a:p>
        </p:txBody>
      </p:sp>
      <p:sp>
        <p:nvSpPr>
          <p:cNvPr id="45" name="TextBox 44">
            <a:extLst>
              <a:ext uri="{FF2B5EF4-FFF2-40B4-BE49-F238E27FC236}">
                <a16:creationId xmlns:a16="http://schemas.microsoft.com/office/drawing/2014/main" id="{FC163841-CFEE-42FF-98AF-65C3CB148DD5}"/>
              </a:ext>
            </a:extLst>
          </p:cNvPr>
          <p:cNvSpPr txBox="1">
            <a:spLocks/>
          </p:cNvSpPr>
          <p:nvPr/>
        </p:nvSpPr>
        <p:spPr bwMode="gray">
          <a:xfrm>
            <a:off x="3193362" y="1994916"/>
            <a:ext cx="2888368" cy="249299"/>
          </a:xfrm>
          <a:prstGeom prst="rect">
            <a:avLst/>
          </a:prstGeom>
        </p:spPr>
        <p:txBody>
          <a:bodyPr vert="horz" wrap="square" lIns="0" tIns="0" rIns="0" bIns="18288" rtlCol="0" anchor="b">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r>
              <a:rPr lang="en-US" altLang="zh-CN" sz="1500" b="1" dirty="0">
                <a:solidFill>
                  <a:schemeClr val="accent2"/>
                </a:solidFill>
              </a:rPr>
              <a:t>Components illustration </a:t>
            </a:r>
            <a:endParaRPr lang="en-GB" sz="1500" b="1" dirty="0">
              <a:solidFill>
                <a:schemeClr val="accent2"/>
              </a:solidFill>
            </a:endParaRPr>
          </a:p>
        </p:txBody>
      </p:sp>
      <p:sp>
        <p:nvSpPr>
          <p:cNvPr id="47" name="TextBox 46">
            <a:extLst>
              <a:ext uri="{FF2B5EF4-FFF2-40B4-BE49-F238E27FC236}">
                <a16:creationId xmlns:a16="http://schemas.microsoft.com/office/drawing/2014/main" id="{EC8C0FE0-BFD8-4A81-9806-186C0B91C067}"/>
              </a:ext>
            </a:extLst>
          </p:cNvPr>
          <p:cNvSpPr txBox="1">
            <a:spLocks/>
          </p:cNvSpPr>
          <p:nvPr/>
        </p:nvSpPr>
        <p:spPr bwMode="gray">
          <a:xfrm>
            <a:off x="7236246" y="1989779"/>
            <a:ext cx="1188814" cy="249299"/>
          </a:xfrm>
          <a:prstGeom prst="rect">
            <a:avLst/>
          </a:prstGeom>
        </p:spPr>
        <p:txBody>
          <a:bodyPr vert="horz" wrap="square" lIns="0" tIns="0" rIns="0" bIns="18288" rtlCol="0" anchor="b">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r>
              <a:rPr lang="en-US" altLang="zh-CN" sz="1500" b="1" dirty="0">
                <a:solidFill>
                  <a:schemeClr val="accent2"/>
                </a:solidFill>
              </a:rPr>
              <a:t>Complexity </a:t>
            </a:r>
            <a:endParaRPr lang="en-GB" sz="1500" b="1" dirty="0">
              <a:solidFill>
                <a:schemeClr val="accent2"/>
              </a:solidFill>
            </a:endParaRPr>
          </a:p>
        </p:txBody>
      </p:sp>
      <p:sp>
        <p:nvSpPr>
          <p:cNvPr id="48" name="TextBox 47">
            <a:extLst>
              <a:ext uri="{FF2B5EF4-FFF2-40B4-BE49-F238E27FC236}">
                <a16:creationId xmlns:a16="http://schemas.microsoft.com/office/drawing/2014/main" id="{A8A596A3-2399-4EBF-A6A3-33D5C8C284B2}"/>
              </a:ext>
            </a:extLst>
          </p:cNvPr>
          <p:cNvSpPr txBox="1"/>
          <p:nvPr/>
        </p:nvSpPr>
        <p:spPr bwMode="gray">
          <a:xfrm>
            <a:off x="7281608" y="2644785"/>
            <a:ext cx="1212198"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pPr marL="0" lvl="1" indent="0">
              <a:buNone/>
            </a:pPr>
            <a:r>
              <a:rPr lang="en-GB" sz="1500" dirty="0">
                <a:solidFill>
                  <a:schemeClr val="tx1"/>
                </a:solidFill>
              </a:rPr>
              <a:t>Low</a:t>
            </a:r>
          </a:p>
        </p:txBody>
      </p:sp>
      <p:sp>
        <p:nvSpPr>
          <p:cNvPr id="49" name="TextBox 48">
            <a:extLst>
              <a:ext uri="{FF2B5EF4-FFF2-40B4-BE49-F238E27FC236}">
                <a16:creationId xmlns:a16="http://schemas.microsoft.com/office/drawing/2014/main" id="{A097B2BC-5750-494D-A798-0CFAD6B6AF31}"/>
              </a:ext>
            </a:extLst>
          </p:cNvPr>
          <p:cNvSpPr txBox="1"/>
          <p:nvPr/>
        </p:nvSpPr>
        <p:spPr bwMode="gray">
          <a:xfrm>
            <a:off x="7342549" y="4071121"/>
            <a:ext cx="1212198"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pPr marL="0" lvl="1" indent="0">
              <a:buNone/>
            </a:pPr>
            <a:r>
              <a:rPr lang="en-GB" sz="1500" dirty="0">
                <a:solidFill>
                  <a:schemeClr val="tx1"/>
                </a:solidFill>
              </a:rPr>
              <a:t>Medium</a:t>
            </a:r>
          </a:p>
        </p:txBody>
      </p:sp>
      <p:sp>
        <p:nvSpPr>
          <p:cNvPr id="50" name="TextBox 49">
            <a:extLst>
              <a:ext uri="{FF2B5EF4-FFF2-40B4-BE49-F238E27FC236}">
                <a16:creationId xmlns:a16="http://schemas.microsoft.com/office/drawing/2014/main" id="{1B2B2F06-6465-4F98-8600-5FC3C357D55F}"/>
              </a:ext>
            </a:extLst>
          </p:cNvPr>
          <p:cNvSpPr txBox="1"/>
          <p:nvPr/>
        </p:nvSpPr>
        <p:spPr bwMode="gray">
          <a:xfrm>
            <a:off x="7339529" y="5401863"/>
            <a:ext cx="1212198" cy="23083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6"/>
              </a:buBlip>
              <a:defRPr>
                <a:solidFill>
                  <a:schemeClr val="accent1"/>
                </a:solidFill>
              </a:defRPr>
            </a:lvl2pPr>
            <a:lvl3pPr marL="539946" lvl="2" indent="-269973" defTabSz="914309">
              <a:spcBef>
                <a:spcPts val="300"/>
              </a:spcBef>
              <a:spcAft>
                <a:spcPts val="600"/>
              </a:spcAft>
              <a:buFontTx/>
              <a:buBlip>
                <a:blip r:embed="rId17"/>
              </a:buBlip>
              <a:defRPr>
                <a:solidFill>
                  <a:schemeClr val="accent1"/>
                </a:solidFill>
              </a:defRPr>
            </a:lvl3pPr>
            <a:lvl4pPr marL="809919" lvl="3" indent="-269973" defTabSz="914309">
              <a:spcBef>
                <a:spcPts val="300"/>
              </a:spcBef>
              <a:spcAft>
                <a:spcPts val="600"/>
              </a:spcAft>
              <a:buFontTx/>
              <a:buBlip>
                <a:blip r:embed="rId18"/>
              </a:buBlip>
              <a:defRPr>
                <a:solidFill>
                  <a:schemeClr val="accent1"/>
                </a:solidFill>
              </a:defRPr>
            </a:lvl4pPr>
            <a:lvl5pPr marL="1079892" lvl="4" indent="-269973" defTabSz="914309">
              <a:spcBef>
                <a:spcPts val="300"/>
              </a:spcBef>
              <a:spcAft>
                <a:spcPts val="600"/>
              </a:spcAft>
              <a:buFontTx/>
              <a:buBlip>
                <a:blip r:embed="rId19"/>
              </a:buBlip>
              <a:defRPr>
                <a:solidFill>
                  <a:schemeClr val="accent1"/>
                </a:solidFill>
              </a:defRPr>
            </a:lvl5pPr>
            <a:lvl6pPr marL="1079892" indent="-269973" defTabSz="914309">
              <a:spcBef>
                <a:spcPts val="300"/>
              </a:spcBef>
              <a:spcAft>
                <a:spcPts val="600"/>
              </a:spcAft>
              <a:buFontTx/>
              <a:buBlip>
                <a:blip r:embed="rId19"/>
              </a:buBlip>
            </a:lvl6pPr>
            <a:lvl7pPr marL="1079892" indent="-269973" defTabSz="914309">
              <a:spcBef>
                <a:spcPts val="300"/>
              </a:spcBef>
              <a:spcAft>
                <a:spcPts val="600"/>
              </a:spcAft>
              <a:buFontTx/>
              <a:buBlip>
                <a:blip r:embed="rId19"/>
              </a:buBlip>
            </a:lvl7pPr>
            <a:lvl8pPr marL="1079892" indent="-269973" defTabSz="914309">
              <a:spcBef>
                <a:spcPts val="300"/>
              </a:spcBef>
              <a:spcAft>
                <a:spcPts val="600"/>
              </a:spcAft>
              <a:buFontTx/>
              <a:buBlip>
                <a:blip r:embed="rId19"/>
              </a:buBlip>
            </a:lvl8pPr>
            <a:lvl9pPr marL="1079892" indent="-269973" defTabSz="914309">
              <a:spcBef>
                <a:spcPts val="300"/>
              </a:spcBef>
              <a:spcAft>
                <a:spcPts val="600"/>
              </a:spcAft>
              <a:buFontTx/>
              <a:buBlip>
                <a:blip r:embed="rId19"/>
              </a:buBlip>
            </a:lvl9pPr>
          </a:lstStyle>
          <a:p>
            <a:pPr marL="0" lvl="1" indent="0">
              <a:buNone/>
            </a:pPr>
            <a:r>
              <a:rPr lang="en-GB" sz="1500" dirty="0">
                <a:solidFill>
                  <a:schemeClr val="tx1"/>
                </a:solidFill>
              </a:rPr>
              <a:t>High</a:t>
            </a:r>
          </a:p>
        </p:txBody>
      </p:sp>
    </p:spTree>
    <p:extLst>
      <p:ext uri="{BB962C8B-B14F-4D97-AF65-F5344CB8AC3E}">
        <p14:creationId xmlns:p14="http://schemas.microsoft.com/office/powerpoint/2010/main" val="275064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F73A3-4140-4224-85B0-D30BCAD2E8B4}"/>
              </a:ext>
            </a:extLst>
          </p:cNvPr>
          <p:cNvSpPr>
            <a:spLocks noGrp="1"/>
          </p:cNvSpPr>
          <p:nvPr>
            <p:ph type="title"/>
          </p:nvPr>
        </p:nvSpPr>
        <p:spPr>
          <a:xfrm>
            <a:off x="4854344" y="1462158"/>
            <a:ext cx="5916978" cy="1440753"/>
          </a:xfrm>
        </p:spPr>
        <p:txBody>
          <a:bodyPr/>
          <a:lstStyle/>
          <a:p>
            <a:r>
              <a:rPr lang="en-US"/>
              <a:t>NLP @ B</a:t>
            </a:r>
            <a:r>
              <a:rPr lang="en-US" altLang="zh-CN"/>
              <a:t>ayer</a:t>
            </a:r>
            <a:endParaRPr lang="en-US"/>
          </a:p>
        </p:txBody>
      </p:sp>
      <p:sp>
        <p:nvSpPr>
          <p:cNvPr id="3" name="Footer Placeholder 2">
            <a:extLst>
              <a:ext uri="{FF2B5EF4-FFF2-40B4-BE49-F238E27FC236}">
                <a16:creationId xmlns:a16="http://schemas.microsoft.com/office/drawing/2014/main" id="{EA5A0736-7380-4AAB-8A6A-5CB8CB6E325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cs typeface="Arial"/>
              </a:rPr>
              <a:t>/// Advanced Analytics and Digital Transformation /// NLP session /// March 2022</a:t>
            </a:r>
          </a:p>
        </p:txBody>
      </p:sp>
      <p:sp>
        <p:nvSpPr>
          <p:cNvPr id="4" name="Slide Number Placeholder 3">
            <a:extLst>
              <a:ext uri="{FF2B5EF4-FFF2-40B4-BE49-F238E27FC236}">
                <a16:creationId xmlns:a16="http://schemas.microsoft.com/office/drawing/2014/main" id="{0FE452F1-BF38-4494-8842-1F39EFBBE8F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700" b="0" i="0" u="none" strike="noStrike" kern="1200" cap="none" spc="0" normalizeH="0" baseline="0" noProof="0">
              <a:ln>
                <a:noFill/>
              </a:ln>
              <a:solidFill>
                <a:srgbClr val="FFFFFF"/>
              </a:solidFill>
              <a:effectLst/>
              <a:uLnTx/>
              <a:uFillTx/>
              <a:latin typeface="Arial"/>
              <a:cs typeface="Arial"/>
            </a:endParaRPr>
          </a:p>
        </p:txBody>
      </p:sp>
    </p:spTree>
    <p:extLst>
      <p:ext uri="{BB962C8B-B14F-4D97-AF65-F5344CB8AC3E}">
        <p14:creationId xmlns:p14="http://schemas.microsoft.com/office/powerpoint/2010/main" val="61560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80A96B4-9665-4170-8342-C27A751D60F1}"/>
              </a:ext>
            </a:extLst>
          </p:cNvPr>
          <p:cNvSpPr>
            <a:spLocks noGrp="1"/>
          </p:cNvSpPr>
          <p:nvPr>
            <p:ph type="title"/>
          </p:nvPr>
        </p:nvSpPr>
        <p:spPr/>
        <p:txBody>
          <a:bodyPr/>
          <a:lstStyle/>
          <a:p>
            <a:r>
              <a:rPr lang="en-US"/>
              <a:t>Agenda</a:t>
            </a:r>
            <a:endParaRPr lang="de-DE"/>
          </a:p>
        </p:txBody>
      </p:sp>
      <p:sp>
        <p:nvSpPr>
          <p:cNvPr id="9" name="Textplatzhalter 8">
            <a:extLst>
              <a:ext uri="{FF2B5EF4-FFF2-40B4-BE49-F238E27FC236}">
                <a16:creationId xmlns:a16="http://schemas.microsoft.com/office/drawing/2014/main" id="{AC91E84D-2D6C-4AD8-93FC-ED65C8E09081}"/>
              </a:ext>
            </a:extLst>
          </p:cNvPr>
          <p:cNvSpPr>
            <a:spLocks noGrp="1"/>
          </p:cNvSpPr>
          <p:nvPr>
            <p:ph type="body" sz="quarter" idx="13"/>
          </p:nvPr>
        </p:nvSpPr>
        <p:spPr>
          <a:xfrm>
            <a:off x="2005336" y="1843721"/>
            <a:ext cx="8700178" cy="4641030"/>
          </a:xfrm>
        </p:spPr>
        <p:txBody>
          <a:bodyPr/>
          <a:lstStyle/>
          <a:p>
            <a:r>
              <a:rPr lang="en-US"/>
              <a:t>Why NLP is blooming and deserves </a:t>
            </a:r>
          </a:p>
          <a:p>
            <a:pPr lvl="1"/>
            <a:r>
              <a:rPr lang="en-US"/>
              <a:t>Unstructured text surrounding you</a:t>
            </a:r>
          </a:p>
          <a:p>
            <a:pPr lvl="1"/>
            <a:r>
              <a:rPr lang="en-US"/>
              <a:t>Benefits from NLP as advanced analytics</a:t>
            </a:r>
          </a:p>
          <a:p>
            <a:r>
              <a:rPr lang="en-US"/>
              <a:t>Demystify how NLP works </a:t>
            </a:r>
          </a:p>
          <a:p>
            <a:r>
              <a:rPr lang="en-US"/>
              <a:t>NLP @ Bayer </a:t>
            </a:r>
          </a:p>
          <a:p>
            <a:r>
              <a:rPr lang="en-US"/>
              <a:t>NLP @ you -&gt; start your journey with NLP</a:t>
            </a:r>
          </a:p>
        </p:txBody>
      </p:sp>
      <p:sp>
        <p:nvSpPr>
          <p:cNvPr id="10" name="Fußzeilenplatzhalter 9">
            <a:extLst>
              <a:ext uri="{FF2B5EF4-FFF2-40B4-BE49-F238E27FC236}">
                <a16:creationId xmlns:a16="http://schemas.microsoft.com/office/drawing/2014/main" id="{76AC0F5D-4874-4A41-8463-DE9EAA43E782}"/>
              </a:ext>
            </a:extLst>
          </p:cNvPr>
          <p:cNvSpPr>
            <a:spLocks noGrp="1"/>
          </p:cNvSpPr>
          <p:nvPr>
            <p:ph type="ftr" sz="quarter" idx="11"/>
          </p:nvPr>
        </p:nvSpPr>
        <p:spPr>
          <a:xfrm>
            <a:off x="974672" y="6617933"/>
            <a:ext cx="5710665" cy="108000"/>
          </a:xfrm>
        </p:spPr>
        <p:txBody>
          <a:bodyPr/>
          <a:lstStyle/>
          <a:p>
            <a:r>
              <a:rPr lang="en-US"/>
              <a:t>/// Advanced Analytics and Digital Transformation /// NLP session /// March 2022</a:t>
            </a:r>
          </a:p>
        </p:txBody>
      </p:sp>
      <p:sp>
        <p:nvSpPr>
          <p:cNvPr id="11" name="Foliennummernplatzhalter 10">
            <a:extLst>
              <a:ext uri="{FF2B5EF4-FFF2-40B4-BE49-F238E27FC236}">
                <a16:creationId xmlns:a16="http://schemas.microsoft.com/office/drawing/2014/main" id="{FBC77B14-DF0B-4CEB-B175-4EFFDF3B613D}"/>
              </a:ext>
            </a:extLst>
          </p:cNvPr>
          <p:cNvSpPr>
            <a:spLocks noGrp="1"/>
          </p:cNvSpPr>
          <p:nvPr>
            <p:ph type="sldNum" sz="quarter" idx="12"/>
          </p:nvPr>
        </p:nvSpPr>
        <p:spPr>
          <a:xfrm>
            <a:off x="195843" y="6617933"/>
            <a:ext cx="392326" cy="108000"/>
          </a:xfrm>
        </p:spPr>
        <p:txBody>
          <a:bodyPr/>
          <a:lstStyle/>
          <a:p>
            <a:fld id="{EEAD9179-7A6B-4268-BEB2-F3B8EB06115B}" type="slidenum">
              <a:rPr lang="en-US" smtClean="0"/>
              <a:pPr/>
              <a:t>2</a:t>
            </a:fld>
            <a:endParaRPr lang="en-US"/>
          </a:p>
        </p:txBody>
      </p:sp>
    </p:spTree>
    <p:extLst>
      <p:ext uri="{BB962C8B-B14F-4D97-AF65-F5344CB8AC3E}">
        <p14:creationId xmlns:p14="http://schemas.microsoft.com/office/powerpoint/2010/main" val="351870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tertitel 6">
            <a:extLst>
              <a:ext uri="{FF2B5EF4-FFF2-40B4-BE49-F238E27FC236}">
                <a16:creationId xmlns:a16="http://schemas.microsoft.com/office/drawing/2014/main" id="{1A6547CC-0A0F-41D9-8932-5496D2C45E3E}"/>
              </a:ext>
            </a:extLst>
          </p:cNvPr>
          <p:cNvSpPr>
            <a:spLocks noGrp="1"/>
          </p:cNvSpPr>
          <p:nvPr>
            <p:ph type="subTitle" idx="13"/>
          </p:nvPr>
        </p:nvSpPr>
        <p:spPr/>
        <p:txBody>
          <a:bodyPr>
            <a:normAutofit fontScale="92500" lnSpcReduction="10000"/>
          </a:bodyPr>
          <a:lstStyle/>
          <a:p>
            <a:r>
              <a:rPr lang="en-US" dirty="0"/>
              <a:t>R</a:t>
            </a:r>
            <a:r>
              <a:rPr lang="en-US" altLang="zh-CN" dirty="0"/>
              <a:t>esource: go/</a:t>
            </a:r>
            <a:r>
              <a:rPr lang="en-US" altLang="zh-CN" dirty="0" err="1"/>
              <a:t>holmes</a:t>
            </a:r>
            <a:endParaRPr lang="en-US" dirty="0"/>
          </a:p>
        </p:txBody>
      </p:sp>
      <p:sp>
        <p:nvSpPr>
          <p:cNvPr id="6" name="Titel 5">
            <a:extLst>
              <a:ext uri="{FF2B5EF4-FFF2-40B4-BE49-F238E27FC236}">
                <a16:creationId xmlns:a16="http://schemas.microsoft.com/office/drawing/2014/main" id="{FE4E94F6-DC23-4C8A-813D-50707AD66BDA}"/>
              </a:ext>
            </a:extLst>
          </p:cNvPr>
          <p:cNvSpPr>
            <a:spLocks noGrp="1"/>
          </p:cNvSpPr>
          <p:nvPr>
            <p:ph type="title"/>
          </p:nvPr>
        </p:nvSpPr>
        <p:spPr/>
        <p:txBody>
          <a:bodyPr/>
          <a:lstStyle/>
          <a:p>
            <a:r>
              <a:rPr lang="en-US"/>
              <a:t>Holmes # Efficiency gains @R&amp;D#</a:t>
            </a:r>
            <a:endParaRPr lang="de-DE"/>
          </a:p>
        </p:txBody>
      </p:sp>
      <p:sp>
        <p:nvSpPr>
          <p:cNvPr id="4" name="Fußzeilenplatzhalter 3">
            <a:extLst>
              <a:ext uri="{FF2B5EF4-FFF2-40B4-BE49-F238E27FC236}">
                <a16:creationId xmlns:a16="http://schemas.microsoft.com/office/drawing/2014/main" id="{7DCB4262-A3C0-4DF6-9256-2973460CFF60}"/>
              </a:ext>
            </a:extLst>
          </p:cNvPr>
          <p:cNvSpPr>
            <a:spLocks noGrp="1"/>
          </p:cNvSpPr>
          <p:nvPr>
            <p:ph type="ftr" sz="quarter" idx="11"/>
          </p:nvPr>
        </p:nvSpPr>
        <p:spPr/>
        <p:txBody>
          <a:bodyPr/>
          <a:lstStyle/>
          <a:p>
            <a:r>
              <a:rPr lang="en-US"/>
              <a:t>/// Advanced Analytics and Digital Transformation /// NLP session /// March 2022</a:t>
            </a:r>
          </a:p>
        </p:txBody>
      </p:sp>
      <p:sp>
        <p:nvSpPr>
          <p:cNvPr id="5" name="Foliennummernplatzhalter 4">
            <a:extLst>
              <a:ext uri="{FF2B5EF4-FFF2-40B4-BE49-F238E27FC236}">
                <a16:creationId xmlns:a16="http://schemas.microsoft.com/office/drawing/2014/main" id="{4FE8486C-B1C4-44E4-9A7F-DF6E7FF01330}"/>
              </a:ext>
            </a:extLst>
          </p:cNvPr>
          <p:cNvSpPr>
            <a:spLocks noGrp="1"/>
          </p:cNvSpPr>
          <p:nvPr>
            <p:ph type="sldNum" sz="quarter" idx="12"/>
          </p:nvPr>
        </p:nvSpPr>
        <p:spPr/>
        <p:txBody>
          <a:bodyPr/>
          <a:lstStyle/>
          <a:p>
            <a:fld id="{EEAD9179-7A6B-4268-BEB2-F3B8EB06115B}" type="slidenum">
              <a:rPr lang="en-US" smtClean="0"/>
              <a:pPr/>
              <a:t>20</a:t>
            </a:fld>
            <a:endParaRPr lang="en-US"/>
          </a:p>
        </p:txBody>
      </p:sp>
      <p:sp>
        <p:nvSpPr>
          <p:cNvPr id="10" name="TextBox 9">
            <a:extLst>
              <a:ext uri="{FF2B5EF4-FFF2-40B4-BE49-F238E27FC236}">
                <a16:creationId xmlns:a16="http://schemas.microsoft.com/office/drawing/2014/main" id="{33C63BD1-B6FA-496A-99BF-9BEC6153A1AC}"/>
              </a:ext>
            </a:extLst>
          </p:cNvPr>
          <p:cNvSpPr txBox="1"/>
          <p:nvPr/>
        </p:nvSpPr>
        <p:spPr bwMode="gray">
          <a:xfrm>
            <a:off x="987248" y="1488098"/>
            <a:ext cx="4968785"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Project </a:t>
            </a:r>
            <a:r>
              <a:rPr lang="en-US" altLang="zh-CN" b="1">
                <a:solidFill>
                  <a:schemeClr val="accent2"/>
                </a:solidFill>
              </a:rPr>
              <a:t>background</a:t>
            </a:r>
            <a:endParaRPr lang="en-GB" b="1">
              <a:solidFill>
                <a:schemeClr val="accent2"/>
              </a:solidFill>
            </a:endParaRPr>
          </a:p>
        </p:txBody>
      </p:sp>
      <p:cxnSp>
        <p:nvCxnSpPr>
          <p:cNvPr id="11" name="Straight Connector 10">
            <a:extLst>
              <a:ext uri="{FF2B5EF4-FFF2-40B4-BE49-F238E27FC236}">
                <a16:creationId xmlns:a16="http://schemas.microsoft.com/office/drawing/2014/main" id="{384E0326-0960-4484-B85B-AE0155B4577D}"/>
              </a:ext>
            </a:extLst>
          </p:cNvPr>
          <p:cNvCxnSpPr>
            <a:cxnSpLocks/>
          </p:cNvCxnSpPr>
          <p:nvPr/>
        </p:nvCxnSpPr>
        <p:spPr bwMode="gray">
          <a:xfrm>
            <a:off x="981821" y="1765097"/>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A16BF31-55D0-4CC5-B144-1AD752D59E62}"/>
              </a:ext>
            </a:extLst>
          </p:cNvPr>
          <p:cNvSpPr txBox="1">
            <a:spLocks/>
          </p:cNvSpPr>
          <p:nvPr/>
        </p:nvSpPr>
        <p:spPr>
          <a:xfrm>
            <a:off x="981821" y="2366201"/>
            <a:ext cx="5113382" cy="2076349"/>
          </a:xfrm>
          <a:prstGeom prst="rect">
            <a:avLst/>
          </a:prstGeom>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buBlip>
                <a:blip r:embed="rId2"/>
              </a:buBlip>
            </a:pPr>
            <a:r>
              <a:rPr lang="en-US" sz="1600" dirty="0">
                <a:solidFill>
                  <a:schemeClr val="tx1"/>
                </a:solidFill>
              </a:rPr>
              <a:t>Medical Coding is the process of translating textual descriptions of medical events from e.g., clinical studies into standardized terms and codes. Examples of medical events are healthcare diagnosis, procedures, or medical services.</a:t>
            </a:r>
          </a:p>
          <a:p>
            <a:pPr marL="270000" lvl="1" indent="-270000">
              <a:buBlip>
                <a:blip r:embed="rId2"/>
              </a:buBlip>
            </a:pPr>
            <a:r>
              <a:rPr lang="en-US" sz="1600" dirty="0">
                <a:solidFill>
                  <a:schemeClr val="tx1"/>
                </a:solidFill>
              </a:rPr>
              <a:t>Medical Coding is an essential pre-requisite for reliable data retrieval and reporting to ensure that the right conclusions can be drawn from clinical studies. </a:t>
            </a:r>
            <a:endParaRPr lang="en-GB" sz="1600" dirty="0">
              <a:solidFill>
                <a:schemeClr val="tx1"/>
              </a:solidFill>
            </a:endParaRPr>
          </a:p>
        </p:txBody>
      </p:sp>
      <p:sp>
        <p:nvSpPr>
          <p:cNvPr id="14" name="TextBox 13">
            <a:extLst>
              <a:ext uri="{FF2B5EF4-FFF2-40B4-BE49-F238E27FC236}">
                <a16:creationId xmlns:a16="http://schemas.microsoft.com/office/drawing/2014/main" id="{E9F73FDA-7F73-42D2-93FD-720BB9B85B87}"/>
              </a:ext>
            </a:extLst>
          </p:cNvPr>
          <p:cNvSpPr txBox="1"/>
          <p:nvPr/>
        </p:nvSpPr>
        <p:spPr bwMode="gray">
          <a:xfrm>
            <a:off x="981821" y="1923173"/>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What is medical coding?</a:t>
            </a:r>
            <a:endParaRPr lang="en-GB" b="1" i="1">
              <a:solidFill>
                <a:schemeClr val="accent2"/>
              </a:solidFill>
            </a:endParaRPr>
          </a:p>
        </p:txBody>
      </p:sp>
      <p:sp>
        <p:nvSpPr>
          <p:cNvPr id="15" name="TextBox 14">
            <a:extLst>
              <a:ext uri="{FF2B5EF4-FFF2-40B4-BE49-F238E27FC236}">
                <a16:creationId xmlns:a16="http://schemas.microsoft.com/office/drawing/2014/main" id="{7DB41FAF-A983-40EC-B314-70C12B2A58CB}"/>
              </a:ext>
            </a:extLst>
          </p:cNvPr>
          <p:cNvSpPr txBox="1"/>
          <p:nvPr/>
        </p:nvSpPr>
        <p:spPr bwMode="gray">
          <a:xfrm>
            <a:off x="981821" y="4718406"/>
            <a:ext cx="5065472" cy="255665"/>
          </a:xfrm>
          <a:prstGeom prst="rect">
            <a:avLst/>
          </a:prstGeom>
        </p:spPr>
        <p:txBody>
          <a:bodyPr vert="horz" wrap="square" lIns="0" tIns="0" rIns="0" bIns="0" rtlCol="0">
            <a:noAutofit/>
          </a:bodyPr>
          <a:lstStyle>
            <a:defPPr>
              <a:defRPr lang="de-DE"/>
            </a:defPPr>
            <a:lvl1pPr lvl="0" indent="0" defTabSz="914309">
              <a:spcBef>
                <a:spcPts val="1200"/>
              </a:spcBef>
              <a:spcAft>
                <a:spcPts val="600"/>
              </a:spcAft>
              <a:buFont typeface="Arial" panose="020B0604020202020204" pitchFamily="34" charset="0"/>
              <a:buNone/>
              <a:defRPr b="1" i="1">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a:t>Pain point?</a:t>
            </a:r>
          </a:p>
        </p:txBody>
      </p:sp>
      <p:sp>
        <p:nvSpPr>
          <p:cNvPr id="16" name="TextBox 15">
            <a:extLst>
              <a:ext uri="{FF2B5EF4-FFF2-40B4-BE49-F238E27FC236}">
                <a16:creationId xmlns:a16="http://schemas.microsoft.com/office/drawing/2014/main" id="{F71CD89E-0FE8-4136-B850-759AC66C08F7}"/>
              </a:ext>
            </a:extLst>
          </p:cNvPr>
          <p:cNvSpPr txBox="1">
            <a:spLocks/>
          </p:cNvSpPr>
          <p:nvPr/>
        </p:nvSpPr>
        <p:spPr>
          <a:xfrm>
            <a:off x="987248" y="5056769"/>
            <a:ext cx="5113382" cy="80021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70000" lvl="1" indent="-270000">
              <a:spcBef>
                <a:spcPts val="300"/>
              </a:spcBef>
              <a:spcAft>
                <a:spcPts val="600"/>
              </a:spcAft>
              <a:buBlip>
                <a:blip r:embed="rId2"/>
              </a:buBlip>
            </a:pPr>
            <a:r>
              <a:rPr lang="en-US">
                <a:cs typeface="+mn-cs"/>
              </a:rPr>
              <a:t>Every month, around </a:t>
            </a:r>
            <a:r>
              <a:rPr lang="en-US" sz="1800" b="1">
                <a:solidFill>
                  <a:srgbClr val="00BCFF"/>
                </a:solidFill>
                <a:cs typeface="+mn-cs"/>
              </a:rPr>
              <a:t>55,000</a:t>
            </a:r>
            <a:r>
              <a:rPr lang="en-US">
                <a:cs typeface="+mn-cs"/>
              </a:rPr>
              <a:t> terms need to be </a:t>
            </a:r>
            <a:r>
              <a:rPr lang="en-US" sz="1800" b="1">
                <a:solidFill>
                  <a:srgbClr val="00BCFF"/>
                </a:solidFill>
                <a:cs typeface="+mn-cs"/>
              </a:rPr>
              <a:t>manually</a:t>
            </a:r>
            <a:r>
              <a:rPr lang="en-US">
                <a:cs typeface="+mn-cs"/>
              </a:rPr>
              <a:t> coded in our coding department at Bayer by highly specialized medical coders.</a:t>
            </a:r>
            <a:endParaRPr lang="en-GB">
              <a:cs typeface="+mn-cs"/>
            </a:endParaRPr>
          </a:p>
        </p:txBody>
      </p:sp>
      <p:sp>
        <p:nvSpPr>
          <p:cNvPr id="19" name="TextBox 18">
            <a:extLst>
              <a:ext uri="{FF2B5EF4-FFF2-40B4-BE49-F238E27FC236}">
                <a16:creationId xmlns:a16="http://schemas.microsoft.com/office/drawing/2014/main" id="{B453467E-D112-401F-AC1C-4A364E322F3A}"/>
              </a:ext>
            </a:extLst>
          </p:cNvPr>
          <p:cNvSpPr txBox="1"/>
          <p:nvPr/>
        </p:nvSpPr>
        <p:spPr bwMode="gray">
          <a:xfrm>
            <a:off x="6779643" y="4621695"/>
            <a:ext cx="5000638"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Business value </a:t>
            </a:r>
          </a:p>
        </p:txBody>
      </p:sp>
      <p:cxnSp>
        <p:nvCxnSpPr>
          <p:cNvPr id="20" name="Straight Connector 19">
            <a:extLst>
              <a:ext uri="{FF2B5EF4-FFF2-40B4-BE49-F238E27FC236}">
                <a16:creationId xmlns:a16="http://schemas.microsoft.com/office/drawing/2014/main" id="{0116BBB3-72C7-4EA5-B7CE-26861A1ABFD4}"/>
              </a:ext>
            </a:extLst>
          </p:cNvPr>
          <p:cNvCxnSpPr>
            <a:cxnSpLocks/>
          </p:cNvCxnSpPr>
          <p:nvPr/>
        </p:nvCxnSpPr>
        <p:spPr bwMode="gray">
          <a:xfrm>
            <a:off x="6779008" y="4898694"/>
            <a:ext cx="500151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7A162C8-361A-452D-8F37-1D2EBA06B613}"/>
              </a:ext>
            </a:extLst>
          </p:cNvPr>
          <p:cNvSpPr txBox="1"/>
          <p:nvPr/>
        </p:nvSpPr>
        <p:spPr bwMode="gray">
          <a:xfrm>
            <a:off x="6779643" y="5056769"/>
            <a:ext cx="5472028" cy="1373801"/>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Replacing IBM Watson</a:t>
            </a:r>
          </a:p>
          <a:p>
            <a:pPr marL="270000" lvl="1" indent="-270000" defTabSz="914400"/>
            <a:r>
              <a:rPr lang="de-DE" sz="1600">
                <a:solidFill>
                  <a:schemeClr val="tx1"/>
                </a:solidFill>
              </a:rPr>
              <a:t>Saving </a:t>
            </a:r>
            <a:r>
              <a:rPr lang="de-DE" sz="1600" b="1">
                <a:solidFill>
                  <a:srgbClr val="FF3162"/>
                </a:solidFill>
              </a:rPr>
              <a:t>530k€/year </a:t>
            </a:r>
            <a:r>
              <a:rPr lang="de-DE" sz="1600">
                <a:solidFill>
                  <a:schemeClr val="tx1"/>
                </a:solidFill>
              </a:rPr>
              <a:t>in licence costs</a:t>
            </a:r>
          </a:p>
          <a:p>
            <a:pPr marL="270000" lvl="1" indent="-270000" defTabSz="914400"/>
            <a:r>
              <a:rPr lang="en-US" sz="1600">
                <a:solidFill>
                  <a:schemeClr val="tx1"/>
                </a:solidFill>
              </a:rPr>
              <a:t>Outperforming IBM Watson, reaching a </a:t>
            </a:r>
            <a:r>
              <a:rPr lang="en-US" b="1">
                <a:solidFill>
                  <a:srgbClr val="FF3162"/>
                </a:solidFill>
              </a:rPr>
              <a:t>92%</a:t>
            </a:r>
            <a:r>
              <a:rPr lang="en-US" sz="1600">
                <a:solidFill>
                  <a:schemeClr val="tx1"/>
                </a:solidFill>
              </a:rPr>
              <a:t> accuracy (vs 75% accuracy of IBM Watson)</a:t>
            </a:r>
            <a:endParaRPr lang="en-GB" sz="1600">
              <a:solidFill>
                <a:schemeClr val="tx1"/>
              </a:solidFill>
            </a:endParaRPr>
          </a:p>
          <a:p>
            <a:endParaRPr lang="en-GB" b="1" i="1">
              <a:solidFill>
                <a:schemeClr val="accent2"/>
              </a:solidFill>
            </a:endParaRPr>
          </a:p>
        </p:txBody>
      </p:sp>
      <p:pic>
        <p:nvPicPr>
          <p:cNvPr id="23" name="Picture 22">
            <a:extLst>
              <a:ext uri="{FF2B5EF4-FFF2-40B4-BE49-F238E27FC236}">
                <a16:creationId xmlns:a16="http://schemas.microsoft.com/office/drawing/2014/main" id="{A25C6E1E-CAE1-491F-BCB0-1E6C7B4A8A79}"/>
              </a:ext>
            </a:extLst>
          </p:cNvPr>
          <p:cNvPicPr>
            <a:picLocks noChangeAspect="1"/>
          </p:cNvPicPr>
          <p:nvPr/>
        </p:nvPicPr>
        <p:blipFill>
          <a:blip r:embed="rId6"/>
          <a:stretch>
            <a:fillRect/>
          </a:stretch>
        </p:blipFill>
        <p:spPr>
          <a:xfrm>
            <a:off x="6504778" y="1923173"/>
            <a:ext cx="5595462" cy="1442121"/>
          </a:xfrm>
          <a:prstGeom prst="rect">
            <a:avLst/>
          </a:prstGeom>
        </p:spPr>
      </p:pic>
      <p:sp>
        <p:nvSpPr>
          <p:cNvPr id="24" name="Rechteck 5">
            <a:extLst>
              <a:ext uri="{FF2B5EF4-FFF2-40B4-BE49-F238E27FC236}">
                <a16:creationId xmlns:a16="http://schemas.microsoft.com/office/drawing/2014/main" id="{82BC7091-80D6-4BDB-AC9A-43E55F2AA1B5}"/>
              </a:ext>
            </a:extLst>
          </p:cNvPr>
          <p:cNvSpPr/>
          <p:nvPr/>
        </p:nvSpPr>
        <p:spPr bwMode="gray">
          <a:xfrm>
            <a:off x="9277535" y="3418783"/>
            <a:ext cx="2822705" cy="1015550"/>
          </a:xfrm>
          <a:prstGeom prst="rect">
            <a:avLst/>
          </a:prstGeom>
          <a:solidFill>
            <a:srgbClr val="624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0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Arial"/>
                <a:cs typeface="Arial"/>
              </a:rPr>
              <a:t>MedDRA</a:t>
            </a:r>
            <a:r>
              <a:rPr kumimoji="0" lang="en-US" sz="1200" b="0" i="0" u="none" strike="noStrike" kern="1200" cap="none" spc="0" normalizeH="0" baseline="0" noProof="0">
                <a:ln>
                  <a:noFill/>
                </a:ln>
                <a:solidFill>
                  <a:schemeClr val="bg1"/>
                </a:solidFill>
                <a:effectLst/>
                <a:uLnTx/>
                <a:uFillTx/>
                <a:latin typeface="Arial"/>
                <a:cs typeface="Arial"/>
              </a:rPr>
              <a:t> is a rich and highly specific </a:t>
            </a:r>
            <a:r>
              <a:rPr kumimoji="0" lang="en-US" sz="1200" b="1" i="0" u="none" strike="noStrike" kern="1200" cap="none" spc="0" normalizeH="0" baseline="0" noProof="0">
                <a:ln>
                  <a:noFill/>
                </a:ln>
                <a:solidFill>
                  <a:schemeClr val="accent2"/>
                </a:solidFill>
                <a:effectLst/>
                <a:uLnTx/>
                <a:uFillTx/>
                <a:latin typeface="Arial"/>
                <a:cs typeface="Arial"/>
              </a:rPr>
              <a:t>standardized medical terminology </a:t>
            </a:r>
            <a:r>
              <a:rPr kumimoji="0" lang="en-US" sz="1200" b="0" i="0" u="none" strike="noStrike" kern="1200" cap="none" spc="0" normalizeH="0" baseline="0" noProof="0">
                <a:ln>
                  <a:noFill/>
                </a:ln>
                <a:solidFill>
                  <a:schemeClr val="bg1"/>
                </a:solidFill>
                <a:effectLst/>
                <a:uLnTx/>
                <a:uFillTx/>
                <a:latin typeface="Arial"/>
                <a:cs typeface="Arial"/>
              </a:rPr>
              <a:t>developed by ICH to facilitate sharing of regulatory information internationally for medical products used by humans</a:t>
            </a:r>
          </a:p>
        </p:txBody>
      </p:sp>
      <p:sp>
        <p:nvSpPr>
          <p:cNvPr id="25" name="Rectangle 24">
            <a:extLst>
              <a:ext uri="{FF2B5EF4-FFF2-40B4-BE49-F238E27FC236}">
                <a16:creationId xmlns:a16="http://schemas.microsoft.com/office/drawing/2014/main" id="{2B8FD545-62F3-44F2-A8D4-46E254299BDA}"/>
              </a:ext>
            </a:extLst>
          </p:cNvPr>
          <p:cNvSpPr/>
          <p:nvPr/>
        </p:nvSpPr>
        <p:spPr bwMode="gray">
          <a:xfrm>
            <a:off x="9967888" y="2878719"/>
            <a:ext cx="819150" cy="217512"/>
          </a:xfrm>
          <a:prstGeom prst="rect">
            <a:avLst/>
          </a:prstGeom>
          <a:noFill/>
          <a:ln>
            <a:solidFill>
              <a:srgbClr val="443247"/>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cxnSp>
        <p:nvCxnSpPr>
          <p:cNvPr id="27" name="Straight Arrow Connector 26">
            <a:extLst>
              <a:ext uri="{FF2B5EF4-FFF2-40B4-BE49-F238E27FC236}">
                <a16:creationId xmlns:a16="http://schemas.microsoft.com/office/drawing/2014/main" id="{AD4BF370-74C3-403C-885F-1D99131DE8EB}"/>
              </a:ext>
            </a:extLst>
          </p:cNvPr>
          <p:cNvCxnSpPr>
            <a:stCxn id="25" idx="2"/>
          </p:cNvCxnSpPr>
          <p:nvPr/>
        </p:nvCxnSpPr>
        <p:spPr bwMode="gray">
          <a:xfrm>
            <a:off x="10377463" y="3096231"/>
            <a:ext cx="0" cy="3276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8" name="Rectangle 27">
            <a:extLst>
              <a:ext uri="{FF2B5EF4-FFF2-40B4-BE49-F238E27FC236}">
                <a16:creationId xmlns:a16="http://schemas.microsoft.com/office/drawing/2014/main" id="{C271C89F-DB9C-4D74-A8EC-E9CF5967D6D6}"/>
              </a:ext>
            </a:extLst>
          </p:cNvPr>
          <p:cNvSpPr/>
          <p:nvPr/>
        </p:nvSpPr>
        <p:spPr bwMode="gray">
          <a:xfrm>
            <a:off x="6629399" y="2001146"/>
            <a:ext cx="1828721" cy="1373757"/>
          </a:xfrm>
          <a:prstGeom prst="rect">
            <a:avLst/>
          </a:prstGeom>
          <a:noFill/>
          <a:ln>
            <a:solidFill>
              <a:srgbClr val="443247"/>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9" name="Rechteck 5">
            <a:extLst>
              <a:ext uri="{FF2B5EF4-FFF2-40B4-BE49-F238E27FC236}">
                <a16:creationId xmlns:a16="http://schemas.microsoft.com/office/drawing/2014/main" id="{C5F8283F-8A43-4741-BC8C-17840ABB7863}"/>
              </a:ext>
            </a:extLst>
          </p:cNvPr>
          <p:cNvSpPr/>
          <p:nvPr/>
        </p:nvSpPr>
        <p:spPr bwMode="gray">
          <a:xfrm>
            <a:off x="6811826" y="3625448"/>
            <a:ext cx="1357445" cy="450157"/>
          </a:xfrm>
          <a:prstGeom prst="rect">
            <a:avLst/>
          </a:prstGeom>
          <a:solidFill>
            <a:srgbClr val="624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Arial"/>
                <a:cs typeface="Arial"/>
              </a:rPr>
              <a:t>Reported term</a:t>
            </a:r>
          </a:p>
        </p:txBody>
      </p:sp>
      <p:cxnSp>
        <p:nvCxnSpPr>
          <p:cNvPr id="30" name="Straight Arrow Connector 29">
            <a:extLst>
              <a:ext uri="{FF2B5EF4-FFF2-40B4-BE49-F238E27FC236}">
                <a16:creationId xmlns:a16="http://schemas.microsoft.com/office/drawing/2014/main" id="{21724CC8-DEE2-4092-973C-B24F3F5652FC}"/>
              </a:ext>
            </a:extLst>
          </p:cNvPr>
          <p:cNvCxnSpPr>
            <a:cxnSpLocks/>
          </p:cNvCxnSpPr>
          <p:nvPr/>
        </p:nvCxnSpPr>
        <p:spPr bwMode="gray">
          <a:xfrm>
            <a:off x="7490548" y="3381916"/>
            <a:ext cx="1" cy="2435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C8C54C29-C8AD-49E1-A286-0D5B9670CDC4}"/>
              </a:ext>
            </a:extLst>
          </p:cNvPr>
          <p:cNvSpPr txBox="1"/>
          <p:nvPr/>
        </p:nvSpPr>
        <p:spPr bwMode="gray">
          <a:xfrm>
            <a:off x="6779643" y="1488098"/>
            <a:ext cx="5000638"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Technical solution </a:t>
            </a:r>
          </a:p>
        </p:txBody>
      </p:sp>
      <p:cxnSp>
        <p:nvCxnSpPr>
          <p:cNvPr id="33" name="Straight Connector 32">
            <a:extLst>
              <a:ext uri="{FF2B5EF4-FFF2-40B4-BE49-F238E27FC236}">
                <a16:creationId xmlns:a16="http://schemas.microsoft.com/office/drawing/2014/main" id="{9BEB7A6E-A90B-4CC5-AEFB-C23D092E043A}"/>
              </a:ext>
            </a:extLst>
          </p:cNvPr>
          <p:cNvCxnSpPr>
            <a:cxnSpLocks/>
          </p:cNvCxnSpPr>
          <p:nvPr/>
        </p:nvCxnSpPr>
        <p:spPr bwMode="gray">
          <a:xfrm>
            <a:off x="6779008" y="1765097"/>
            <a:ext cx="500151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85652A2-9BFD-425F-BF4F-75765ED681EC}"/>
              </a:ext>
            </a:extLst>
          </p:cNvPr>
          <p:cNvCxnSpPr>
            <a:cxnSpLocks/>
          </p:cNvCxnSpPr>
          <p:nvPr/>
        </p:nvCxnSpPr>
        <p:spPr bwMode="gray">
          <a:xfrm>
            <a:off x="6326582" y="1923173"/>
            <a:ext cx="0" cy="456171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 name="Table 2">
            <a:extLst>
              <a:ext uri="{FF2B5EF4-FFF2-40B4-BE49-F238E27FC236}">
                <a16:creationId xmlns:a16="http://schemas.microsoft.com/office/drawing/2014/main" id="{F267DC28-AB6F-4920-9D4E-A6ADC401FF20}"/>
              </a:ext>
            </a:extLst>
          </p:cNvPr>
          <p:cNvGraphicFramePr>
            <a:graphicFrameLocks noGrp="1"/>
          </p:cNvGraphicFramePr>
          <p:nvPr>
            <p:extLst>
              <p:ext uri="{D42A27DB-BD31-4B8C-83A1-F6EECF244321}">
                <p14:modId xmlns:p14="http://schemas.microsoft.com/office/powerpoint/2010/main" val="2550062353"/>
              </p:ext>
            </p:extLst>
          </p:nvPr>
        </p:nvGraphicFramePr>
        <p:xfrm>
          <a:off x="-1" y="3987"/>
          <a:ext cx="12190412" cy="370840"/>
        </p:xfrm>
        <a:graphic>
          <a:graphicData uri="http://schemas.openxmlformats.org/drawingml/2006/table">
            <a:tbl>
              <a:tblPr firstRow="1" bandRow="1">
                <a:tableStyleId>{5C22544A-7EE6-4342-B048-85BDC9FD1C3A}</a:tableStyleId>
              </a:tblPr>
              <a:tblGrid>
                <a:gridCol w="3047603">
                  <a:extLst>
                    <a:ext uri="{9D8B030D-6E8A-4147-A177-3AD203B41FA5}">
                      <a16:colId xmlns:a16="http://schemas.microsoft.com/office/drawing/2014/main" val="4293867470"/>
                    </a:ext>
                  </a:extLst>
                </a:gridCol>
                <a:gridCol w="3047603">
                  <a:extLst>
                    <a:ext uri="{9D8B030D-6E8A-4147-A177-3AD203B41FA5}">
                      <a16:colId xmlns:a16="http://schemas.microsoft.com/office/drawing/2014/main" val="2122758113"/>
                    </a:ext>
                  </a:extLst>
                </a:gridCol>
                <a:gridCol w="3047603">
                  <a:extLst>
                    <a:ext uri="{9D8B030D-6E8A-4147-A177-3AD203B41FA5}">
                      <a16:colId xmlns:a16="http://schemas.microsoft.com/office/drawing/2014/main" val="3843830614"/>
                    </a:ext>
                  </a:extLst>
                </a:gridCol>
                <a:gridCol w="3047603">
                  <a:extLst>
                    <a:ext uri="{9D8B030D-6E8A-4147-A177-3AD203B41FA5}">
                      <a16:colId xmlns:a16="http://schemas.microsoft.com/office/drawing/2014/main" val="3292150729"/>
                    </a:ext>
                  </a:extLst>
                </a:gridCol>
              </a:tblGrid>
              <a:tr h="370840">
                <a:tc>
                  <a:txBody>
                    <a:bodyPr/>
                    <a:lstStyle/>
                    <a:p>
                      <a:pPr algn="ctr"/>
                      <a:r>
                        <a:rPr lang="en-US"/>
                        <a:t>Case 1</a:t>
                      </a:r>
                    </a:p>
                  </a:txBody>
                  <a:tcPr>
                    <a:solidFill>
                      <a:schemeClr val="bg2"/>
                    </a:solidFill>
                  </a:tcPr>
                </a:tc>
                <a:tc>
                  <a:txBody>
                    <a:bodyPr/>
                    <a:lstStyle/>
                    <a:p>
                      <a:pPr algn="ctr"/>
                      <a:r>
                        <a:rPr lang="en-US"/>
                        <a:t>Case 2</a:t>
                      </a:r>
                    </a:p>
                  </a:txBody>
                  <a:tcPr>
                    <a:solidFill>
                      <a:schemeClr val="bg2">
                        <a:lumMod val="20000"/>
                        <a:lumOff val="80000"/>
                      </a:schemeClr>
                    </a:solidFill>
                  </a:tcPr>
                </a:tc>
                <a:tc>
                  <a:txBody>
                    <a:bodyPr/>
                    <a:lstStyle/>
                    <a:p>
                      <a:pPr algn="ctr"/>
                      <a:r>
                        <a:rPr lang="en-US"/>
                        <a:t>Case 3</a:t>
                      </a:r>
                    </a:p>
                  </a:txBody>
                  <a:tcPr>
                    <a:solidFill>
                      <a:schemeClr val="bg2">
                        <a:lumMod val="20000"/>
                        <a:lumOff val="80000"/>
                      </a:schemeClr>
                    </a:solidFill>
                  </a:tcPr>
                </a:tc>
                <a:tc>
                  <a:txBody>
                    <a:bodyPr/>
                    <a:lstStyle/>
                    <a:p>
                      <a:pPr algn="ctr"/>
                      <a:r>
                        <a:rPr lang="en-US"/>
                        <a:t>Case 4</a:t>
                      </a:r>
                    </a:p>
                  </a:txBody>
                  <a:tcPr>
                    <a:solidFill>
                      <a:schemeClr val="bg2">
                        <a:lumMod val="20000"/>
                        <a:lumOff val="80000"/>
                      </a:schemeClr>
                    </a:solidFill>
                  </a:tcPr>
                </a:tc>
                <a:extLst>
                  <a:ext uri="{0D108BD9-81ED-4DB2-BD59-A6C34878D82A}">
                    <a16:rowId xmlns:a16="http://schemas.microsoft.com/office/drawing/2014/main" val="2152829518"/>
                  </a:ext>
                </a:extLst>
              </a:tr>
            </a:tbl>
          </a:graphicData>
        </a:graphic>
      </p:graphicFrame>
    </p:spTree>
    <p:extLst>
      <p:ext uri="{BB962C8B-B14F-4D97-AF65-F5344CB8AC3E}">
        <p14:creationId xmlns:p14="http://schemas.microsoft.com/office/powerpoint/2010/main" val="39331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tertitel 6">
            <a:extLst>
              <a:ext uri="{FF2B5EF4-FFF2-40B4-BE49-F238E27FC236}">
                <a16:creationId xmlns:a16="http://schemas.microsoft.com/office/drawing/2014/main" id="{1A6547CC-0A0F-41D9-8932-5496D2C45E3E}"/>
              </a:ext>
            </a:extLst>
          </p:cNvPr>
          <p:cNvSpPr>
            <a:spLocks noGrp="1"/>
          </p:cNvSpPr>
          <p:nvPr>
            <p:ph type="subTitle" idx="13"/>
          </p:nvPr>
        </p:nvSpPr>
        <p:spPr/>
        <p:txBody>
          <a:bodyPr>
            <a:normAutofit fontScale="92500" lnSpcReduction="10000"/>
          </a:bodyPr>
          <a:lstStyle/>
          <a:p>
            <a:r>
              <a:rPr lang="en-US"/>
              <a:t>Use</a:t>
            </a:r>
            <a:r>
              <a:rPr lang="zh-CN" altLang="en-US"/>
              <a:t> </a:t>
            </a:r>
            <a:r>
              <a:rPr lang="en-US" altLang="zh-CN"/>
              <a:t>case</a:t>
            </a:r>
            <a:endParaRPr lang="en-US"/>
          </a:p>
        </p:txBody>
      </p:sp>
      <p:sp>
        <p:nvSpPr>
          <p:cNvPr id="6" name="Titel 5">
            <a:extLst>
              <a:ext uri="{FF2B5EF4-FFF2-40B4-BE49-F238E27FC236}">
                <a16:creationId xmlns:a16="http://schemas.microsoft.com/office/drawing/2014/main" id="{FE4E94F6-DC23-4C8A-813D-50707AD66BDA}"/>
              </a:ext>
            </a:extLst>
          </p:cNvPr>
          <p:cNvSpPr>
            <a:spLocks noGrp="1"/>
          </p:cNvSpPr>
          <p:nvPr>
            <p:ph type="title"/>
          </p:nvPr>
        </p:nvSpPr>
        <p:spPr/>
        <p:txBody>
          <a:bodyPr/>
          <a:lstStyle/>
          <a:p>
            <a:r>
              <a:rPr lang="en-US"/>
              <a:t>Holmes # Efficiency gains @R&amp;D#</a:t>
            </a:r>
            <a:endParaRPr lang="de-DE"/>
          </a:p>
        </p:txBody>
      </p:sp>
      <p:sp>
        <p:nvSpPr>
          <p:cNvPr id="4" name="Fußzeilenplatzhalter 3">
            <a:extLst>
              <a:ext uri="{FF2B5EF4-FFF2-40B4-BE49-F238E27FC236}">
                <a16:creationId xmlns:a16="http://schemas.microsoft.com/office/drawing/2014/main" id="{7DCB4262-A3C0-4DF6-9256-2973460CFF60}"/>
              </a:ext>
            </a:extLst>
          </p:cNvPr>
          <p:cNvSpPr>
            <a:spLocks noGrp="1"/>
          </p:cNvSpPr>
          <p:nvPr>
            <p:ph type="ftr" sz="quarter" idx="11"/>
          </p:nvPr>
        </p:nvSpPr>
        <p:spPr/>
        <p:txBody>
          <a:bodyPr/>
          <a:lstStyle/>
          <a:p>
            <a:r>
              <a:rPr lang="en-US"/>
              <a:t>/// Advanced Analytics and Digital Transformation /// NLP session /// March 2022</a:t>
            </a:r>
          </a:p>
        </p:txBody>
      </p:sp>
      <p:sp>
        <p:nvSpPr>
          <p:cNvPr id="5" name="Foliennummernplatzhalter 4">
            <a:extLst>
              <a:ext uri="{FF2B5EF4-FFF2-40B4-BE49-F238E27FC236}">
                <a16:creationId xmlns:a16="http://schemas.microsoft.com/office/drawing/2014/main" id="{4FE8486C-B1C4-44E4-9A7F-DF6E7FF01330}"/>
              </a:ext>
            </a:extLst>
          </p:cNvPr>
          <p:cNvSpPr>
            <a:spLocks noGrp="1"/>
          </p:cNvSpPr>
          <p:nvPr>
            <p:ph type="sldNum" sz="quarter" idx="12"/>
          </p:nvPr>
        </p:nvSpPr>
        <p:spPr/>
        <p:txBody>
          <a:bodyPr/>
          <a:lstStyle/>
          <a:p>
            <a:fld id="{EEAD9179-7A6B-4268-BEB2-F3B8EB06115B}" type="slidenum">
              <a:rPr lang="en-US" smtClean="0"/>
              <a:pPr/>
              <a:t>21</a:t>
            </a:fld>
            <a:endParaRPr lang="en-US"/>
          </a:p>
        </p:txBody>
      </p:sp>
      <p:pic>
        <p:nvPicPr>
          <p:cNvPr id="17" name="Content Placeholder 6" descr="Table&#10;&#10;Description automatically generated">
            <a:extLst>
              <a:ext uri="{FF2B5EF4-FFF2-40B4-BE49-F238E27FC236}">
                <a16:creationId xmlns:a16="http://schemas.microsoft.com/office/drawing/2014/main" id="{98AB4934-388C-4925-B000-027F37F10ED6}"/>
              </a:ext>
            </a:extLst>
          </p:cNvPr>
          <p:cNvPicPr>
            <a:picLocks noChangeAspect="1"/>
          </p:cNvPicPr>
          <p:nvPr/>
        </p:nvPicPr>
        <p:blipFill>
          <a:blip r:embed="rId2"/>
          <a:stretch>
            <a:fillRect/>
          </a:stretch>
        </p:blipFill>
        <p:spPr bwMode="gray">
          <a:xfrm>
            <a:off x="2194649" y="1731963"/>
            <a:ext cx="8372615" cy="4752975"/>
          </a:xfrm>
          <a:prstGeom prst="rect">
            <a:avLst/>
          </a:prstGeom>
          <a:noFill/>
        </p:spPr>
      </p:pic>
      <mc:AlternateContent xmlns:mc="http://schemas.openxmlformats.org/markup-compatibility/2006" xmlns:p14="http://schemas.microsoft.com/office/powerpoint/2010/main">
        <mc:Choice Requires="p14">
          <p:contentPart p14:bwMode="auto" r:id="rId3">
            <p14:nvContentPartPr>
              <p14:cNvPr id="18" name="Ink 17">
                <a:extLst>
                  <a:ext uri="{FF2B5EF4-FFF2-40B4-BE49-F238E27FC236}">
                    <a16:creationId xmlns:a16="http://schemas.microsoft.com/office/drawing/2014/main" id="{98ABF00A-B295-456D-9532-35EFC005332D}"/>
                  </a:ext>
                </a:extLst>
              </p14:cNvPr>
              <p14:cNvContentPartPr/>
              <p14:nvPr/>
            </p14:nvContentPartPr>
            <p14:xfrm>
              <a:off x="2477880" y="2342088"/>
              <a:ext cx="844920" cy="46440"/>
            </p14:xfrm>
          </p:contentPart>
        </mc:Choice>
        <mc:Fallback xmlns="">
          <p:pic>
            <p:nvPicPr>
              <p:cNvPr id="18" name="Ink 17">
                <a:extLst>
                  <a:ext uri="{FF2B5EF4-FFF2-40B4-BE49-F238E27FC236}">
                    <a16:creationId xmlns:a16="http://schemas.microsoft.com/office/drawing/2014/main" id="{98ABF00A-B295-456D-9532-35EFC005332D}"/>
                  </a:ext>
                </a:extLst>
              </p:cNvPr>
              <p:cNvPicPr/>
              <p:nvPr/>
            </p:nvPicPr>
            <p:blipFill>
              <a:blip r:embed="rId4"/>
              <a:stretch>
                <a:fillRect/>
              </a:stretch>
            </p:blipFill>
            <p:spPr>
              <a:xfrm>
                <a:off x="2459880" y="2324088"/>
                <a:ext cx="880560" cy="8208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22" name="Ink 21">
                <a:extLst>
                  <a:ext uri="{FF2B5EF4-FFF2-40B4-BE49-F238E27FC236}">
                    <a16:creationId xmlns:a16="http://schemas.microsoft.com/office/drawing/2014/main" id="{9661E046-63CE-4437-AC31-2D5111D6B642}"/>
                  </a:ext>
                </a:extLst>
              </p14:cNvPr>
              <p14:cNvContentPartPr/>
              <p14:nvPr/>
            </p14:nvContentPartPr>
            <p14:xfrm>
              <a:off x="2487240" y="3099528"/>
              <a:ext cx="282960" cy="360"/>
            </p14:xfrm>
          </p:contentPart>
        </mc:Choice>
        <mc:Fallback xmlns="">
          <p:pic>
            <p:nvPicPr>
              <p:cNvPr id="22" name="Ink 21">
                <a:extLst>
                  <a:ext uri="{FF2B5EF4-FFF2-40B4-BE49-F238E27FC236}">
                    <a16:creationId xmlns:a16="http://schemas.microsoft.com/office/drawing/2014/main" id="{9661E046-63CE-4437-AC31-2D5111D6B642}"/>
                  </a:ext>
                </a:extLst>
              </p:cNvPr>
              <p:cNvPicPr/>
              <p:nvPr/>
            </p:nvPicPr>
            <p:blipFill>
              <a:blip r:embed="rId6"/>
              <a:stretch>
                <a:fillRect/>
              </a:stretch>
            </p:blipFill>
            <p:spPr>
              <a:xfrm>
                <a:off x="2469240" y="3081528"/>
                <a:ext cx="31860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24" name="Ink 23">
                <a:extLst>
                  <a:ext uri="{FF2B5EF4-FFF2-40B4-BE49-F238E27FC236}">
                    <a16:creationId xmlns:a16="http://schemas.microsoft.com/office/drawing/2014/main" id="{E1263F35-95E2-47A4-BA50-FE5172687668}"/>
                  </a:ext>
                </a:extLst>
              </p14:cNvPr>
              <p14:cNvContentPartPr/>
              <p14:nvPr/>
            </p14:nvContentPartPr>
            <p14:xfrm>
              <a:off x="3630420" y="3334224"/>
              <a:ext cx="712980" cy="360"/>
            </p14:xfrm>
          </p:contentPart>
        </mc:Choice>
        <mc:Fallback xmlns="">
          <p:pic>
            <p:nvPicPr>
              <p:cNvPr id="24" name="Ink 23">
                <a:extLst>
                  <a:ext uri="{FF2B5EF4-FFF2-40B4-BE49-F238E27FC236}">
                    <a16:creationId xmlns:a16="http://schemas.microsoft.com/office/drawing/2014/main" id="{E1263F35-95E2-47A4-BA50-FE5172687668}"/>
                  </a:ext>
                </a:extLst>
              </p:cNvPr>
              <p:cNvPicPr/>
              <p:nvPr/>
            </p:nvPicPr>
            <p:blipFill>
              <a:blip r:embed="rId8"/>
              <a:stretch>
                <a:fillRect/>
              </a:stretch>
            </p:blipFill>
            <p:spPr>
              <a:xfrm>
                <a:off x="3612406" y="3316224"/>
                <a:ext cx="748647"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25" name="Ink 24">
                <a:extLst>
                  <a:ext uri="{FF2B5EF4-FFF2-40B4-BE49-F238E27FC236}">
                    <a16:creationId xmlns:a16="http://schemas.microsoft.com/office/drawing/2014/main" id="{89D8F94A-FB8E-46AC-9CB5-B909CE188A63}"/>
                  </a:ext>
                </a:extLst>
              </p14:cNvPr>
              <p14:cNvContentPartPr/>
              <p14:nvPr/>
            </p14:nvContentPartPr>
            <p14:xfrm>
              <a:off x="3609084" y="5747133"/>
              <a:ext cx="368556" cy="360"/>
            </p14:xfrm>
          </p:contentPart>
        </mc:Choice>
        <mc:Fallback xmlns="">
          <p:pic>
            <p:nvPicPr>
              <p:cNvPr id="25" name="Ink 24">
                <a:extLst>
                  <a:ext uri="{FF2B5EF4-FFF2-40B4-BE49-F238E27FC236}">
                    <a16:creationId xmlns:a16="http://schemas.microsoft.com/office/drawing/2014/main" id="{89D8F94A-FB8E-46AC-9CB5-B909CE188A63}"/>
                  </a:ext>
                </a:extLst>
              </p:cNvPr>
              <p:cNvPicPr/>
              <p:nvPr/>
            </p:nvPicPr>
            <p:blipFill>
              <a:blip r:embed="rId10"/>
              <a:stretch>
                <a:fillRect/>
              </a:stretch>
            </p:blipFill>
            <p:spPr>
              <a:xfrm>
                <a:off x="3591088" y="5729133"/>
                <a:ext cx="404188"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6" name="Ink 25">
                <a:extLst>
                  <a:ext uri="{FF2B5EF4-FFF2-40B4-BE49-F238E27FC236}">
                    <a16:creationId xmlns:a16="http://schemas.microsoft.com/office/drawing/2014/main" id="{A6121798-B18A-4AFA-978B-AA8EBD94813E}"/>
                  </a:ext>
                </a:extLst>
              </p14:cNvPr>
              <p14:cNvContentPartPr/>
              <p14:nvPr/>
            </p14:nvContentPartPr>
            <p14:xfrm>
              <a:off x="2477880" y="6009261"/>
              <a:ext cx="2368440" cy="360"/>
            </p14:xfrm>
          </p:contentPart>
        </mc:Choice>
        <mc:Fallback xmlns="">
          <p:pic>
            <p:nvPicPr>
              <p:cNvPr id="26" name="Ink 25">
                <a:extLst>
                  <a:ext uri="{FF2B5EF4-FFF2-40B4-BE49-F238E27FC236}">
                    <a16:creationId xmlns:a16="http://schemas.microsoft.com/office/drawing/2014/main" id="{A6121798-B18A-4AFA-978B-AA8EBD94813E}"/>
                  </a:ext>
                </a:extLst>
              </p:cNvPr>
              <p:cNvPicPr/>
              <p:nvPr/>
            </p:nvPicPr>
            <p:blipFill>
              <a:blip r:embed="rId12"/>
              <a:stretch>
                <a:fillRect/>
              </a:stretch>
            </p:blipFill>
            <p:spPr>
              <a:xfrm>
                <a:off x="2459864" y="5991261"/>
                <a:ext cx="2404113" cy="36000"/>
              </a:xfrm>
              <a:prstGeom prst="rect">
                <a:avLst/>
              </a:prstGeom>
            </p:spPr>
          </p:pic>
        </mc:Fallback>
      </mc:AlternateContent>
      <p:grpSp>
        <p:nvGrpSpPr>
          <p:cNvPr id="27" name="Group 26">
            <a:extLst>
              <a:ext uri="{FF2B5EF4-FFF2-40B4-BE49-F238E27FC236}">
                <a16:creationId xmlns:a16="http://schemas.microsoft.com/office/drawing/2014/main" id="{E3997154-DFD7-411B-87B9-076368F675A7}"/>
              </a:ext>
            </a:extLst>
          </p:cNvPr>
          <p:cNvGrpSpPr/>
          <p:nvPr/>
        </p:nvGrpSpPr>
        <p:grpSpPr>
          <a:xfrm>
            <a:off x="1016391" y="2849211"/>
            <a:ext cx="927733" cy="344520"/>
            <a:chOff x="497520" y="2930328"/>
            <a:chExt cx="1432800" cy="532080"/>
          </a:xfrm>
        </p:grpSpPr>
        <mc:AlternateContent xmlns:mc="http://schemas.openxmlformats.org/markup-compatibility/2006" xmlns:p14="http://schemas.microsoft.com/office/powerpoint/2010/main">
          <mc:Choice Requires="p14">
            <p:contentPart p14:bwMode="auto" r:id="rId13">
              <p14:nvContentPartPr>
                <p14:cNvPr id="28" name="Ink 27">
                  <a:extLst>
                    <a:ext uri="{FF2B5EF4-FFF2-40B4-BE49-F238E27FC236}">
                      <a16:creationId xmlns:a16="http://schemas.microsoft.com/office/drawing/2014/main" id="{F50C9B3B-40CC-4821-ADFA-925DE9EF213C}"/>
                    </a:ext>
                  </a:extLst>
                </p14:cNvPr>
                <p14:cNvContentPartPr/>
                <p14:nvPr/>
              </p14:nvContentPartPr>
              <p14:xfrm>
                <a:off x="497520" y="3273048"/>
                <a:ext cx="178200" cy="189360"/>
              </p14:xfrm>
            </p:contentPart>
          </mc:Choice>
          <mc:Fallback xmlns="">
            <p:pic>
              <p:nvPicPr>
                <p:cNvPr id="28" name="Ink 27">
                  <a:extLst>
                    <a:ext uri="{FF2B5EF4-FFF2-40B4-BE49-F238E27FC236}">
                      <a16:creationId xmlns:a16="http://schemas.microsoft.com/office/drawing/2014/main" id="{F50C9B3B-40CC-4821-ADFA-925DE9EF213C}"/>
                    </a:ext>
                  </a:extLst>
                </p:cNvPr>
                <p:cNvPicPr/>
                <p:nvPr/>
              </p:nvPicPr>
              <p:blipFill>
                <a:blip r:embed="rId14"/>
                <a:stretch>
                  <a:fillRect/>
                </a:stretch>
              </p:blipFill>
              <p:spPr>
                <a:xfrm>
                  <a:off x="485307" y="3260831"/>
                  <a:ext cx="202071" cy="213238"/>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9" name="Ink 28">
                  <a:extLst>
                    <a:ext uri="{FF2B5EF4-FFF2-40B4-BE49-F238E27FC236}">
                      <a16:creationId xmlns:a16="http://schemas.microsoft.com/office/drawing/2014/main" id="{5856AAE8-84E5-41F7-B3F1-F3DBE9424C5F}"/>
                    </a:ext>
                  </a:extLst>
                </p14:cNvPr>
                <p14:cNvContentPartPr/>
                <p14:nvPr/>
              </p14:nvContentPartPr>
              <p14:xfrm>
                <a:off x="707760" y="3232728"/>
                <a:ext cx="120600" cy="148320"/>
              </p14:xfrm>
            </p:contentPart>
          </mc:Choice>
          <mc:Fallback xmlns="">
            <p:pic>
              <p:nvPicPr>
                <p:cNvPr id="29" name="Ink 28">
                  <a:extLst>
                    <a:ext uri="{FF2B5EF4-FFF2-40B4-BE49-F238E27FC236}">
                      <a16:creationId xmlns:a16="http://schemas.microsoft.com/office/drawing/2014/main" id="{5856AAE8-84E5-41F7-B3F1-F3DBE9424C5F}"/>
                    </a:ext>
                  </a:extLst>
                </p:cNvPr>
                <p:cNvPicPr/>
                <p:nvPr/>
              </p:nvPicPr>
              <p:blipFill>
                <a:blip r:embed="rId16"/>
                <a:stretch>
                  <a:fillRect/>
                </a:stretch>
              </p:blipFill>
              <p:spPr>
                <a:xfrm>
                  <a:off x="695533" y="3220552"/>
                  <a:ext cx="144498" cy="172118"/>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30" name="Ink 29">
                  <a:extLst>
                    <a:ext uri="{FF2B5EF4-FFF2-40B4-BE49-F238E27FC236}">
                      <a16:creationId xmlns:a16="http://schemas.microsoft.com/office/drawing/2014/main" id="{EEA4DFA9-AD9E-4C77-8312-B8846C90E107}"/>
                    </a:ext>
                  </a:extLst>
                </p14:cNvPr>
                <p14:cNvContentPartPr/>
                <p14:nvPr/>
              </p14:nvContentPartPr>
              <p14:xfrm>
                <a:off x="875160" y="3251448"/>
                <a:ext cx="124920" cy="101520"/>
              </p14:xfrm>
            </p:contentPart>
          </mc:Choice>
          <mc:Fallback xmlns="">
            <p:pic>
              <p:nvPicPr>
                <p:cNvPr id="30" name="Ink 29">
                  <a:extLst>
                    <a:ext uri="{FF2B5EF4-FFF2-40B4-BE49-F238E27FC236}">
                      <a16:creationId xmlns:a16="http://schemas.microsoft.com/office/drawing/2014/main" id="{EEA4DFA9-AD9E-4C77-8312-B8846C90E107}"/>
                    </a:ext>
                  </a:extLst>
                </p:cNvPr>
                <p:cNvPicPr/>
                <p:nvPr/>
              </p:nvPicPr>
              <p:blipFill>
                <a:blip r:embed="rId18"/>
                <a:stretch>
                  <a:fillRect/>
                </a:stretch>
              </p:blipFill>
              <p:spPr>
                <a:xfrm>
                  <a:off x="863000" y="3239243"/>
                  <a:ext cx="148688" cy="125374"/>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31" name="Ink 30">
                  <a:extLst>
                    <a:ext uri="{FF2B5EF4-FFF2-40B4-BE49-F238E27FC236}">
                      <a16:creationId xmlns:a16="http://schemas.microsoft.com/office/drawing/2014/main" id="{A2507942-6A93-4680-897F-A19E133CD351}"/>
                    </a:ext>
                  </a:extLst>
                </p14:cNvPr>
                <p14:cNvContentPartPr/>
                <p14:nvPr/>
              </p14:nvContentPartPr>
              <p14:xfrm>
                <a:off x="1041120" y="3211128"/>
                <a:ext cx="89640" cy="123120"/>
              </p14:xfrm>
            </p:contentPart>
          </mc:Choice>
          <mc:Fallback xmlns="">
            <p:pic>
              <p:nvPicPr>
                <p:cNvPr id="31" name="Ink 30">
                  <a:extLst>
                    <a:ext uri="{FF2B5EF4-FFF2-40B4-BE49-F238E27FC236}">
                      <a16:creationId xmlns:a16="http://schemas.microsoft.com/office/drawing/2014/main" id="{A2507942-6A93-4680-897F-A19E133CD351}"/>
                    </a:ext>
                  </a:extLst>
                </p:cNvPr>
                <p:cNvPicPr/>
                <p:nvPr/>
              </p:nvPicPr>
              <p:blipFill>
                <a:blip r:embed="rId20"/>
                <a:stretch>
                  <a:fillRect/>
                </a:stretch>
              </p:blipFill>
              <p:spPr>
                <a:xfrm>
                  <a:off x="1028871" y="3198927"/>
                  <a:ext cx="113581" cy="146968"/>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2" name="Ink 31">
                  <a:extLst>
                    <a:ext uri="{FF2B5EF4-FFF2-40B4-BE49-F238E27FC236}">
                      <a16:creationId xmlns:a16="http://schemas.microsoft.com/office/drawing/2014/main" id="{07C10252-2E1E-44CC-9CCE-0A8DDCFABB03}"/>
                    </a:ext>
                  </a:extLst>
                </p14:cNvPr>
                <p14:cNvContentPartPr/>
                <p14:nvPr/>
              </p14:nvContentPartPr>
              <p14:xfrm>
                <a:off x="1202040" y="3185568"/>
                <a:ext cx="93960" cy="81000"/>
              </p14:xfrm>
            </p:contentPart>
          </mc:Choice>
          <mc:Fallback xmlns="">
            <p:pic>
              <p:nvPicPr>
                <p:cNvPr id="32" name="Ink 31">
                  <a:extLst>
                    <a:ext uri="{FF2B5EF4-FFF2-40B4-BE49-F238E27FC236}">
                      <a16:creationId xmlns:a16="http://schemas.microsoft.com/office/drawing/2014/main" id="{07C10252-2E1E-44CC-9CCE-0A8DDCFABB03}"/>
                    </a:ext>
                  </a:extLst>
                </p:cNvPr>
                <p:cNvPicPr/>
                <p:nvPr/>
              </p:nvPicPr>
              <p:blipFill>
                <a:blip r:embed="rId22"/>
                <a:stretch>
                  <a:fillRect/>
                </a:stretch>
              </p:blipFill>
              <p:spPr>
                <a:xfrm>
                  <a:off x="1189880" y="3173363"/>
                  <a:ext cx="117726" cy="104856"/>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33" name="Ink 32">
                  <a:extLst>
                    <a:ext uri="{FF2B5EF4-FFF2-40B4-BE49-F238E27FC236}">
                      <a16:creationId xmlns:a16="http://schemas.microsoft.com/office/drawing/2014/main" id="{5400B729-9949-451E-9ACB-E4F95CF78936}"/>
                    </a:ext>
                  </a:extLst>
                </p14:cNvPr>
                <p14:cNvContentPartPr/>
                <p14:nvPr/>
              </p14:nvContentPartPr>
              <p14:xfrm>
                <a:off x="1361520" y="3063528"/>
                <a:ext cx="160920" cy="307800"/>
              </p14:xfrm>
            </p:contentPart>
          </mc:Choice>
          <mc:Fallback xmlns="">
            <p:pic>
              <p:nvPicPr>
                <p:cNvPr id="33" name="Ink 32">
                  <a:extLst>
                    <a:ext uri="{FF2B5EF4-FFF2-40B4-BE49-F238E27FC236}">
                      <a16:creationId xmlns:a16="http://schemas.microsoft.com/office/drawing/2014/main" id="{5400B729-9949-451E-9ACB-E4F95CF78936}"/>
                    </a:ext>
                  </a:extLst>
                </p:cNvPr>
                <p:cNvPicPr/>
                <p:nvPr/>
              </p:nvPicPr>
              <p:blipFill>
                <a:blip r:embed="rId24"/>
                <a:stretch>
                  <a:fillRect/>
                </a:stretch>
              </p:blipFill>
              <p:spPr>
                <a:xfrm>
                  <a:off x="1349312" y="3051305"/>
                  <a:ext cx="184781" cy="331691"/>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4" name="Ink 33">
                  <a:extLst>
                    <a:ext uri="{FF2B5EF4-FFF2-40B4-BE49-F238E27FC236}">
                      <a16:creationId xmlns:a16="http://schemas.microsoft.com/office/drawing/2014/main" id="{FF936387-6783-45BD-9384-14F83A6D50EA}"/>
                    </a:ext>
                  </a:extLst>
                </p14:cNvPr>
                <p14:cNvContentPartPr/>
                <p14:nvPr/>
              </p14:nvContentPartPr>
              <p14:xfrm>
                <a:off x="1599480" y="3051286"/>
                <a:ext cx="182880" cy="103679"/>
              </p14:xfrm>
            </p:contentPart>
          </mc:Choice>
          <mc:Fallback xmlns="">
            <p:pic>
              <p:nvPicPr>
                <p:cNvPr id="34" name="Ink 33">
                  <a:extLst>
                    <a:ext uri="{FF2B5EF4-FFF2-40B4-BE49-F238E27FC236}">
                      <a16:creationId xmlns:a16="http://schemas.microsoft.com/office/drawing/2014/main" id="{FF936387-6783-45BD-9384-14F83A6D50EA}"/>
                    </a:ext>
                  </a:extLst>
                </p:cNvPr>
                <p:cNvPicPr/>
                <p:nvPr/>
              </p:nvPicPr>
              <p:blipFill>
                <a:blip r:embed="rId26"/>
                <a:stretch>
                  <a:fillRect/>
                </a:stretch>
              </p:blipFill>
              <p:spPr>
                <a:xfrm>
                  <a:off x="1587251" y="3039088"/>
                  <a:ext cx="206782" cy="12752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35" name="Ink 34">
                  <a:extLst>
                    <a:ext uri="{FF2B5EF4-FFF2-40B4-BE49-F238E27FC236}">
                      <a16:creationId xmlns:a16="http://schemas.microsoft.com/office/drawing/2014/main" id="{986E30CD-F817-4BE9-9F48-F11D01A76E14}"/>
                    </a:ext>
                  </a:extLst>
                </p14:cNvPr>
                <p14:cNvContentPartPr/>
                <p14:nvPr/>
              </p14:nvContentPartPr>
              <p14:xfrm>
                <a:off x="1866960" y="2930328"/>
                <a:ext cx="63360" cy="187560"/>
              </p14:xfrm>
            </p:contentPart>
          </mc:Choice>
          <mc:Fallback xmlns="">
            <p:pic>
              <p:nvPicPr>
                <p:cNvPr id="35" name="Ink 34">
                  <a:extLst>
                    <a:ext uri="{FF2B5EF4-FFF2-40B4-BE49-F238E27FC236}">
                      <a16:creationId xmlns:a16="http://schemas.microsoft.com/office/drawing/2014/main" id="{986E30CD-F817-4BE9-9F48-F11D01A76E14}"/>
                    </a:ext>
                  </a:extLst>
                </p:cNvPr>
                <p:cNvPicPr/>
                <p:nvPr/>
              </p:nvPicPr>
              <p:blipFill>
                <a:blip r:embed="rId28"/>
                <a:stretch>
                  <a:fillRect/>
                </a:stretch>
              </p:blipFill>
              <p:spPr>
                <a:xfrm>
                  <a:off x="1854839" y="2918120"/>
                  <a:ext cx="87051" cy="211421"/>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9">
            <p14:nvContentPartPr>
              <p14:cNvPr id="36" name="Ink 35">
                <a:extLst>
                  <a:ext uri="{FF2B5EF4-FFF2-40B4-BE49-F238E27FC236}">
                    <a16:creationId xmlns:a16="http://schemas.microsoft.com/office/drawing/2014/main" id="{79879FE3-32DA-4E7C-9F0B-CD5B0C8A8D42}"/>
                  </a:ext>
                </a:extLst>
              </p14:cNvPr>
              <p14:cNvContentPartPr/>
              <p14:nvPr/>
            </p14:nvContentPartPr>
            <p14:xfrm>
              <a:off x="3026664" y="4531010"/>
              <a:ext cx="182880" cy="360"/>
            </p14:xfrm>
          </p:contentPart>
        </mc:Choice>
        <mc:Fallback xmlns="">
          <p:pic>
            <p:nvPicPr>
              <p:cNvPr id="36" name="Ink 35">
                <a:extLst>
                  <a:ext uri="{FF2B5EF4-FFF2-40B4-BE49-F238E27FC236}">
                    <a16:creationId xmlns:a16="http://schemas.microsoft.com/office/drawing/2014/main" id="{79879FE3-32DA-4E7C-9F0B-CD5B0C8A8D42}"/>
                  </a:ext>
                </a:extLst>
              </p:cNvPr>
              <p:cNvPicPr/>
              <p:nvPr/>
            </p:nvPicPr>
            <p:blipFill>
              <a:blip r:embed="rId30"/>
              <a:stretch>
                <a:fillRect/>
              </a:stretch>
            </p:blipFill>
            <p:spPr>
              <a:xfrm>
                <a:off x="3008699" y="4513010"/>
                <a:ext cx="218450" cy="36000"/>
              </a:xfrm>
              <a:prstGeom prst="rect">
                <a:avLst/>
              </a:prstGeom>
            </p:spPr>
          </p:pic>
        </mc:Fallback>
      </mc:AlternateContent>
      <p:grpSp>
        <p:nvGrpSpPr>
          <p:cNvPr id="37" name="Group 36">
            <a:extLst>
              <a:ext uri="{FF2B5EF4-FFF2-40B4-BE49-F238E27FC236}">
                <a16:creationId xmlns:a16="http://schemas.microsoft.com/office/drawing/2014/main" id="{86735FEB-8D15-4D76-AD57-41C40247E7E5}"/>
              </a:ext>
            </a:extLst>
          </p:cNvPr>
          <p:cNvGrpSpPr/>
          <p:nvPr/>
        </p:nvGrpSpPr>
        <p:grpSpPr>
          <a:xfrm>
            <a:off x="1152521" y="4042204"/>
            <a:ext cx="1083619" cy="318240"/>
            <a:chOff x="5946480" y="547848"/>
            <a:chExt cx="1703880" cy="500400"/>
          </a:xfrm>
        </p:grpSpPr>
        <mc:AlternateContent xmlns:mc="http://schemas.openxmlformats.org/markup-compatibility/2006" xmlns:p14="http://schemas.microsoft.com/office/powerpoint/2010/main">
          <mc:Choice Requires="p14">
            <p:contentPart p14:bwMode="auto" r:id="rId31">
              <p14:nvContentPartPr>
                <p14:cNvPr id="38" name="Ink 37">
                  <a:extLst>
                    <a:ext uri="{FF2B5EF4-FFF2-40B4-BE49-F238E27FC236}">
                      <a16:creationId xmlns:a16="http://schemas.microsoft.com/office/drawing/2014/main" id="{ABF7C616-E04B-42DD-8D12-2087C971E9D9}"/>
                    </a:ext>
                  </a:extLst>
                </p14:cNvPr>
                <p14:cNvContentPartPr/>
                <p14:nvPr/>
              </p14:nvContentPartPr>
              <p14:xfrm>
                <a:off x="5946480" y="798408"/>
                <a:ext cx="249840" cy="172080"/>
              </p14:xfrm>
            </p:contentPart>
          </mc:Choice>
          <mc:Fallback xmlns="">
            <p:pic>
              <p:nvPicPr>
                <p:cNvPr id="38" name="Ink 37">
                  <a:extLst>
                    <a:ext uri="{FF2B5EF4-FFF2-40B4-BE49-F238E27FC236}">
                      <a16:creationId xmlns:a16="http://schemas.microsoft.com/office/drawing/2014/main" id="{ABF7C616-E04B-42DD-8D12-2087C971E9D9}"/>
                    </a:ext>
                  </a:extLst>
                </p:cNvPr>
                <p:cNvPicPr/>
                <p:nvPr/>
              </p:nvPicPr>
              <p:blipFill>
                <a:blip r:embed="rId32"/>
                <a:stretch>
                  <a:fillRect/>
                </a:stretch>
              </p:blipFill>
              <p:spPr>
                <a:xfrm>
                  <a:off x="5931784" y="783739"/>
                  <a:ext cx="279233" cy="201418"/>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39" name="Ink 38">
                  <a:extLst>
                    <a:ext uri="{FF2B5EF4-FFF2-40B4-BE49-F238E27FC236}">
                      <a16:creationId xmlns:a16="http://schemas.microsoft.com/office/drawing/2014/main" id="{2A3FFCCB-DAFD-4217-9AED-55DD0593AEF3}"/>
                    </a:ext>
                  </a:extLst>
                </p14:cNvPr>
                <p14:cNvContentPartPr/>
                <p14:nvPr/>
              </p14:nvContentPartPr>
              <p14:xfrm>
                <a:off x="6283800" y="803808"/>
                <a:ext cx="360" cy="109440"/>
              </p14:xfrm>
            </p:contentPart>
          </mc:Choice>
          <mc:Fallback xmlns="">
            <p:pic>
              <p:nvPicPr>
                <p:cNvPr id="39" name="Ink 38">
                  <a:extLst>
                    <a:ext uri="{FF2B5EF4-FFF2-40B4-BE49-F238E27FC236}">
                      <a16:creationId xmlns:a16="http://schemas.microsoft.com/office/drawing/2014/main" id="{2A3FFCCB-DAFD-4217-9AED-55DD0593AEF3}"/>
                    </a:ext>
                  </a:extLst>
                </p:cNvPr>
                <p:cNvPicPr/>
                <p:nvPr/>
              </p:nvPicPr>
              <p:blipFill>
                <a:blip r:embed="rId34"/>
                <a:stretch>
                  <a:fillRect/>
                </a:stretch>
              </p:blipFill>
              <p:spPr>
                <a:xfrm>
                  <a:off x="6274440" y="789141"/>
                  <a:ext cx="19080" cy="138774"/>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40" name="Ink 39">
                  <a:extLst>
                    <a:ext uri="{FF2B5EF4-FFF2-40B4-BE49-F238E27FC236}">
                      <a16:creationId xmlns:a16="http://schemas.microsoft.com/office/drawing/2014/main" id="{2A5D35E6-4A26-4037-871E-2AA4D77A4CEE}"/>
                    </a:ext>
                  </a:extLst>
                </p14:cNvPr>
                <p14:cNvContentPartPr/>
                <p14:nvPr/>
              </p14:nvContentPartPr>
              <p14:xfrm>
                <a:off x="6275880" y="730008"/>
                <a:ext cx="12960" cy="3600"/>
              </p14:xfrm>
            </p:contentPart>
          </mc:Choice>
          <mc:Fallback xmlns="">
            <p:pic>
              <p:nvPicPr>
                <p:cNvPr id="40" name="Ink 39">
                  <a:extLst>
                    <a:ext uri="{FF2B5EF4-FFF2-40B4-BE49-F238E27FC236}">
                      <a16:creationId xmlns:a16="http://schemas.microsoft.com/office/drawing/2014/main" id="{2A5D35E6-4A26-4037-871E-2AA4D77A4CEE}"/>
                    </a:ext>
                  </a:extLst>
                </p:cNvPr>
                <p:cNvPicPr/>
                <p:nvPr/>
              </p:nvPicPr>
              <p:blipFill>
                <a:blip r:embed="rId36"/>
                <a:stretch>
                  <a:fillRect/>
                </a:stretch>
              </p:blipFill>
              <p:spPr>
                <a:xfrm>
                  <a:off x="6261840" y="716637"/>
                  <a:ext cx="41040" cy="30343"/>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41" name="Ink 40">
                  <a:extLst>
                    <a:ext uri="{FF2B5EF4-FFF2-40B4-BE49-F238E27FC236}">
                      <a16:creationId xmlns:a16="http://schemas.microsoft.com/office/drawing/2014/main" id="{5246524E-F9E6-46D6-8707-C5F069A5E9FF}"/>
                    </a:ext>
                  </a:extLst>
                </p14:cNvPr>
                <p14:cNvContentPartPr/>
                <p14:nvPr/>
              </p14:nvContentPartPr>
              <p14:xfrm>
                <a:off x="6364080" y="781848"/>
                <a:ext cx="74160" cy="150120"/>
              </p14:xfrm>
            </p:contentPart>
          </mc:Choice>
          <mc:Fallback xmlns="">
            <p:pic>
              <p:nvPicPr>
                <p:cNvPr id="41" name="Ink 40">
                  <a:extLst>
                    <a:ext uri="{FF2B5EF4-FFF2-40B4-BE49-F238E27FC236}">
                      <a16:creationId xmlns:a16="http://schemas.microsoft.com/office/drawing/2014/main" id="{5246524E-F9E6-46D6-8707-C5F069A5E9FF}"/>
                    </a:ext>
                  </a:extLst>
                </p:cNvPr>
                <p:cNvPicPr/>
                <p:nvPr/>
              </p:nvPicPr>
              <p:blipFill>
                <a:blip r:embed="rId38"/>
                <a:stretch>
                  <a:fillRect/>
                </a:stretch>
              </p:blipFill>
              <p:spPr>
                <a:xfrm>
                  <a:off x="6349361" y="767175"/>
                  <a:ext cx="103598" cy="179467"/>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42" name="Ink 41">
                  <a:extLst>
                    <a:ext uri="{FF2B5EF4-FFF2-40B4-BE49-F238E27FC236}">
                      <a16:creationId xmlns:a16="http://schemas.microsoft.com/office/drawing/2014/main" id="{7DD6998D-B5F2-4E9E-BC08-56EFA04096E8}"/>
                    </a:ext>
                  </a:extLst>
                </p14:cNvPr>
                <p14:cNvContentPartPr/>
                <p14:nvPr/>
              </p14:nvContentPartPr>
              <p14:xfrm>
                <a:off x="6505560" y="780408"/>
                <a:ext cx="74160" cy="121320"/>
              </p14:xfrm>
            </p:contentPart>
          </mc:Choice>
          <mc:Fallback xmlns="">
            <p:pic>
              <p:nvPicPr>
                <p:cNvPr id="42" name="Ink 41">
                  <a:extLst>
                    <a:ext uri="{FF2B5EF4-FFF2-40B4-BE49-F238E27FC236}">
                      <a16:creationId xmlns:a16="http://schemas.microsoft.com/office/drawing/2014/main" id="{7DD6998D-B5F2-4E9E-BC08-56EFA04096E8}"/>
                    </a:ext>
                  </a:extLst>
                </p:cNvPr>
                <p:cNvPicPr/>
                <p:nvPr/>
              </p:nvPicPr>
              <p:blipFill>
                <a:blip r:embed="rId40"/>
                <a:stretch>
                  <a:fillRect/>
                </a:stretch>
              </p:blipFill>
              <p:spPr>
                <a:xfrm>
                  <a:off x="6490953" y="765737"/>
                  <a:ext cx="103375" cy="150663"/>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43" name="Ink 42">
                  <a:extLst>
                    <a:ext uri="{FF2B5EF4-FFF2-40B4-BE49-F238E27FC236}">
                      <a16:creationId xmlns:a16="http://schemas.microsoft.com/office/drawing/2014/main" id="{19116874-C27C-4480-B009-B1D329CA9039}"/>
                    </a:ext>
                  </a:extLst>
                </p14:cNvPr>
                <p14:cNvContentPartPr/>
                <p14:nvPr/>
              </p14:nvContentPartPr>
              <p14:xfrm>
                <a:off x="6632640" y="828648"/>
                <a:ext cx="75960" cy="205200"/>
              </p14:xfrm>
            </p:contentPart>
          </mc:Choice>
          <mc:Fallback xmlns="">
            <p:pic>
              <p:nvPicPr>
                <p:cNvPr id="43" name="Ink 42">
                  <a:extLst>
                    <a:ext uri="{FF2B5EF4-FFF2-40B4-BE49-F238E27FC236}">
                      <a16:creationId xmlns:a16="http://schemas.microsoft.com/office/drawing/2014/main" id="{19116874-C27C-4480-B009-B1D329CA9039}"/>
                    </a:ext>
                  </a:extLst>
                </p:cNvPr>
                <p:cNvPicPr/>
                <p:nvPr/>
              </p:nvPicPr>
              <p:blipFill>
                <a:blip r:embed="rId42"/>
                <a:stretch>
                  <a:fillRect/>
                </a:stretch>
              </p:blipFill>
              <p:spPr>
                <a:xfrm>
                  <a:off x="6618011" y="813950"/>
                  <a:ext cx="105219" cy="234595"/>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44" name="Ink 43">
                  <a:extLst>
                    <a:ext uri="{FF2B5EF4-FFF2-40B4-BE49-F238E27FC236}">
                      <a16:creationId xmlns:a16="http://schemas.microsoft.com/office/drawing/2014/main" id="{377C316B-75BF-46CA-8ED9-C4A2DB7062B6}"/>
                    </a:ext>
                  </a:extLst>
                </p14:cNvPr>
                <p14:cNvContentPartPr/>
                <p14:nvPr/>
              </p14:nvContentPartPr>
              <p14:xfrm>
                <a:off x="6786360" y="783648"/>
                <a:ext cx="107640" cy="141840"/>
              </p14:xfrm>
            </p:contentPart>
          </mc:Choice>
          <mc:Fallback xmlns="">
            <p:pic>
              <p:nvPicPr>
                <p:cNvPr id="44" name="Ink 43">
                  <a:extLst>
                    <a:ext uri="{FF2B5EF4-FFF2-40B4-BE49-F238E27FC236}">
                      <a16:creationId xmlns:a16="http://schemas.microsoft.com/office/drawing/2014/main" id="{377C316B-75BF-46CA-8ED9-C4A2DB7062B6}"/>
                    </a:ext>
                  </a:extLst>
                </p:cNvPr>
                <p:cNvPicPr/>
                <p:nvPr/>
              </p:nvPicPr>
              <p:blipFill>
                <a:blip r:embed="rId44"/>
                <a:stretch>
                  <a:fillRect/>
                </a:stretch>
              </p:blipFill>
              <p:spPr>
                <a:xfrm>
                  <a:off x="6771707" y="768955"/>
                  <a:ext cx="136945" cy="171225"/>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45" name="Ink 44">
                  <a:extLst>
                    <a:ext uri="{FF2B5EF4-FFF2-40B4-BE49-F238E27FC236}">
                      <a16:creationId xmlns:a16="http://schemas.microsoft.com/office/drawing/2014/main" id="{609A4C75-0BE7-4F78-B6BE-9F57D7D6F6EB}"/>
                    </a:ext>
                  </a:extLst>
                </p14:cNvPr>
                <p14:cNvContentPartPr/>
                <p14:nvPr/>
              </p14:nvContentPartPr>
              <p14:xfrm>
                <a:off x="6960600" y="590688"/>
                <a:ext cx="15480" cy="276840"/>
              </p14:xfrm>
            </p:contentPart>
          </mc:Choice>
          <mc:Fallback xmlns="">
            <p:pic>
              <p:nvPicPr>
                <p:cNvPr id="45" name="Ink 44">
                  <a:extLst>
                    <a:ext uri="{FF2B5EF4-FFF2-40B4-BE49-F238E27FC236}">
                      <a16:creationId xmlns:a16="http://schemas.microsoft.com/office/drawing/2014/main" id="{609A4C75-0BE7-4F78-B6BE-9F57D7D6F6EB}"/>
                    </a:ext>
                  </a:extLst>
                </p:cNvPr>
                <p:cNvPicPr/>
                <p:nvPr/>
              </p:nvPicPr>
              <p:blipFill>
                <a:blip r:embed="rId46"/>
                <a:stretch>
                  <a:fillRect/>
                </a:stretch>
              </p:blipFill>
              <p:spPr>
                <a:xfrm>
                  <a:off x="6946226" y="575999"/>
                  <a:ext cx="44229" cy="306219"/>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46" name="Ink 45">
                  <a:extLst>
                    <a:ext uri="{FF2B5EF4-FFF2-40B4-BE49-F238E27FC236}">
                      <a16:creationId xmlns:a16="http://schemas.microsoft.com/office/drawing/2014/main" id="{CB6C3DB1-6ADE-4D7C-9D0E-C9B09B7D1E99}"/>
                    </a:ext>
                  </a:extLst>
                </p14:cNvPr>
                <p14:cNvContentPartPr/>
                <p14:nvPr/>
              </p14:nvContentPartPr>
              <p14:xfrm>
                <a:off x="7045920" y="547848"/>
                <a:ext cx="1800" cy="309240"/>
              </p14:xfrm>
            </p:contentPart>
          </mc:Choice>
          <mc:Fallback xmlns="">
            <p:pic>
              <p:nvPicPr>
                <p:cNvPr id="46" name="Ink 45">
                  <a:extLst>
                    <a:ext uri="{FF2B5EF4-FFF2-40B4-BE49-F238E27FC236}">
                      <a16:creationId xmlns:a16="http://schemas.microsoft.com/office/drawing/2014/main" id="{CB6C3DB1-6ADE-4D7C-9D0E-C9B09B7D1E99}"/>
                    </a:ext>
                  </a:extLst>
                </p:cNvPr>
                <p:cNvPicPr/>
                <p:nvPr/>
              </p:nvPicPr>
              <p:blipFill>
                <a:blip r:embed="rId48"/>
                <a:stretch>
                  <a:fillRect/>
                </a:stretch>
              </p:blipFill>
              <p:spPr>
                <a:xfrm>
                  <a:off x="7030320" y="533122"/>
                  <a:ext cx="33000" cy="338691"/>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47" name="Ink 46">
                  <a:extLst>
                    <a:ext uri="{FF2B5EF4-FFF2-40B4-BE49-F238E27FC236}">
                      <a16:creationId xmlns:a16="http://schemas.microsoft.com/office/drawing/2014/main" id="{4197F46A-3DD5-4C02-9D91-04CAE15DDB48}"/>
                    </a:ext>
                  </a:extLst>
                </p14:cNvPr>
                <p14:cNvContentPartPr/>
                <p14:nvPr/>
              </p14:nvContentPartPr>
              <p14:xfrm>
                <a:off x="7119000" y="631008"/>
                <a:ext cx="41760" cy="247680"/>
              </p14:xfrm>
            </p:contentPart>
          </mc:Choice>
          <mc:Fallback xmlns="">
            <p:pic>
              <p:nvPicPr>
                <p:cNvPr id="47" name="Ink 46">
                  <a:extLst>
                    <a:ext uri="{FF2B5EF4-FFF2-40B4-BE49-F238E27FC236}">
                      <a16:creationId xmlns:a16="http://schemas.microsoft.com/office/drawing/2014/main" id="{4197F46A-3DD5-4C02-9D91-04CAE15DDB48}"/>
                    </a:ext>
                  </a:extLst>
                </p:cNvPr>
                <p:cNvPicPr/>
                <p:nvPr/>
              </p:nvPicPr>
              <p:blipFill>
                <a:blip r:embed="rId50"/>
                <a:stretch>
                  <a:fillRect/>
                </a:stretch>
              </p:blipFill>
              <p:spPr>
                <a:xfrm>
                  <a:off x="7104523" y="616306"/>
                  <a:ext cx="70714" cy="277085"/>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48" name="Ink 47">
                  <a:extLst>
                    <a:ext uri="{FF2B5EF4-FFF2-40B4-BE49-F238E27FC236}">
                      <a16:creationId xmlns:a16="http://schemas.microsoft.com/office/drawing/2014/main" id="{8520D7CB-22EA-486E-A145-81F1D0A199E8}"/>
                    </a:ext>
                  </a:extLst>
                </p14:cNvPr>
                <p14:cNvContentPartPr/>
                <p14:nvPr/>
              </p14:nvContentPartPr>
              <p14:xfrm>
                <a:off x="7212240" y="770328"/>
                <a:ext cx="104400" cy="104400"/>
              </p14:xfrm>
            </p:contentPart>
          </mc:Choice>
          <mc:Fallback xmlns="">
            <p:pic>
              <p:nvPicPr>
                <p:cNvPr id="48" name="Ink 47">
                  <a:extLst>
                    <a:ext uri="{FF2B5EF4-FFF2-40B4-BE49-F238E27FC236}">
                      <a16:creationId xmlns:a16="http://schemas.microsoft.com/office/drawing/2014/main" id="{8520D7CB-22EA-486E-A145-81F1D0A199E8}"/>
                    </a:ext>
                  </a:extLst>
                </p:cNvPr>
                <p:cNvPicPr/>
                <p:nvPr/>
              </p:nvPicPr>
              <p:blipFill>
                <a:blip r:embed="rId52"/>
                <a:stretch>
                  <a:fillRect/>
                </a:stretch>
              </p:blipFill>
              <p:spPr>
                <a:xfrm>
                  <a:off x="7197488" y="755656"/>
                  <a:ext cx="133904" cy="133745"/>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49" name="Ink 48">
                  <a:extLst>
                    <a:ext uri="{FF2B5EF4-FFF2-40B4-BE49-F238E27FC236}">
                      <a16:creationId xmlns:a16="http://schemas.microsoft.com/office/drawing/2014/main" id="{C4B86D8A-9DB5-42E8-A28D-D2BFB301A0F7}"/>
                    </a:ext>
                  </a:extLst>
                </p14:cNvPr>
                <p14:cNvContentPartPr/>
                <p14:nvPr/>
              </p14:nvContentPartPr>
              <p14:xfrm>
                <a:off x="7320960" y="670608"/>
                <a:ext cx="156240" cy="377640"/>
              </p14:xfrm>
            </p:contentPart>
          </mc:Choice>
          <mc:Fallback xmlns="">
            <p:pic>
              <p:nvPicPr>
                <p:cNvPr id="49" name="Ink 48">
                  <a:extLst>
                    <a:ext uri="{FF2B5EF4-FFF2-40B4-BE49-F238E27FC236}">
                      <a16:creationId xmlns:a16="http://schemas.microsoft.com/office/drawing/2014/main" id="{C4B86D8A-9DB5-42E8-A28D-D2BFB301A0F7}"/>
                    </a:ext>
                  </a:extLst>
                </p:cNvPr>
                <p:cNvPicPr/>
                <p:nvPr/>
              </p:nvPicPr>
              <p:blipFill>
                <a:blip r:embed="rId54"/>
                <a:stretch>
                  <a:fillRect/>
                </a:stretch>
              </p:blipFill>
              <p:spPr>
                <a:xfrm>
                  <a:off x="7306295" y="655909"/>
                  <a:ext cx="185570" cy="407037"/>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50" name="Ink 49">
                  <a:extLst>
                    <a:ext uri="{FF2B5EF4-FFF2-40B4-BE49-F238E27FC236}">
                      <a16:creationId xmlns:a16="http://schemas.microsoft.com/office/drawing/2014/main" id="{1EBDCFD9-A1B6-4CF8-BD2E-A61703D5E663}"/>
                    </a:ext>
                  </a:extLst>
                </p14:cNvPr>
                <p14:cNvContentPartPr/>
                <p14:nvPr/>
              </p14:nvContentPartPr>
              <p14:xfrm>
                <a:off x="7498800" y="703008"/>
                <a:ext cx="151560" cy="203040"/>
              </p14:xfrm>
            </p:contentPart>
          </mc:Choice>
          <mc:Fallback xmlns="">
            <p:pic>
              <p:nvPicPr>
                <p:cNvPr id="50" name="Ink 49">
                  <a:extLst>
                    <a:ext uri="{FF2B5EF4-FFF2-40B4-BE49-F238E27FC236}">
                      <a16:creationId xmlns:a16="http://schemas.microsoft.com/office/drawing/2014/main" id="{1EBDCFD9-A1B6-4CF8-BD2E-A61703D5E663}"/>
                    </a:ext>
                  </a:extLst>
                </p:cNvPr>
                <p:cNvPicPr/>
                <p:nvPr/>
              </p:nvPicPr>
              <p:blipFill>
                <a:blip r:embed="rId56"/>
                <a:stretch>
                  <a:fillRect/>
                </a:stretch>
              </p:blipFill>
              <p:spPr>
                <a:xfrm>
                  <a:off x="7484151" y="688303"/>
                  <a:ext cx="180858" cy="232450"/>
                </a:xfrm>
                <a:prstGeom prst="rect">
                  <a:avLst/>
                </a:prstGeom>
              </p:spPr>
            </p:pic>
          </mc:Fallback>
        </mc:AlternateContent>
      </p:grpSp>
      <p:grpSp>
        <p:nvGrpSpPr>
          <p:cNvPr id="51" name="Group 50">
            <a:extLst>
              <a:ext uri="{FF2B5EF4-FFF2-40B4-BE49-F238E27FC236}">
                <a16:creationId xmlns:a16="http://schemas.microsoft.com/office/drawing/2014/main" id="{B9A31B0B-94BB-4D38-8815-F3E56971BEF5}"/>
              </a:ext>
            </a:extLst>
          </p:cNvPr>
          <p:cNvGrpSpPr/>
          <p:nvPr/>
        </p:nvGrpSpPr>
        <p:grpSpPr>
          <a:xfrm>
            <a:off x="1221645" y="5044919"/>
            <a:ext cx="1010303" cy="418680"/>
            <a:chOff x="5568840" y="474048"/>
            <a:chExt cx="1568880" cy="650160"/>
          </a:xfrm>
        </p:grpSpPr>
        <mc:AlternateContent xmlns:mc="http://schemas.openxmlformats.org/markup-compatibility/2006" xmlns:p14="http://schemas.microsoft.com/office/powerpoint/2010/main">
          <mc:Choice Requires="p14">
            <p:contentPart p14:bwMode="auto" r:id="rId57">
              <p14:nvContentPartPr>
                <p14:cNvPr id="52" name="Ink 51">
                  <a:extLst>
                    <a:ext uri="{FF2B5EF4-FFF2-40B4-BE49-F238E27FC236}">
                      <a16:creationId xmlns:a16="http://schemas.microsoft.com/office/drawing/2014/main" id="{2C41B030-C37E-4CFE-BBF7-DC42659C6142}"/>
                    </a:ext>
                  </a:extLst>
                </p14:cNvPr>
                <p14:cNvContentPartPr/>
                <p14:nvPr/>
              </p14:nvContentPartPr>
              <p14:xfrm>
                <a:off x="5568840" y="659088"/>
                <a:ext cx="145800" cy="223920"/>
              </p14:xfrm>
            </p:contentPart>
          </mc:Choice>
          <mc:Fallback xmlns="">
            <p:pic>
              <p:nvPicPr>
                <p:cNvPr id="52" name="Ink 51">
                  <a:extLst>
                    <a:ext uri="{FF2B5EF4-FFF2-40B4-BE49-F238E27FC236}">
                      <a16:creationId xmlns:a16="http://schemas.microsoft.com/office/drawing/2014/main" id="{2C41B030-C37E-4CFE-BBF7-DC42659C6142}"/>
                    </a:ext>
                  </a:extLst>
                </p:cNvPr>
                <p:cNvPicPr/>
                <p:nvPr/>
              </p:nvPicPr>
              <p:blipFill>
                <a:blip r:embed="rId58"/>
                <a:stretch>
                  <a:fillRect/>
                </a:stretch>
              </p:blipFill>
              <p:spPr>
                <a:xfrm>
                  <a:off x="5554371" y="644569"/>
                  <a:ext cx="174737" cy="252957"/>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53" name="Ink 52">
                  <a:extLst>
                    <a:ext uri="{FF2B5EF4-FFF2-40B4-BE49-F238E27FC236}">
                      <a16:creationId xmlns:a16="http://schemas.microsoft.com/office/drawing/2014/main" id="{71FE7B0D-68E8-4C29-8010-CD09459EB3D6}"/>
                    </a:ext>
                  </a:extLst>
                </p14:cNvPr>
                <p14:cNvContentPartPr/>
                <p14:nvPr/>
              </p14:nvContentPartPr>
              <p14:xfrm>
                <a:off x="5808240" y="705528"/>
                <a:ext cx="102240" cy="230400"/>
              </p14:xfrm>
            </p:contentPart>
          </mc:Choice>
          <mc:Fallback xmlns="">
            <p:pic>
              <p:nvPicPr>
                <p:cNvPr id="53" name="Ink 52">
                  <a:extLst>
                    <a:ext uri="{FF2B5EF4-FFF2-40B4-BE49-F238E27FC236}">
                      <a16:creationId xmlns:a16="http://schemas.microsoft.com/office/drawing/2014/main" id="{71FE7B0D-68E8-4C29-8010-CD09459EB3D6}"/>
                    </a:ext>
                  </a:extLst>
                </p:cNvPr>
                <p:cNvPicPr/>
                <p:nvPr/>
              </p:nvPicPr>
              <p:blipFill>
                <a:blip r:embed="rId60"/>
                <a:stretch>
                  <a:fillRect/>
                </a:stretch>
              </p:blipFill>
              <p:spPr>
                <a:xfrm>
                  <a:off x="5793714" y="691023"/>
                  <a:ext cx="131292" cy="259409"/>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54" name="Ink 53">
                  <a:extLst>
                    <a:ext uri="{FF2B5EF4-FFF2-40B4-BE49-F238E27FC236}">
                      <a16:creationId xmlns:a16="http://schemas.microsoft.com/office/drawing/2014/main" id="{13E806AC-3D94-4DCF-B6AE-3057911F0DB4}"/>
                    </a:ext>
                  </a:extLst>
                </p14:cNvPr>
                <p14:cNvContentPartPr/>
                <p14:nvPr/>
              </p14:nvContentPartPr>
              <p14:xfrm>
                <a:off x="5953680" y="660168"/>
                <a:ext cx="83520" cy="127440"/>
              </p14:xfrm>
            </p:contentPart>
          </mc:Choice>
          <mc:Fallback xmlns="">
            <p:pic>
              <p:nvPicPr>
                <p:cNvPr id="54" name="Ink 53">
                  <a:extLst>
                    <a:ext uri="{FF2B5EF4-FFF2-40B4-BE49-F238E27FC236}">
                      <a16:creationId xmlns:a16="http://schemas.microsoft.com/office/drawing/2014/main" id="{13E806AC-3D94-4DCF-B6AE-3057911F0DB4}"/>
                    </a:ext>
                  </a:extLst>
                </p:cNvPr>
                <p:cNvPicPr/>
                <p:nvPr/>
              </p:nvPicPr>
              <p:blipFill>
                <a:blip r:embed="rId62"/>
                <a:stretch>
                  <a:fillRect/>
                </a:stretch>
              </p:blipFill>
              <p:spPr>
                <a:xfrm>
                  <a:off x="5939203" y="645635"/>
                  <a:ext cx="112474" cy="156505"/>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55" name="Ink 54">
                  <a:extLst>
                    <a:ext uri="{FF2B5EF4-FFF2-40B4-BE49-F238E27FC236}">
                      <a16:creationId xmlns:a16="http://schemas.microsoft.com/office/drawing/2014/main" id="{951F742D-DD78-46CD-BBFD-DFA6A01E26E3}"/>
                    </a:ext>
                  </a:extLst>
                </p14:cNvPr>
                <p14:cNvContentPartPr/>
                <p14:nvPr/>
              </p14:nvContentPartPr>
              <p14:xfrm>
                <a:off x="6105960" y="634248"/>
                <a:ext cx="93960" cy="145080"/>
              </p14:xfrm>
            </p:contentPart>
          </mc:Choice>
          <mc:Fallback xmlns="">
            <p:pic>
              <p:nvPicPr>
                <p:cNvPr id="55" name="Ink 54">
                  <a:extLst>
                    <a:ext uri="{FF2B5EF4-FFF2-40B4-BE49-F238E27FC236}">
                      <a16:creationId xmlns:a16="http://schemas.microsoft.com/office/drawing/2014/main" id="{951F742D-DD78-46CD-BBFD-DFA6A01E26E3}"/>
                    </a:ext>
                  </a:extLst>
                </p:cNvPr>
                <p:cNvPicPr/>
                <p:nvPr/>
              </p:nvPicPr>
              <p:blipFill>
                <a:blip r:embed="rId64"/>
                <a:stretch>
                  <a:fillRect/>
                </a:stretch>
              </p:blipFill>
              <p:spPr>
                <a:xfrm>
                  <a:off x="6091505" y="619740"/>
                  <a:ext cx="122871" cy="174096"/>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56" name="Ink 55">
                  <a:extLst>
                    <a:ext uri="{FF2B5EF4-FFF2-40B4-BE49-F238E27FC236}">
                      <a16:creationId xmlns:a16="http://schemas.microsoft.com/office/drawing/2014/main" id="{58710096-BEDE-441F-8131-30B27B9AACCB}"/>
                    </a:ext>
                  </a:extLst>
                </p14:cNvPr>
                <p14:cNvContentPartPr/>
                <p14:nvPr/>
              </p14:nvContentPartPr>
              <p14:xfrm>
                <a:off x="6249240" y="731088"/>
                <a:ext cx="40680" cy="96120"/>
              </p14:xfrm>
            </p:contentPart>
          </mc:Choice>
          <mc:Fallback xmlns="">
            <p:pic>
              <p:nvPicPr>
                <p:cNvPr id="56" name="Ink 55">
                  <a:extLst>
                    <a:ext uri="{FF2B5EF4-FFF2-40B4-BE49-F238E27FC236}">
                      <a16:creationId xmlns:a16="http://schemas.microsoft.com/office/drawing/2014/main" id="{58710096-BEDE-441F-8131-30B27B9AACCB}"/>
                    </a:ext>
                  </a:extLst>
                </p:cNvPr>
                <p:cNvPicPr/>
                <p:nvPr/>
              </p:nvPicPr>
              <p:blipFill>
                <a:blip r:embed="rId66"/>
                <a:stretch>
                  <a:fillRect/>
                </a:stretch>
              </p:blipFill>
              <p:spPr>
                <a:xfrm>
                  <a:off x="6234947" y="716558"/>
                  <a:ext cx="69266" cy="12518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57" name="Ink 56">
                  <a:extLst>
                    <a:ext uri="{FF2B5EF4-FFF2-40B4-BE49-F238E27FC236}">
                      <a16:creationId xmlns:a16="http://schemas.microsoft.com/office/drawing/2014/main" id="{DAD6157B-B625-4E0C-B09F-7DEFC1AA5783}"/>
                    </a:ext>
                  </a:extLst>
                </p14:cNvPr>
                <p14:cNvContentPartPr/>
                <p14:nvPr/>
              </p14:nvContentPartPr>
              <p14:xfrm>
                <a:off x="6301080" y="596808"/>
                <a:ext cx="360" cy="360"/>
              </p14:xfrm>
            </p:contentPart>
          </mc:Choice>
          <mc:Fallback xmlns="">
            <p:pic>
              <p:nvPicPr>
                <p:cNvPr id="57" name="Ink 56">
                  <a:extLst>
                    <a:ext uri="{FF2B5EF4-FFF2-40B4-BE49-F238E27FC236}">
                      <a16:creationId xmlns:a16="http://schemas.microsoft.com/office/drawing/2014/main" id="{DAD6157B-B625-4E0C-B09F-7DEFC1AA5783}"/>
                    </a:ext>
                  </a:extLst>
                </p:cNvPr>
                <p:cNvPicPr/>
                <p:nvPr/>
              </p:nvPicPr>
              <p:blipFill>
                <a:blip r:embed="rId68"/>
                <a:stretch>
                  <a:fillRect/>
                </a:stretch>
              </p:blipFill>
              <p:spPr>
                <a:xfrm>
                  <a:off x="6291720" y="58744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9">
              <p14:nvContentPartPr>
                <p14:cNvPr id="58" name="Ink 57">
                  <a:extLst>
                    <a:ext uri="{FF2B5EF4-FFF2-40B4-BE49-F238E27FC236}">
                      <a16:creationId xmlns:a16="http://schemas.microsoft.com/office/drawing/2014/main" id="{2992D015-EBB7-4492-B3F0-16FAABD7C449}"/>
                    </a:ext>
                  </a:extLst>
                </p14:cNvPr>
                <p14:cNvContentPartPr/>
                <p14:nvPr/>
              </p14:nvContentPartPr>
              <p14:xfrm>
                <a:off x="6301080" y="596808"/>
                <a:ext cx="167760" cy="212040"/>
              </p14:xfrm>
            </p:contentPart>
          </mc:Choice>
          <mc:Fallback xmlns="">
            <p:pic>
              <p:nvPicPr>
                <p:cNvPr id="58" name="Ink 57">
                  <a:extLst>
                    <a:ext uri="{FF2B5EF4-FFF2-40B4-BE49-F238E27FC236}">
                      <a16:creationId xmlns:a16="http://schemas.microsoft.com/office/drawing/2014/main" id="{2992D015-EBB7-4492-B3F0-16FAABD7C449}"/>
                    </a:ext>
                  </a:extLst>
                </p:cNvPr>
                <p:cNvPicPr/>
                <p:nvPr/>
              </p:nvPicPr>
              <p:blipFill>
                <a:blip r:embed="rId70"/>
                <a:stretch>
                  <a:fillRect/>
                </a:stretch>
              </p:blipFill>
              <p:spPr>
                <a:xfrm>
                  <a:off x="6286589" y="582300"/>
                  <a:ext cx="196742" cy="241056"/>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59" name="Ink 58">
                  <a:extLst>
                    <a:ext uri="{FF2B5EF4-FFF2-40B4-BE49-F238E27FC236}">
                      <a16:creationId xmlns:a16="http://schemas.microsoft.com/office/drawing/2014/main" id="{3622E75F-AF9C-479A-91DF-C7A4497D5A7A}"/>
                    </a:ext>
                  </a:extLst>
                </p14:cNvPr>
                <p14:cNvContentPartPr/>
                <p14:nvPr/>
              </p14:nvContentPartPr>
              <p14:xfrm>
                <a:off x="6539040" y="474048"/>
                <a:ext cx="77760" cy="307080"/>
              </p14:xfrm>
            </p:contentPart>
          </mc:Choice>
          <mc:Fallback xmlns="">
            <p:pic>
              <p:nvPicPr>
                <p:cNvPr id="59" name="Ink 58">
                  <a:extLst>
                    <a:ext uri="{FF2B5EF4-FFF2-40B4-BE49-F238E27FC236}">
                      <a16:creationId xmlns:a16="http://schemas.microsoft.com/office/drawing/2014/main" id="{3622E75F-AF9C-479A-91DF-C7A4497D5A7A}"/>
                    </a:ext>
                  </a:extLst>
                </p:cNvPr>
                <p:cNvPicPr/>
                <p:nvPr/>
              </p:nvPicPr>
              <p:blipFill>
                <a:blip r:embed="rId72"/>
                <a:stretch>
                  <a:fillRect/>
                </a:stretch>
              </p:blipFill>
              <p:spPr>
                <a:xfrm>
                  <a:off x="6524599" y="459505"/>
                  <a:ext cx="106642" cy="336166"/>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60" name="Ink 59">
                  <a:extLst>
                    <a:ext uri="{FF2B5EF4-FFF2-40B4-BE49-F238E27FC236}">
                      <a16:creationId xmlns:a16="http://schemas.microsoft.com/office/drawing/2014/main" id="{718E0B36-1824-49A7-BBD3-5507A950F96A}"/>
                    </a:ext>
                  </a:extLst>
                </p14:cNvPr>
                <p14:cNvContentPartPr/>
                <p14:nvPr/>
              </p14:nvContentPartPr>
              <p14:xfrm>
                <a:off x="6608520" y="574128"/>
                <a:ext cx="16560" cy="14760"/>
              </p14:xfrm>
            </p:contentPart>
          </mc:Choice>
          <mc:Fallback xmlns="">
            <p:pic>
              <p:nvPicPr>
                <p:cNvPr id="60" name="Ink 59">
                  <a:extLst>
                    <a:ext uri="{FF2B5EF4-FFF2-40B4-BE49-F238E27FC236}">
                      <a16:creationId xmlns:a16="http://schemas.microsoft.com/office/drawing/2014/main" id="{718E0B36-1824-49A7-BBD3-5507A950F96A}"/>
                    </a:ext>
                  </a:extLst>
                </p:cNvPr>
                <p:cNvPicPr/>
                <p:nvPr/>
              </p:nvPicPr>
              <p:blipFill>
                <a:blip r:embed="rId74"/>
                <a:stretch>
                  <a:fillRect/>
                </a:stretch>
              </p:blipFill>
              <p:spPr>
                <a:xfrm>
                  <a:off x="6594168" y="559915"/>
                  <a:ext cx="45264" cy="43187"/>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61" name="Ink 60">
                  <a:extLst>
                    <a:ext uri="{FF2B5EF4-FFF2-40B4-BE49-F238E27FC236}">
                      <a16:creationId xmlns:a16="http://schemas.microsoft.com/office/drawing/2014/main" id="{1FDECE7E-332B-4C43-B14D-1717BBD6A6E3}"/>
                    </a:ext>
                  </a:extLst>
                </p14:cNvPr>
                <p14:cNvContentPartPr/>
                <p14:nvPr/>
              </p14:nvContentPartPr>
              <p14:xfrm>
                <a:off x="6707520" y="623808"/>
                <a:ext cx="99720" cy="198720"/>
              </p14:xfrm>
            </p:contentPart>
          </mc:Choice>
          <mc:Fallback xmlns="">
            <p:pic>
              <p:nvPicPr>
                <p:cNvPr id="61" name="Ink 60">
                  <a:extLst>
                    <a:ext uri="{FF2B5EF4-FFF2-40B4-BE49-F238E27FC236}">
                      <a16:creationId xmlns:a16="http://schemas.microsoft.com/office/drawing/2014/main" id="{1FDECE7E-332B-4C43-B14D-1717BBD6A6E3}"/>
                    </a:ext>
                  </a:extLst>
                </p:cNvPr>
                <p:cNvPicPr/>
                <p:nvPr/>
              </p:nvPicPr>
              <p:blipFill>
                <a:blip r:embed="rId76"/>
                <a:stretch>
                  <a:fillRect/>
                </a:stretch>
              </p:blipFill>
              <p:spPr>
                <a:xfrm>
                  <a:off x="6692954" y="609335"/>
                  <a:ext cx="128852" cy="227665"/>
                </a:xfrm>
                <a:prstGeom prst="rect">
                  <a:avLst/>
                </a:prstGeom>
              </p:spPr>
            </p:pic>
          </mc:Fallback>
        </mc:AlternateContent>
        <mc:AlternateContent xmlns:mc="http://schemas.openxmlformats.org/markup-compatibility/2006" xmlns:p14="http://schemas.microsoft.com/office/powerpoint/2010/main">
          <mc:Choice Requires="p14">
            <p:contentPart p14:bwMode="auto" r:id="rId77">
              <p14:nvContentPartPr>
                <p14:cNvPr id="62" name="Ink 61">
                  <a:extLst>
                    <a:ext uri="{FF2B5EF4-FFF2-40B4-BE49-F238E27FC236}">
                      <a16:creationId xmlns:a16="http://schemas.microsoft.com/office/drawing/2014/main" id="{214CD997-D622-4D86-8742-4E49C236B1FD}"/>
                    </a:ext>
                  </a:extLst>
                </p14:cNvPr>
                <p14:cNvContentPartPr/>
                <p14:nvPr/>
              </p14:nvContentPartPr>
              <p14:xfrm>
                <a:off x="6681240" y="703008"/>
                <a:ext cx="98640" cy="360"/>
              </p14:xfrm>
            </p:contentPart>
          </mc:Choice>
          <mc:Fallback xmlns="">
            <p:pic>
              <p:nvPicPr>
                <p:cNvPr id="62" name="Ink 61">
                  <a:extLst>
                    <a:ext uri="{FF2B5EF4-FFF2-40B4-BE49-F238E27FC236}">
                      <a16:creationId xmlns:a16="http://schemas.microsoft.com/office/drawing/2014/main" id="{214CD997-D622-4D86-8742-4E49C236B1FD}"/>
                    </a:ext>
                  </a:extLst>
                </p:cNvPr>
                <p:cNvPicPr/>
                <p:nvPr/>
              </p:nvPicPr>
              <p:blipFill>
                <a:blip r:embed="rId78"/>
                <a:stretch>
                  <a:fillRect/>
                </a:stretch>
              </p:blipFill>
              <p:spPr>
                <a:xfrm>
                  <a:off x="6666751" y="693648"/>
                  <a:ext cx="127619"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63" name="Ink 62">
                  <a:extLst>
                    <a:ext uri="{FF2B5EF4-FFF2-40B4-BE49-F238E27FC236}">
                      <a16:creationId xmlns:a16="http://schemas.microsoft.com/office/drawing/2014/main" id="{D15503A9-CD06-49D4-B2CD-9D4BC28039DD}"/>
                    </a:ext>
                  </a:extLst>
                </p14:cNvPr>
                <p14:cNvContentPartPr/>
                <p14:nvPr/>
              </p14:nvContentPartPr>
              <p14:xfrm>
                <a:off x="6867720" y="526248"/>
                <a:ext cx="270000" cy="303840"/>
              </p14:xfrm>
            </p:contentPart>
          </mc:Choice>
          <mc:Fallback xmlns="">
            <p:pic>
              <p:nvPicPr>
                <p:cNvPr id="63" name="Ink 62">
                  <a:extLst>
                    <a:ext uri="{FF2B5EF4-FFF2-40B4-BE49-F238E27FC236}">
                      <a16:creationId xmlns:a16="http://schemas.microsoft.com/office/drawing/2014/main" id="{D15503A9-CD06-49D4-B2CD-9D4BC28039DD}"/>
                    </a:ext>
                  </a:extLst>
                </p:cNvPr>
                <p:cNvPicPr/>
                <p:nvPr/>
              </p:nvPicPr>
              <p:blipFill>
                <a:blip r:embed="rId80"/>
                <a:stretch>
                  <a:fillRect/>
                </a:stretch>
              </p:blipFill>
              <p:spPr>
                <a:xfrm>
                  <a:off x="6853216" y="511726"/>
                  <a:ext cx="299008" cy="332884"/>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64" name="Ink 63">
                  <a:extLst>
                    <a:ext uri="{FF2B5EF4-FFF2-40B4-BE49-F238E27FC236}">
                      <a16:creationId xmlns:a16="http://schemas.microsoft.com/office/drawing/2014/main" id="{47FF1AEA-51EF-4B20-849A-1F45BCF8B0A4}"/>
                    </a:ext>
                  </a:extLst>
                </p14:cNvPr>
                <p14:cNvContentPartPr/>
                <p14:nvPr/>
              </p14:nvContentPartPr>
              <p14:xfrm>
                <a:off x="6118560" y="900288"/>
                <a:ext cx="24480" cy="199800"/>
              </p14:xfrm>
            </p:contentPart>
          </mc:Choice>
          <mc:Fallback xmlns="">
            <p:pic>
              <p:nvPicPr>
                <p:cNvPr id="64" name="Ink 63">
                  <a:extLst>
                    <a:ext uri="{FF2B5EF4-FFF2-40B4-BE49-F238E27FC236}">
                      <a16:creationId xmlns:a16="http://schemas.microsoft.com/office/drawing/2014/main" id="{47FF1AEA-51EF-4B20-849A-1F45BCF8B0A4}"/>
                    </a:ext>
                  </a:extLst>
                </p:cNvPr>
                <p:cNvPicPr/>
                <p:nvPr/>
              </p:nvPicPr>
              <p:blipFill>
                <a:blip r:embed="rId82"/>
                <a:stretch>
                  <a:fillRect/>
                </a:stretch>
              </p:blipFill>
              <p:spPr>
                <a:xfrm>
                  <a:off x="6104095" y="885777"/>
                  <a:ext cx="53411" cy="228821"/>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65" name="Ink 64">
                  <a:extLst>
                    <a:ext uri="{FF2B5EF4-FFF2-40B4-BE49-F238E27FC236}">
                      <a16:creationId xmlns:a16="http://schemas.microsoft.com/office/drawing/2014/main" id="{9E60673F-8098-49E9-B44C-BA3734763093}"/>
                    </a:ext>
                  </a:extLst>
                </p14:cNvPr>
                <p14:cNvContentPartPr/>
                <p14:nvPr/>
              </p14:nvContentPartPr>
              <p14:xfrm>
                <a:off x="6009120" y="928368"/>
                <a:ext cx="218520" cy="39960"/>
              </p14:xfrm>
            </p:contentPart>
          </mc:Choice>
          <mc:Fallback xmlns="">
            <p:pic>
              <p:nvPicPr>
                <p:cNvPr id="65" name="Ink 64">
                  <a:extLst>
                    <a:ext uri="{FF2B5EF4-FFF2-40B4-BE49-F238E27FC236}">
                      <a16:creationId xmlns:a16="http://schemas.microsoft.com/office/drawing/2014/main" id="{9E60673F-8098-49E9-B44C-BA3734763093}"/>
                    </a:ext>
                  </a:extLst>
                </p:cNvPr>
                <p:cNvPicPr/>
                <p:nvPr/>
              </p:nvPicPr>
              <p:blipFill>
                <a:blip r:embed="rId84"/>
                <a:stretch>
                  <a:fillRect/>
                </a:stretch>
              </p:blipFill>
              <p:spPr>
                <a:xfrm>
                  <a:off x="5994589" y="913938"/>
                  <a:ext cx="247581" cy="68820"/>
                </a:xfrm>
                <a:prstGeom prst="rect">
                  <a:avLst/>
                </a:prstGeom>
              </p:spPr>
            </p:pic>
          </mc:Fallback>
        </mc:AlternateContent>
        <mc:AlternateContent xmlns:mc="http://schemas.openxmlformats.org/markup-compatibility/2006" xmlns:p14="http://schemas.microsoft.com/office/powerpoint/2010/main">
          <mc:Choice Requires="p14">
            <p:contentPart p14:bwMode="auto" r:id="rId85">
              <p14:nvContentPartPr>
                <p14:cNvPr id="66" name="Ink 65">
                  <a:extLst>
                    <a:ext uri="{FF2B5EF4-FFF2-40B4-BE49-F238E27FC236}">
                      <a16:creationId xmlns:a16="http://schemas.microsoft.com/office/drawing/2014/main" id="{BC27FFF0-D0D5-4A82-800A-857B55EFD359}"/>
                    </a:ext>
                  </a:extLst>
                </p14:cNvPr>
                <p14:cNvContentPartPr/>
                <p14:nvPr/>
              </p14:nvContentPartPr>
              <p14:xfrm>
                <a:off x="6221520" y="985248"/>
                <a:ext cx="110520" cy="117360"/>
              </p14:xfrm>
            </p:contentPart>
          </mc:Choice>
          <mc:Fallback xmlns="">
            <p:pic>
              <p:nvPicPr>
                <p:cNvPr id="66" name="Ink 65">
                  <a:extLst>
                    <a:ext uri="{FF2B5EF4-FFF2-40B4-BE49-F238E27FC236}">
                      <a16:creationId xmlns:a16="http://schemas.microsoft.com/office/drawing/2014/main" id="{BC27FFF0-D0D5-4A82-800A-857B55EFD359}"/>
                    </a:ext>
                  </a:extLst>
                </p:cNvPr>
                <p:cNvPicPr/>
                <p:nvPr/>
              </p:nvPicPr>
              <p:blipFill>
                <a:blip r:embed="rId86"/>
                <a:stretch>
                  <a:fillRect/>
                </a:stretch>
              </p:blipFill>
              <p:spPr>
                <a:xfrm>
                  <a:off x="6207007" y="970718"/>
                  <a:ext cx="139545" cy="146421"/>
                </a:xfrm>
                <a:prstGeom prst="rect">
                  <a:avLst/>
                </a:prstGeom>
              </p:spPr>
            </p:pic>
          </mc:Fallback>
        </mc:AlternateContent>
        <mc:AlternateContent xmlns:mc="http://schemas.openxmlformats.org/markup-compatibility/2006" xmlns:p14="http://schemas.microsoft.com/office/powerpoint/2010/main">
          <mc:Choice Requires="p14">
            <p:contentPart p14:bwMode="auto" r:id="rId87">
              <p14:nvContentPartPr>
                <p14:cNvPr id="67" name="Ink 66">
                  <a:extLst>
                    <a:ext uri="{FF2B5EF4-FFF2-40B4-BE49-F238E27FC236}">
                      <a16:creationId xmlns:a16="http://schemas.microsoft.com/office/drawing/2014/main" id="{3969A62E-074D-444D-A052-02525FA52295}"/>
                    </a:ext>
                  </a:extLst>
                </p14:cNvPr>
                <p14:cNvContentPartPr/>
                <p14:nvPr/>
              </p14:nvContentPartPr>
              <p14:xfrm>
                <a:off x="6415560" y="994968"/>
                <a:ext cx="77760" cy="96840"/>
              </p14:xfrm>
            </p:contentPart>
          </mc:Choice>
          <mc:Fallback xmlns="">
            <p:pic>
              <p:nvPicPr>
                <p:cNvPr id="67" name="Ink 66">
                  <a:extLst>
                    <a:ext uri="{FF2B5EF4-FFF2-40B4-BE49-F238E27FC236}">
                      <a16:creationId xmlns:a16="http://schemas.microsoft.com/office/drawing/2014/main" id="{3969A62E-074D-444D-A052-02525FA52295}"/>
                    </a:ext>
                  </a:extLst>
                </p:cNvPr>
                <p:cNvPicPr/>
                <p:nvPr/>
              </p:nvPicPr>
              <p:blipFill>
                <a:blip r:embed="rId88"/>
                <a:stretch>
                  <a:fillRect/>
                </a:stretch>
              </p:blipFill>
              <p:spPr>
                <a:xfrm>
                  <a:off x="6401119" y="980498"/>
                  <a:ext cx="106642" cy="125781"/>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68" name="Ink 67">
                  <a:extLst>
                    <a:ext uri="{FF2B5EF4-FFF2-40B4-BE49-F238E27FC236}">
                      <a16:creationId xmlns:a16="http://schemas.microsoft.com/office/drawing/2014/main" id="{6EAFCD13-23BA-4F56-81C9-5D3946721616}"/>
                    </a:ext>
                  </a:extLst>
                </p14:cNvPr>
                <p14:cNvContentPartPr/>
                <p14:nvPr/>
              </p14:nvContentPartPr>
              <p14:xfrm>
                <a:off x="6559920" y="1015488"/>
                <a:ext cx="165240" cy="108720"/>
              </p14:xfrm>
            </p:contentPart>
          </mc:Choice>
          <mc:Fallback xmlns="">
            <p:pic>
              <p:nvPicPr>
                <p:cNvPr id="68" name="Ink 67">
                  <a:extLst>
                    <a:ext uri="{FF2B5EF4-FFF2-40B4-BE49-F238E27FC236}">
                      <a16:creationId xmlns:a16="http://schemas.microsoft.com/office/drawing/2014/main" id="{6EAFCD13-23BA-4F56-81C9-5D3946721616}"/>
                    </a:ext>
                  </a:extLst>
                </p:cNvPr>
                <p:cNvPicPr/>
                <p:nvPr/>
              </p:nvPicPr>
              <p:blipFill>
                <a:blip r:embed="rId90"/>
                <a:stretch>
                  <a:fillRect/>
                </a:stretch>
              </p:blipFill>
              <p:spPr>
                <a:xfrm>
                  <a:off x="6545406" y="1000917"/>
                  <a:ext cx="194269" cy="137861"/>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69" name="Ink 68">
                  <a:extLst>
                    <a:ext uri="{FF2B5EF4-FFF2-40B4-BE49-F238E27FC236}">
                      <a16:creationId xmlns:a16="http://schemas.microsoft.com/office/drawing/2014/main" id="{DB6E38DB-BC4C-488F-9532-04CD1B8C8548}"/>
                    </a:ext>
                  </a:extLst>
                </p14:cNvPr>
                <p14:cNvContentPartPr/>
                <p14:nvPr/>
              </p14:nvContentPartPr>
              <p14:xfrm>
                <a:off x="6834600" y="961488"/>
                <a:ext cx="76680" cy="151200"/>
              </p14:xfrm>
            </p:contentPart>
          </mc:Choice>
          <mc:Fallback xmlns="">
            <p:pic>
              <p:nvPicPr>
                <p:cNvPr id="69" name="Ink 68">
                  <a:extLst>
                    <a:ext uri="{FF2B5EF4-FFF2-40B4-BE49-F238E27FC236}">
                      <a16:creationId xmlns:a16="http://schemas.microsoft.com/office/drawing/2014/main" id="{DB6E38DB-BC4C-488F-9532-04CD1B8C8548}"/>
                    </a:ext>
                  </a:extLst>
                </p:cNvPr>
                <p:cNvPicPr/>
                <p:nvPr/>
              </p:nvPicPr>
              <p:blipFill>
                <a:blip r:embed="rId92"/>
                <a:stretch>
                  <a:fillRect/>
                </a:stretch>
              </p:blipFill>
              <p:spPr>
                <a:xfrm>
                  <a:off x="6820048" y="946928"/>
                  <a:ext cx="105785" cy="1803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93">
            <p14:nvContentPartPr>
              <p14:cNvPr id="70" name="Ink 69">
                <a:extLst>
                  <a:ext uri="{FF2B5EF4-FFF2-40B4-BE49-F238E27FC236}">
                    <a16:creationId xmlns:a16="http://schemas.microsoft.com/office/drawing/2014/main" id="{B8D98CC1-5766-436A-8BCA-CFBBF32E2D66}"/>
                  </a:ext>
                </a:extLst>
              </p14:cNvPr>
              <p14:cNvContentPartPr/>
              <p14:nvPr/>
            </p14:nvContentPartPr>
            <p14:xfrm>
              <a:off x="4682538" y="4787971"/>
              <a:ext cx="282960" cy="360"/>
            </p14:xfrm>
          </p:contentPart>
        </mc:Choice>
        <mc:Fallback xmlns="">
          <p:pic>
            <p:nvPicPr>
              <p:cNvPr id="70" name="Ink 69">
                <a:extLst>
                  <a:ext uri="{FF2B5EF4-FFF2-40B4-BE49-F238E27FC236}">
                    <a16:creationId xmlns:a16="http://schemas.microsoft.com/office/drawing/2014/main" id="{B8D98CC1-5766-436A-8BCA-CFBBF32E2D66}"/>
                  </a:ext>
                </a:extLst>
              </p:cNvPr>
              <p:cNvPicPr/>
              <p:nvPr/>
            </p:nvPicPr>
            <p:blipFill>
              <a:blip r:embed="rId6"/>
              <a:stretch>
                <a:fillRect/>
              </a:stretch>
            </p:blipFill>
            <p:spPr>
              <a:xfrm>
                <a:off x="4664538" y="4769971"/>
                <a:ext cx="318600" cy="36000"/>
              </a:xfrm>
              <a:prstGeom prst="rect">
                <a:avLst/>
              </a:prstGeom>
            </p:spPr>
          </p:pic>
        </mc:Fallback>
      </mc:AlternateContent>
      <p:grpSp>
        <p:nvGrpSpPr>
          <p:cNvPr id="71" name="Group 70">
            <a:extLst>
              <a:ext uri="{FF2B5EF4-FFF2-40B4-BE49-F238E27FC236}">
                <a16:creationId xmlns:a16="http://schemas.microsoft.com/office/drawing/2014/main" id="{C0F7CBF6-FF67-49BF-88B6-80BC9DC54593}"/>
              </a:ext>
            </a:extLst>
          </p:cNvPr>
          <p:cNvGrpSpPr/>
          <p:nvPr/>
        </p:nvGrpSpPr>
        <p:grpSpPr>
          <a:xfrm>
            <a:off x="1351734" y="3226951"/>
            <a:ext cx="881335" cy="500119"/>
            <a:chOff x="6368180" y="122786"/>
            <a:chExt cx="1307520" cy="741960"/>
          </a:xfrm>
        </p:grpSpPr>
        <mc:AlternateContent xmlns:mc="http://schemas.openxmlformats.org/markup-compatibility/2006" xmlns:p14="http://schemas.microsoft.com/office/powerpoint/2010/main">
          <mc:Choice Requires="p14">
            <p:contentPart p14:bwMode="auto" r:id="rId94">
              <p14:nvContentPartPr>
                <p14:cNvPr id="72" name="Ink 71">
                  <a:extLst>
                    <a:ext uri="{FF2B5EF4-FFF2-40B4-BE49-F238E27FC236}">
                      <a16:creationId xmlns:a16="http://schemas.microsoft.com/office/drawing/2014/main" id="{188606E9-69E9-4EF8-ACB3-A11150945B05}"/>
                    </a:ext>
                  </a:extLst>
                </p14:cNvPr>
                <p14:cNvContentPartPr/>
                <p14:nvPr/>
              </p14:nvContentPartPr>
              <p14:xfrm>
                <a:off x="6368180" y="193706"/>
                <a:ext cx="171000" cy="310680"/>
              </p14:xfrm>
            </p:contentPart>
          </mc:Choice>
          <mc:Fallback xmlns="">
            <p:pic>
              <p:nvPicPr>
                <p:cNvPr id="72" name="Ink 71">
                  <a:extLst>
                    <a:ext uri="{FF2B5EF4-FFF2-40B4-BE49-F238E27FC236}">
                      <a16:creationId xmlns:a16="http://schemas.microsoft.com/office/drawing/2014/main" id="{188606E9-69E9-4EF8-ACB3-A11150945B05}"/>
                    </a:ext>
                  </a:extLst>
                </p:cNvPr>
                <p:cNvPicPr/>
                <p:nvPr/>
              </p:nvPicPr>
              <p:blipFill>
                <a:blip r:embed="rId95"/>
                <a:stretch>
                  <a:fillRect/>
                </a:stretch>
              </p:blipFill>
              <p:spPr>
                <a:xfrm>
                  <a:off x="6354286" y="179827"/>
                  <a:ext cx="198788" cy="338438"/>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73" name="Ink 72">
                  <a:extLst>
                    <a:ext uri="{FF2B5EF4-FFF2-40B4-BE49-F238E27FC236}">
                      <a16:creationId xmlns:a16="http://schemas.microsoft.com/office/drawing/2014/main" id="{0BA9C6E5-D2D7-4339-BCE2-55CF4F4921B5}"/>
                    </a:ext>
                  </a:extLst>
                </p14:cNvPr>
                <p14:cNvContentPartPr/>
                <p14:nvPr/>
              </p14:nvContentPartPr>
              <p14:xfrm>
                <a:off x="6614780" y="321866"/>
                <a:ext cx="90360" cy="138960"/>
              </p14:xfrm>
            </p:contentPart>
          </mc:Choice>
          <mc:Fallback xmlns="">
            <p:pic>
              <p:nvPicPr>
                <p:cNvPr id="73" name="Ink 72">
                  <a:extLst>
                    <a:ext uri="{FF2B5EF4-FFF2-40B4-BE49-F238E27FC236}">
                      <a16:creationId xmlns:a16="http://schemas.microsoft.com/office/drawing/2014/main" id="{0BA9C6E5-D2D7-4339-BCE2-55CF4F4921B5}"/>
                    </a:ext>
                  </a:extLst>
                </p:cNvPr>
                <p:cNvPicPr/>
                <p:nvPr/>
              </p:nvPicPr>
              <p:blipFill>
                <a:blip r:embed="rId97"/>
                <a:stretch>
                  <a:fillRect/>
                </a:stretch>
              </p:blipFill>
              <p:spPr>
                <a:xfrm>
                  <a:off x="6600960" y="307970"/>
                  <a:ext cx="118000" cy="166752"/>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74" name="Ink 73">
                  <a:extLst>
                    <a:ext uri="{FF2B5EF4-FFF2-40B4-BE49-F238E27FC236}">
                      <a16:creationId xmlns:a16="http://schemas.microsoft.com/office/drawing/2014/main" id="{3B002BBE-0C94-493B-A257-CE5CB0C9225B}"/>
                    </a:ext>
                  </a:extLst>
                </p14:cNvPr>
                <p14:cNvContentPartPr/>
                <p14:nvPr/>
              </p14:nvContentPartPr>
              <p14:xfrm>
                <a:off x="6801620" y="150506"/>
                <a:ext cx="19080" cy="329400"/>
              </p14:xfrm>
            </p:contentPart>
          </mc:Choice>
          <mc:Fallback xmlns="">
            <p:pic>
              <p:nvPicPr>
                <p:cNvPr id="74" name="Ink 73">
                  <a:extLst>
                    <a:ext uri="{FF2B5EF4-FFF2-40B4-BE49-F238E27FC236}">
                      <a16:creationId xmlns:a16="http://schemas.microsoft.com/office/drawing/2014/main" id="{3B002BBE-0C94-493B-A257-CE5CB0C9225B}"/>
                    </a:ext>
                  </a:extLst>
                </p:cNvPr>
                <p:cNvPicPr/>
                <p:nvPr/>
              </p:nvPicPr>
              <p:blipFill>
                <a:blip r:embed="rId99"/>
                <a:stretch>
                  <a:fillRect/>
                </a:stretch>
              </p:blipFill>
              <p:spPr>
                <a:xfrm>
                  <a:off x="6787840" y="136603"/>
                  <a:ext cx="46640" cy="357206"/>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75" name="Ink 74">
                  <a:extLst>
                    <a:ext uri="{FF2B5EF4-FFF2-40B4-BE49-F238E27FC236}">
                      <a16:creationId xmlns:a16="http://schemas.microsoft.com/office/drawing/2014/main" id="{067AD66F-68C4-473C-8C29-7C3C1B19B5BC}"/>
                    </a:ext>
                  </a:extLst>
                </p14:cNvPr>
                <p14:cNvContentPartPr/>
                <p14:nvPr/>
              </p14:nvContentPartPr>
              <p14:xfrm>
                <a:off x="6666980" y="200186"/>
                <a:ext cx="253800" cy="20520"/>
              </p14:xfrm>
            </p:contentPart>
          </mc:Choice>
          <mc:Fallback xmlns="">
            <p:pic>
              <p:nvPicPr>
                <p:cNvPr id="75" name="Ink 74">
                  <a:extLst>
                    <a:ext uri="{FF2B5EF4-FFF2-40B4-BE49-F238E27FC236}">
                      <a16:creationId xmlns:a16="http://schemas.microsoft.com/office/drawing/2014/main" id="{067AD66F-68C4-473C-8C29-7C3C1B19B5BC}"/>
                    </a:ext>
                  </a:extLst>
                </p:cNvPr>
                <p:cNvPicPr/>
                <p:nvPr/>
              </p:nvPicPr>
              <p:blipFill>
                <a:blip r:embed="rId101"/>
                <a:stretch>
                  <a:fillRect/>
                </a:stretch>
              </p:blipFill>
              <p:spPr>
                <a:xfrm>
                  <a:off x="6653117" y="186506"/>
                  <a:ext cx="281526" cy="4788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76" name="Ink 75">
                  <a:extLst>
                    <a:ext uri="{FF2B5EF4-FFF2-40B4-BE49-F238E27FC236}">
                      <a16:creationId xmlns:a16="http://schemas.microsoft.com/office/drawing/2014/main" id="{FF971A02-4A91-4086-9D4C-D30A8ADBAB5D}"/>
                    </a:ext>
                  </a:extLst>
                </p14:cNvPr>
                <p14:cNvContentPartPr/>
                <p14:nvPr/>
              </p14:nvContentPartPr>
              <p14:xfrm>
                <a:off x="6929060" y="320426"/>
                <a:ext cx="82440" cy="128520"/>
              </p14:xfrm>
            </p:contentPart>
          </mc:Choice>
          <mc:Fallback xmlns="">
            <p:pic>
              <p:nvPicPr>
                <p:cNvPr id="76" name="Ink 75">
                  <a:extLst>
                    <a:ext uri="{FF2B5EF4-FFF2-40B4-BE49-F238E27FC236}">
                      <a16:creationId xmlns:a16="http://schemas.microsoft.com/office/drawing/2014/main" id="{FF971A02-4A91-4086-9D4C-D30A8ADBAB5D}"/>
                    </a:ext>
                  </a:extLst>
                </p:cNvPr>
                <p:cNvPicPr/>
                <p:nvPr/>
              </p:nvPicPr>
              <p:blipFill>
                <a:blip r:embed="rId103"/>
                <a:stretch>
                  <a:fillRect/>
                </a:stretch>
              </p:blipFill>
              <p:spPr>
                <a:xfrm>
                  <a:off x="6915231" y="306561"/>
                  <a:ext cx="110097" cy="15625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77" name="Ink 76">
                  <a:extLst>
                    <a:ext uri="{FF2B5EF4-FFF2-40B4-BE49-F238E27FC236}">
                      <a16:creationId xmlns:a16="http://schemas.microsoft.com/office/drawing/2014/main" id="{401A84F7-7AC2-462E-BCC4-21E6EE99CCBB}"/>
                    </a:ext>
                  </a:extLst>
                </p14:cNvPr>
                <p14:cNvContentPartPr/>
                <p14:nvPr/>
              </p14:nvContentPartPr>
              <p14:xfrm>
                <a:off x="7109060" y="339506"/>
                <a:ext cx="10080" cy="128520"/>
              </p14:xfrm>
            </p:contentPart>
          </mc:Choice>
          <mc:Fallback xmlns="">
            <p:pic>
              <p:nvPicPr>
                <p:cNvPr id="77" name="Ink 76">
                  <a:extLst>
                    <a:ext uri="{FF2B5EF4-FFF2-40B4-BE49-F238E27FC236}">
                      <a16:creationId xmlns:a16="http://schemas.microsoft.com/office/drawing/2014/main" id="{401A84F7-7AC2-462E-BCC4-21E6EE99CCBB}"/>
                    </a:ext>
                  </a:extLst>
                </p:cNvPr>
                <p:cNvPicPr/>
                <p:nvPr/>
              </p:nvPicPr>
              <p:blipFill>
                <a:blip r:embed="rId105"/>
                <a:stretch>
                  <a:fillRect/>
                </a:stretch>
              </p:blipFill>
              <p:spPr>
                <a:xfrm>
                  <a:off x="7095266" y="325641"/>
                  <a:ext cx="37667" cy="15625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78" name="Ink 77">
                  <a:extLst>
                    <a:ext uri="{FF2B5EF4-FFF2-40B4-BE49-F238E27FC236}">
                      <a16:creationId xmlns:a16="http://schemas.microsoft.com/office/drawing/2014/main" id="{F9DCD953-56FB-4217-9572-A03D6A1DCFBA}"/>
                    </a:ext>
                  </a:extLst>
                </p14:cNvPr>
                <p14:cNvContentPartPr/>
                <p14:nvPr/>
              </p14:nvContentPartPr>
              <p14:xfrm>
                <a:off x="7125980" y="274706"/>
                <a:ext cx="360" cy="360"/>
              </p14:xfrm>
            </p:contentPart>
          </mc:Choice>
          <mc:Fallback xmlns="">
            <p:pic>
              <p:nvPicPr>
                <p:cNvPr id="78" name="Ink 77">
                  <a:extLst>
                    <a:ext uri="{FF2B5EF4-FFF2-40B4-BE49-F238E27FC236}">
                      <a16:creationId xmlns:a16="http://schemas.microsoft.com/office/drawing/2014/main" id="{F9DCD953-56FB-4217-9572-A03D6A1DCFBA}"/>
                    </a:ext>
                  </a:extLst>
                </p:cNvPr>
                <p:cNvPicPr/>
                <p:nvPr/>
              </p:nvPicPr>
              <p:blipFill>
                <a:blip r:embed="rId68"/>
                <a:stretch>
                  <a:fillRect/>
                </a:stretch>
              </p:blipFill>
              <p:spPr>
                <a:xfrm>
                  <a:off x="7116620" y="26534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7">
              <p14:nvContentPartPr>
                <p14:cNvPr id="79" name="Ink 78">
                  <a:extLst>
                    <a:ext uri="{FF2B5EF4-FFF2-40B4-BE49-F238E27FC236}">
                      <a16:creationId xmlns:a16="http://schemas.microsoft.com/office/drawing/2014/main" id="{ADF8213C-C1C0-493D-B55F-01B9F1057819}"/>
                    </a:ext>
                  </a:extLst>
                </p14:cNvPr>
                <p14:cNvContentPartPr/>
                <p14:nvPr/>
              </p14:nvContentPartPr>
              <p14:xfrm>
                <a:off x="7214900" y="122786"/>
                <a:ext cx="6120" cy="279360"/>
              </p14:xfrm>
            </p:contentPart>
          </mc:Choice>
          <mc:Fallback xmlns="">
            <p:pic>
              <p:nvPicPr>
                <p:cNvPr id="79" name="Ink 78">
                  <a:extLst>
                    <a:ext uri="{FF2B5EF4-FFF2-40B4-BE49-F238E27FC236}">
                      <a16:creationId xmlns:a16="http://schemas.microsoft.com/office/drawing/2014/main" id="{ADF8213C-C1C0-493D-B55F-01B9F1057819}"/>
                    </a:ext>
                  </a:extLst>
                </p:cNvPr>
                <p:cNvPicPr/>
                <p:nvPr/>
              </p:nvPicPr>
              <p:blipFill>
                <a:blip r:embed="rId108"/>
                <a:stretch>
                  <a:fillRect/>
                </a:stretch>
              </p:blipFill>
              <p:spPr>
                <a:xfrm>
                  <a:off x="7201640" y="108898"/>
                  <a:ext cx="32640" cy="307136"/>
                </a:xfrm>
                <a:prstGeom prst="rect">
                  <a:avLst/>
                </a:prstGeom>
              </p:spPr>
            </p:pic>
          </mc:Fallback>
        </mc:AlternateContent>
        <mc:AlternateContent xmlns:mc="http://schemas.openxmlformats.org/markup-compatibility/2006" xmlns:p14="http://schemas.microsoft.com/office/powerpoint/2010/main">
          <mc:Choice Requires="p14">
            <p:contentPart p14:bwMode="auto" r:id="rId109">
              <p14:nvContentPartPr>
                <p14:cNvPr id="80" name="Ink 79">
                  <a:extLst>
                    <a:ext uri="{FF2B5EF4-FFF2-40B4-BE49-F238E27FC236}">
                      <a16:creationId xmlns:a16="http://schemas.microsoft.com/office/drawing/2014/main" id="{C0EAE442-D2C7-4920-815D-BFFBBB678FEB}"/>
                    </a:ext>
                  </a:extLst>
                </p14:cNvPr>
                <p14:cNvContentPartPr/>
                <p14:nvPr/>
              </p14:nvContentPartPr>
              <p14:xfrm>
                <a:off x="7298060" y="248066"/>
                <a:ext cx="88920" cy="150120"/>
              </p14:xfrm>
            </p:contentPart>
          </mc:Choice>
          <mc:Fallback xmlns="">
            <p:pic>
              <p:nvPicPr>
                <p:cNvPr id="80" name="Ink 79">
                  <a:extLst>
                    <a:ext uri="{FF2B5EF4-FFF2-40B4-BE49-F238E27FC236}">
                      <a16:creationId xmlns:a16="http://schemas.microsoft.com/office/drawing/2014/main" id="{C0EAE442-D2C7-4920-815D-BFFBBB678FEB}"/>
                    </a:ext>
                  </a:extLst>
                </p:cNvPr>
                <p:cNvPicPr/>
                <p:nvPr/>
              </p:nvPicPr>
              <p:blipFill>
                <a:blip r:embed="rId110"/>
                <a:stretch>
                  <a:fillRect/>
                </a:stretch>
              </p:blipFill>
              <p:spPr>
                <a:xfrm>
                  <a:off x="7284216" y="234176"/>
                  <a:ext cx="116608" cy="1779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81" name="Ink 80">
                  <a:extLst>
                    <a:ext uri="{FF2B5EF4-FFF2-40B4-BE49-F238E27FC236}">
                      <a16:creationId xmlns:a16="http://schemas.microsoft.com/office/drawing/2014/main" id="{5FE3AC54-C575-4DD6-9EDD-127D36AA096A}"/>
                    </a:ext>
                  </a:extLst>
                </p14:cNvPr>
                <p14:cNvContentPartPr/>
                <p14:nvPr/>
              </p14:nvContentPartPr>
              <p14:xfrm>
                <a:off x="6458540" y="566306"/>
                <a:ext cx="121320" cy="152640"/>
              </p14:xfrm>
            </p:contentPart>
          </mc:Choice>
          <mc:Fallback xmlns="">
            <p:pic>
              <p:nvPicPr>
                <p:cNvPr id="81" name="Ink 80">
                  <a:extLst>
                    <a:ext uri="{FF2B5EF4-FFF2-40B4-BE49-F238E27FC236}">
                      <a16:creationId xmlns:a16="http://schemas.microsoft.com/office/drawing/2014/main" id="{5FE3AC54-C575-4DD6-9EDD-127D36AA096A}"/>
                    </a:ext>
                  </a:extLst>
                </p:cNvPr>
                <p:cNvPicPr/>
                <p:nvPr/>
              </p:nvPicPr>
              <p:blipFill>
                <a:blip r:embed="rId112"/>
                <a:stretch>
                  <a:fillRect/>
                </a:stretch>
              </p:blipFill>
              <p:spPr>
                <a:xfrm>
                  <a:off x="6444705" y="552430"/>
                  <a:ext cx="148989" cy="180393"/>
                </a:xfrm>
                <a:prstGeom prst="rect">
                  <a:avLst/>
                </a:prstGeom>
              </p:spPr>
            </p:pic>
          </mc:Fallback>
        </mc:AlternateContent>
        <mc:AlternateContent xmlns:mc="http://schemas.openxmlformats.org/markup-compatibility/2006" xmlns:p14="http://schemas.microsoft.com/office/powerpoint/2010/main">
          <mc:Choice Requires="p14">
            <p:contentPart p14:bwMode="auto" r:id="rId113">
              <p14:nvContentPartPr>
                <p14:cNvPr id="82" name="Ink 81">
                  <a:extLst>
                    <a:ext uri="{FF2B5EF4-FFF2-40B4-BE49-F238E27FC236}">
                      <a16:creationId xmlns:a16="http://schemas.microsoft.com/office/drawing/2014/main" id="{E344038E-3FB1-4595-B9C5-40B5FAD0955F}"/>
                    </a:ext>
                  </a:extLst>
                </p14:cNvPr>
                <p14:cNvContentPartPr/>
                <p14:nvPr/>
              </p14:nvContentPartPr>
              <p14:xfrm>
                <a:off x="6670940" y="596186"/>
                <a:ext cx="75240" cy="112320"/>
              </p14:xfrm>
            </p:contentPart>
          </mc:Choice>
          <mc:Fallback xmlns="">
            <p:pic>
              <p:nvPicPr>
                <p:cNvPr id="82" name="Ink 81">
                  <a:extLst>
                    <a:ext uri="{FF2B5EF4-FFF2-40B4-BE49-F238E27FC236}">
                      <a16:creationId xmlns:a16="http://schemas.microsoft.com/office/drawing/2014/main" id="{E344038E-3FB1-4595-B9C5-40B5FAD0955F}"/>
                    </a:ext>
                  </a:extLst>
                </p:cNvPr>
                <p:cNvPicPr/>
                <p:nvPr/>
              </p:nvPicPr>
              <p:blipFill>
                <a:blip r:embed="rId114"/>
                <a:stretch>
                  <a:fillRect/>
                </a:stretch>
              </p:blipFill>
              <p:spPr>
                <a:xfrm>
                  <a:off x="6657164" y="582280"/>
                  <a:ext cx="102793" cy="140133"/>
                </a:xfrm>
                <a:prstGeom prst="rect">
                  <a:avLst/>
                </a:prstGeom>
              </p:spPr>
            </p:pic>
          </mc:Fallback>
        </mc:AlternateContent>
        <mc:AlternateContent xmlns:mc="http://schemas.openxmlformats.org/markup-compatibility/2006" xmlns:p14="http://schemas.microsoft.com/office/powerpoint/2010/main">
          <mc:Choice Requires="p14">
            <p:contentPart p14:bwMode="auto" r:id="rId115">
              <p14:nvContentPartPr>
                <p14:cNvPr id="83" name="Ink 82">
                  <a:extLst>
                    <a:ext uri="{FF2B5EF4-FFF2-40B4-BE49-F238E27FC236}">
                      <a16:creationId xmlns:a16="http://schemas.microsoft.com/office/drawing/2014/main" id="{EC96CFFC-FB8A-4455-8CBA-A1D595C5FF7F}"/>
                    </a:ext>
                  </a:extLst>
                </p14:cNvPr>
                <p14:cNvContentPartPr/>
                <p14:nvPr/>
              </p14:nvContentPartPr>
              <p14:xfrm>
                <a:off x="6828260" y="590426"/>
                <a:ext cx="88200" cy="274320"/>
              </p14:xfrm>
            </p:contentPart>
          </mc:Choice>
          <mc:Fallback xmlns="">
            <p:pic>
              <p:nvPicPr>
                <p:cNvPr id="83" name="Ink 82">
                  <a:extLst>
                    <a:ext uri="{FF2B5EF4-FFF2-40B4-BE49-F238E27FC236}">
                      <a16:creationId xmlns:a16="http://schemas.microsoft.com/office/drawing/2014/main" id="{EC96CFFC-FB8A-4455-8CBA-A1D595C5FF7F}"/>
                    </a:ext>
                  </a:extLst>
                </p:cNvPr>
                <p:cNvPicPr/>
                <p:nvPr/>
              </p:nvPicPr>
              <p:blipFill>
                <a:blip r:embed="rId116"/>
                <a:stretch>
                  <a:fillRect/>
                </a:stretch>
              </p:blipFill>
              <p:spPr>
                <a:xfrm>
                  <a:off x="6814362" y="576550"/>
                  <a:ext cx="115996" cy="302072"/>
                </a:xfrm>
                <a:prstGeom prst="rect">
                  <a:avLst/>
                </a:prstGeom>
              </p:spPr>
            </p:pic>
          </mc:Fallback>
        </mc:AlternateContent>
        <mc:AlternateContent xmlns:mc="http://schemas.openxmlformats.org/markup-compatibility/2006" xmlns:p14="http://schemas.microsoft.com/office/powerpoint/2010/main">
          <mc:Choice Requires="p14">
            <p:contentPart p14:bwMode="auto" r:id="rId117">
              <p14:nvContentPartPr>
                <p14:cNvPr id="84" name="Ink 83">
                  <a:extLst>
                    <a:ext uri="{FF2B5EF4-FFF2-40B4-BE49-F238E27FC236}">
                      <a16:creationId xmlns:a16="http://schemas.microsoft.com/office/drawing/2014/main" id="{54868432-669C-459B-B75D-2CCF406BDFFA}"/>
                    </a:ext>
                  </a:extLst>
                </p14:cNvPr>
                <p14:cNvContentPartPr/>
                <p14:nvPr/>
              </p14:nvContentPartPr>
              <p14:xfrm>
                <a:off x="6982340" y="577826"/>
                <a:ext cx="86400" cy="126000"/>
              </p14:xfrm>
            </p:contentPart>
          </mc:Choice>
          <mc:Fallback xmlns="">
            <p:pic>
              <p:nvPicPr>
                <p:cNvPr id="84" name="Ink 83">
                  <a:extLst>
                    <a:ext uri="{FF2B5EF4-FFF2-40B4-BE49-F238E27FC236}">
                      <a16:creationId xmlns:a16="http://schemas.microsoft.com/office/drawing/2014/main" id="{54868432-669C-459B-B75D-2CCF406BDFFA}"/>
                    </a:ext>
                  </a:extLst>
                </p:cNvPr>
                <p:cNvPicPr/>
                <p:nvPr/>
              </p:nvPicPr>
              <p:blipFill>
                <a:blip r:embed="rId118"/>
                <a:stretch>
                  <a:fillRect/>
                </a:stretch>
              </p:blipFill>
              <p:spPr>
                <a:xfrm>
                  <a:off x="6968473" y="563945"/>
                  <a:ext cx="114133" cy="153763"/>
                </a:xfrm>
                <a:prstGeom prst="rect">
                  <a:avLst/>
                </a:prstGeom>
              </p:spPr>
            </p:pic>
          </mc:Fallback>
        </mc:AlternateContent>
        <mc:AlternateContent xmlns:mc="http://schemas.openxmlformats.org/markup-compatibility/2006" xmlns:p14="http://schemas.microsoft.com/office/powerpoint/2010/main">
          <mc:Choice Requires="p14">
            <p:contentPart p14:bwMode="auto" r:id="rId119">
              <p14:nvContentPartPr>
                <p14:cNvPr id="85" name="Ink 84">
                  <a:extLst>
                    <a:ext uri="{FF2B5EF4-FFF2-40B4-BE49-F238E27FC236}">
                      <a16:creationId xmlns:a16="http://schemas.microsoft.com/office/drawing/2014/main" id="{F48F8871-86B2-4F6F-A87D-E85F94E175CE}"/>
                    </a:ext>
                  </a:extLst>
                </p14:cNvPr>
                <p14:cNvContentPartPr/>
                <p14:nvPr/>
              </p14:nvContentPartPr>
              <p14:xfrm>
                <a:off x="7134620" y="587906"/>
                <a:ext cx="7560" cy="106920"/>
              </p14:xfrm>
            </p:contentPart>
          </mc:Choice>
          <mc:Fallback xmlns="">
            <p:pic>
              <p:nvPicPr>
                <p:cNvPr id="85" name="Ink 84">
                  <a:extLst>
                    <a:ext uri="{FF2B5EF4-FFF2-40B4-BE49-F238E27FC236}">
                      <a16:creationId xmlns:a16="http://schemas.microsoft.com/office/drawing/2014/main" id="{F48F8871-86B2-4F6F-A87D-E85F94E175CE}"/>
                    </a:ext>
                  </a:extLst>
                </p:cNvPr>
                <p:cNvPicPr/>
                <p:nvPr/>
              </p:nvPicPr>
              <p:blipFill>
                <a:blip r:embed="rId120"/>
                <a:stretch>
                  <a:fillRect/>
                </a:stretch>
              </p:blipFill>
              <p:spPr>
                <a:xfrm>
                  <a:off x="7120580" y="574076"/>
                  <a:ext cx="35640" cy="134581"/>
                </a:xfrm>
                <a:prstGeom prst="rect">
                  <a:avLst/>
                </a:prstGeom>
              </p:spPr>
            </p:pic>
          </mc:Fallback>
        </mc:AlternateContent>
        <mc:AlternateContent xmlns:mc="http://schemas.openxmlformats.org/markup-compatibility/2006" xmlns:p14="http://schemas.microsoft.com/office/powerpoint/2010/main">
          <mc:Choice Requires="p14">
            <p:contentPart p14:bwMode="auto" r:id="rId121">
              <p14:nvContentPartPr>
                <p14:cNvPr id="86" name="Ink 85">
                  <a:extLst>
                    <a:ext uri="{FF2B5EF4-FFF2-40B4-BE49-F238E27FC236}">
                      <a16:creationId xmlns:a16="http://schemas.microsoft.com/office/drawing/2014/main" id="{629A7091-1F2F-4D54-9205-5BBE08769036}"/>
                    </a:ext>
                  </a:extLst>
                </p14:cNvPr>
                <p14:cNvContentPartPr/>
                <p14:nvPr/>
              </p14:nvContentPartPr>
              <p14:xfrm>
                <a:off x="7155860" y="494306"/>
                <a:ext cx="360" cy="360"/>
              </p14:xfrm>
            </p:contentPart>
          </mc:Choice>
          <mc:Fallback xmlns="">
            <p:pic>
              <p:nvPicPr>
                <p:cNvPr id="86" name="Ink 85">
                  <a:extLst>
                    <a:ext uri="{FF2B5EF4-FFF2-40B4-BE49-F238E27FC236}">
                      <a16:creationId xmlns:a16="http://schemas.microsoft.com/office/drawing/2014/main" id="{629A7091-1F2F-4D54-9205-5BBE08769036}"/>
                    </a:ext>
                  </a:extLst>
                </p:cNvPr>
                <p:cNvPicPr/>
                <p:nvPr/>
              </p:nvPicPr>
              <p:blipFill>
                <a:blip r:embed="rId68"/>
                <a:stretch>
                  <a:fillRect/>
                </a:stretch>
              </p:blipFill>
              <p:spPr>
                <a:xfrm>
                  <a:off x="7146500" y="48494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87" name="Ink 86">
                  <a:extLst>
                    <a:ext uri="{FF2B5EF4-FFF2-40B4-BE49-F238E27FC236}">
                      <a16:creationId xmlns:a16="http://schemas.microsoft.com/office/drawing/2014/main" id="{5B799FE7-E283-4808-A569-24E1F4881DE6}"/>
                    </a:ext>
                  </a:extLst>
                </p14:cNvPr>
                <p14:cNvContentPartPr/>
                <p14:nvPr/>
              </p14:nvContentPartPr>
              <p14:xfrm>
                <a:off x="7238660" y="610586"/>
                <a:ext cx="79200" cy="113400"/>
              </p14:xfrm>
            </p:contentPart>
          </mc:Choice>
          <mc:Fallback xmlns="">
            <p:pic>
              <p:nvPicPr>
                <p:cNvPr id="87" name="Ink 86">
                  <a:extLst>
                    <a:ext uri="{FF2B5EF4-FFF2-40B4-BE49-F238E27FC236}">
                      <a16:creationId xmlns:a16="http://schemas.microsoft.com/office/drawing/2014/main" id="{5B799FE7-E283-4808-A569-24E1F4881DE6}"/>
                    </a:ext>
                  </a:extLst>
                </p:cNvPr>
                <p:cNvPicPr/>
                <p:nvPr/>
              </p:nvPicPr>
              <p:blipFill>
                <a:blip r:embed="rId123"/>
                <a:stretch>
                  <a:fillRect/>
                </a:stretch>
              </p:blipFill>
              <p:spPr>
                <a:xfrm>
                  <a:off x="7224746" y="596678"/>
                  <a:ext cx="107027" cy="141215"/>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88" name="Ink 87">
                  <a:extLst>
                    <a:ext uri="{FF2B5EF4-FFF2-40B4-BE49-F238E27FC236}">
                      <a16:creationId xmlns:a16="http://schemas.microsoft.com/office/drawing/2014/main" id="{A678681E-8E98-487D-A5BB-2905A14FDB55}"/>
                    </a:ext>
                  </a:extLst>
                </p14:cNvPr>
                <p14:cNvContentPartPr/>
                <p14:nvPr/>
              </p14:nvContentPartPr>
              <p14:xfrm>
                <a:off x="7388060" y="424466"/>
                <a:ext cx="287640" cy="302040"/>
              </p14:xfrm>
            </p:contentPart>
          </mc:Choice>
          <mc:Fallback xmlns="">
            <p:pic>
              <p:nvPicPr>
                <p:cNvPr id="88" name="Ink 87">
                  <a:extLst>
                    <a:ext uri="{FF2B5EF4-FFF2-40B4-BE49-F238E27FC236}">
                      <a16:creationId xmlns:a16="http://schemas.microsoft.com/office/drawing/2014/main" id="{A678681E-8E98-487D-A5BB-2905A14FDB55}"/>
                    </a:ext>
                  </a:extLst>
                </p:cNvPr>
                <p:cNvPicPr/>
                <p:nvPr/>
              </p:nvPicPr>
              <p:blipFill>
                <a:blip r:embed="rId125"/>
                <a:stretch>
                  <a:fillRect/>
                </a:stretch>
              </p:blipFill>
              <p:spPr>
                <a:xfrm>
                  <a:off x="7374185" y="410591"/>
                  <a:ext cx="315390" cy="329789"/>
                </a:xfrm>
                <a:prstGeom prst="rect">
                  <a:avLst/>
                </a:prstGeom>
              </p:spPr>
            </p:pic>
          </mc:Fallback>
        </mc:AlternateContent>
      </p:grpSp>
      <p:grpSp>
        <p:nvGrpSpPr>
          <p:cNvPr id="89" name="Group 88">
            <a:extLst>
              <a:ext uri="{FF2B5EF4-FFF2-40B4-BE49-F238E27FC236}">
                <a16:creationId xmlns:a16="http://schemas.microsoft.com/office/drawing/2014/main" id="{690305CE-9904-4B7D-9B9C-338D288F978D}"/>
              </a:ext>
            </a:extLst>
          </p:cNvPr>
          <p:cNvGrpSpPr/>
          <p:nvPr/>
        </p:nvGrpSpPr>
        <p:grpSpPr>
          <a:xfrm>
            <a:off x="1286655" y="1792408"/>
            <a:ext cx="946414" cy="705264"/>
            <a:chOff x="7620620" y="140426"/>
            <a:chExt cx="1442520" cy="1074960"/>
          </a:xfrm>
        </p:grpSpPr>
        <mc:AlternateContent xmlns:mc="http://schemas.openxmlformats.org/markup-compatibility/2006" xmlns:p14="http://schemas.microsoft.com/office/powerpoint/2010/main">
          <mc:Choice Requires="p14">
            <p:contentPart p14:bwMode="auto" r:id="rId126">
              <p14:nvContentPartPr>
                <p14:cNvPr id="90" name="Ink 89">
                  <a:extLst>
                    <a:ext uri="{FF2B5EF4-FFF2-40B4-BE49-F238E27FC236}">
                      <a16:creationId xmlns:a16="http://schemas.microsoft.com/office/drawing/2014/main" id="{2DB1AC0B-45B9-4364-8713-2C60CF3EB633}"/>
                    </a:ext>
                  </a:extLst>
                </p14:cNvPr>
                <p14:cNvContentPartPr/>
                <p14:nvPr/>
              </p14:nvContentPartPr>
              <p14:xfrm>
                <a:off x="7620620" y="234386"/>
                <a:ext cx="191880" cy="361440"/>
              </p14:xfrm>
            </p:contentPart>
          </mc:Choice>
          <mc:Fallback xmlns="">
            <p:pic>
              <p:nvPicPr>
                <p:cNvPr id="90" name="Ink 89">
                  <a:extLst>
                    <a:ext uri="{FF2B5EF4-FFF2-40B4-BE49-F238E27FC236}">
                      <a16:creationId xmlns:a16="http://schemas.microsoft.com/office/drawing/2014/main" id="{2DB1AC0B-45B9-4364-8713-2C60CF3EB633}"/>
                    </a:ext>
                  </a:extLst>
                </p:cNvPr>
                <p:cNvPicPr/>
                <p:nvPr/>
              </p:nvPicPr>
              <p:blipFill>
                <a:blip r:embed="rId127"/>
                <a:stretch>
                  <a:fillRect/>
                </a:stretch>
              </p:blipFill>
              <p:spPr>
                <a:xfrm>
                  <a:off x="7606366" y="220126"/>
                  <a:ext cx="220388" cy="389960"/>
                </a:xfrm>
                <a:prstGeom prst="rect">
                  <a:avLst/>
                </a:prstGeom>
              </p:spPr>
            </p:pic>
          </mc:Fallback>
        </mc:AlternateContent>
        <mc:AlternateContent xmlns:mc="http://schemas.openxmlformats.org/markup-compatibility/2006" xmlns:p14="http://schemas.microsoft.com/office/powerpoint/2010/main">
          <mc:Choice Requires="p14">
            <p:contentPart p14:bwMode="auto" r:id="rId128">
              <p14:nvContentPartPr>
                <p14:cNvPr id="91" name="Ink 90">
                  <a:extLst>
                    <a:ext uri="{FF2B5EF4-FFF2-40B4-BE49-F238E27FC236}">
                      <a16:creationId xmlns:a16="http://schemas.microsoft.com/office/drawing/2014/main" id="{881CE8A2-A883-4644-8D5A-B366BDCDDAFE}"/>
                    </a:ext>
                  </a:extLst>
                </p14:cNvPr>
                <p14:cNvContentPartPr/>
                <p14:nvPr/>
              </p14:nvContentPartPr>
              <p14:xfrm>
                <a:off x="7892780" y="362546"/>
                <a:ext cx="98640" cy="216000"/>
              </p14:xfrm>
            </p:contentPart>
          </mc:Choice>
          <mc:Fallback xmlns="">
            <p:pic>
              <p:nvPicPr>
                <p:cNvPr id="91" name="Ink 90">
                  <a:extLst>
                    <a:ext uri="{FF2B5EF4-FFF2-40B4-BE49-F238E27FC236}">
                      <a16:creationId xmlns:a16="http://schemas.microsoft.com/office/drawing/2014/main" id="{881CE8A2-A883-4644-8D5A-B366BDCDDAFE}"/>
                    </a:ext>
                  </a:extLst>
                </p:cNvPr>
                <p:cNvPicPr/>
                <p:nvPr/>
              </p:nvPicPr>
              <p:blipFill>
                <a:blip r:embed="rId129"/>
                <a:stretch>
                  <a:fillRect/>
                </a:stretch>
              </p:blipFill>
              <p:spPr>
                <a:xfrm>
                  <a:off x="7878532" y="348292"/>
                  <a:ext cx="127136" cy="244508"/>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92" name="Ink 91">
                  <a:extLst>
                    <a:ext uri="{FF2B5EF4-FFF2-40B4-BE49-F238E27FC236}">
                      <a16:creationId xmlns:a16="http://schemas.microsoft.com/office/drawing/2014/main" id="{DE3787A6-6B66-48A1-B014-4FFE50B6B738}"/>
                    </a:ext>
                  </a:extLst>
                </p14:cNvPr>
                <p14:cNvContentPartPr/>
                <p14:nvPr/>
              </p14:nvContentPartPr>
              <p14:xfrm>
                <a:off x="8114900" y="200186"/>
                <a:ext cx="4680" cy="309600"/>
              </p14:xfrm>
            </p:contentPart>
          </mc:Choice>
          <mc:Fallback xmlns="">
            <p:pic>
              <p:nvPicPr>
                <p:cNvPr id="92" name="Ink 91">
                  <a:extLst>
                    <a:ext uri="{FF2B5EF4-FFF2-40B4-BE49-F238E27FC236}">
                      <a16:creationId xmlns:a16="http://schemas.microsoft.com/office/drawing/2014/main" id="{DE3787A6-6B66-48A1-B014-4FFE50B6B738}"/>
                    </a:ext>
                  </a:extLst>
                </p:cNvPr>
                <p:cNvPicPr/>
                <p:nvPr/>
              </p:nvPicPr>
              <p:blipFill>
                <a:blip r:embed="rId131"/>
                <a:stretch>
                  <a:fillRect/>
                </a:stretch>
              </p:blipFill>
              <p:spPr>
                <a:xfrm>
                  <a:off x="8101380" y="185939"/>
                  <a:ext cx="31720" cy="338094"/>
                </a:xfrm>
                <a:prstGeom prst="rect">
                  <a:avLst/>
                </a:prstGeom>
              </p:spPr>
            </p:pic>
          </mc:Fallback>
        </mc:AlternateContent>
        <mc:AlternateContent xmlns:mc="http://schemas.openxmlformats.org/markup-compatibility/2006" xmlns:p14="http://schemas.microsoft.com/office/powerpoint/2010/main">
          <mc:Choice Requires="p14">
            <p:contentPart p14:bwMode="auto" r:id="rId132">
              <p14:nvContentPartPr>
                <p14:cNvPr id="93" name="Ink 92">
                  <a:extLst>
                    <a:ext uri="{FF2B5EF4-FFF2-40B4-BE49-F238E27FC236}">
                      <a16:creationId xmlns:a16="http://schemas.microsoft.com/office/drawing/2014/main" id="{9A14BC75-F9F6-4440-815C-275304927859}"/>
                    </a:ext>
                  </a:extLst>
                </p14:cNvPr>
                <p14:cNvContentPartPr/>
                <p14:nvPr/>
              </p14:nvContentPartPr>
              <p14:xfrm>
                <a:off x="7972700" y="205226"/>
                <a:ext cx="250920" cy="66240"/>
              </p14:xfrm>
            </p:contentPart>
          </mc:Choice>
          <mc:Fallback xmlns="">
            <p:pic>
              <p:nvPicPr>
                <p:cNvPr id="93" name="Ink 92">
                  <a:extLst>
                    <a:ext uri="{FF2B5EF4-FFF2-40B4-BE49-F238E27FC236}">
                      <a16:creationId xmlns:a16="http://schemas.microsoft.com/office/drawing/2014/main" id="{9A14BC75-F9F6-4440-815C-275304927859}"/>
                    </a:ext>
                  </a:extLst>
                </p:cNvPr>
                <p:cNvPicPr/>
                <p:nvPr/>
              </p:nvPicPr>
              <p:blipFill>
                <a:blip r:embed="rId133"/>
                <a:stretch>
                  <a:fillRect/>
                </a:stretch>
              </p:blipFill>
              <p:spPr>
                <a:xfrm>
                  <a:off x="7958456" y="190993"/>
                  <a:ext cx="279409" cy="94707"/>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94" name="Ink 93">
                  <a:extLst>
                    <a:ext uri="{FF2B5EF4-FFF2-40B4-BE49-F238E27FC236}">
                      <a16:creationId xmlns:a16="http://schemas.microsoft.com/office/drawing/2014/main" id="{3879D423-556E-47F8-8004-CC6A196EF21A}"/>
                    </a:ext>
                  </a:extLst>
                </p14:cNvPr>
                <p14:cNvContentPartPr/>
                <p14:nvPr/>
              </p14:nvContentPartPr>
              <p14:xfrm>
                <a:off x="8220380" y="353546"/>
                <a:ext cx="145440" cy="177840"/>
              </p14:xfrm>
            </p:contentPart>
          </mc:Choice>
          <mc:Fallback xmlns="">
            <p:pic>
              <p:nvPicPr>
                <p:cNvPr id="94" name="Ink 93">
                  <a:extLst>
                    <a:ext uri="{FF2B5EF4-FFF2-40B4-BE49-F238E27FC236}">
                      <a16:creationId xmlns:a16="http://schemas.microsoft.com/office/drawing/2014/main" id="{3879D423-556E-47F8-8004-CC6A196EF21A}"/>
                    </a:ext>
                  </a:extLst>
                </p:cNvPr>
                <p:cNvPicPr/>
                <p:nvPr/>
              </p:nvPicPr>
              <p:blipFill>
                <a:blip r:embed="rId135"/>
                <a:stretch>
                  <a:fillRect/>
                </a:stretch>
              </p:blipFill>
              <p:spPr>
                <a:xfrm>
                  <a:off x="8206110" y="339275"/>
                  <a:ext cx="173979" cy="206382"/>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95" name="Ink 94">
                  <a:extLst>
                    <a:ext uri="{FF2B5EF4-FFF2-40B4-BE49-F238E27FC236}">
                      <a16:creationId xmlns:a16="http://schemas.microsoft.com/office/drawing/2014/main" id="{B15E2557-CF9B-4634-8C73-549C336B48EA}"/>
                    </a:ext>
                  </a:extLst>
                </p14:cNvPr>
                <p14:cNvContentPartPr/>
                <p14:nvPr/>
              </p14:nvContentPartPr>
              <p14:xfrm>
                <a:off x="8462660" y="375146"/>
                <a:ext cx="17280" cy="122040"/>
              </p14:xfrm>
            </p:contentPart>
          </mc:Choice>
          <mc:Fallback xmlns="">
            <p:pic>
              <p:nvPicPr>
                <p:cNvPr id="95" name="Ink 94">
                  <a:extLst>
                    <a:ext uri="{FF2B5EF4-FFF2-40B4-BE49-F238E27FC236}">
                      <a16:creationId xmlns:a16="http://schemas.microsoft.com/office/drawing/2014/main" id="{B15E2557-CF9B-4634-8C73-549C336B48EA}"/>
                    </a:ext>
                  </a:extLst>
                </p:cNvPr>
                <p:cNvPicPr/>
                <p:nvPr/>
              </p:nvPicPr>
              <p:blipFill>
                <a:blip r:embed="rId137"/>
                <a:stretch>
                  <a:fillRect/>
                </a:stretch>
              </p:blipFill>
              <p:spPr>
                <a:xfrm>
                  <a:off x="8448167" y="360917"/>
                  <a:ext cx="46266" cy="150498"/>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96" name="Ink 95">
                  <a:extLst>
                    <a:ext uri="{FF2B5EF4-FFF2-40B4-BE49-F238E27FC236}">
                      <a16:creationId xmlns:a16="http://schemas.microsoft.com/office/drawing/2014/main" id="{024A5129-645F-41D4-96A0-6A427983DEEC}"/>
                    </a:ext>
                  </a:extLst>
                </p14:cNvPr>
                <p14:cNvContentPartPr/>
                <p14:nvPr/>
              </p14:nvContentPartPr>
              <p14:xfrm>
                <a:off x="8491100" y="273626"/>
                <a:ext cx="360" cy="360"/>
              </p14:xfrm>
            </p:contentPart>
          </mc:Choice>
          <mc:Fallback xmlns="">
            <p:pic>
              <p:nvPicPr>
                <p:cNvPr id="96" name="Ink 95">
                  <a:extLst>
                    <a:ext uri="{FF2B5EF4-FFF2-40B4-BE49-F238E27FC236}">
                      <a16:creationId xmlns:a16="http://schemas.microsoft.com/office/drawing/2014/main" id="{024A5129-645F-41D4-96A0-6A427983DEEC}"/>
                    </a:ext>
                  </a:extLst>
                </p:cNvPr>
                <p:cNvPicPr/>
                <p:nvPr/>
              </p:nvPicPr>
              <p:blipFill>
                <a:blip r:embed="rId68"/>
                <a:stretch>
                  <a:fillRect/>
                </a:stretch>
              </p:blipFill>
              <p:spPr>
                <a:xfrm>
                  <a:off x="8481740" y="26426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9">
              <p14:nvContentPartPr>
                <p14:cNvPr id="97" name="Ink 96">
                  <a:extLst>
                    <a:ext uri="{FF2B5EF4-FFF2-40B4-BE49-F238E27FC236}">
                      <a16:creationId xmlns:a16="http://schemas.microsoft.com/office/drawing/2014/main" id="{AE177150-6D8F-4354-AFCD-9D8BAC487534}"/>
                    </a:ext>
                  </a:extLst>
                </p14:cNvPr>
                <p14:cNvContentPartPr/>
                <p14:nvPr/>
              </p14:nvContentPartPr>
              <p14:xfrm>
                <a:off x="8573180" y="140426"/>
                <a:ext cx="22320" cy="324360"/>
              </p14:xfrm>
            </p:contentPart>
          </mc:Choice>
          <mc:Fallback xmlns="">
            <p:pic>
              <p:nvPicPr>
                <p:cNvPr id="97" name="Ink 96">
                  <a:extLst>
                    <a:ext uri="{FF2B5EF4-FFF2-40B4-BE49-F238E27FC236}">
                      <a16:creationId xmlns:a16="http://schemas.microsoft.com/office/drawing/2014/main" id="{AE177150-6D8F-4354-AFCD-9D8BAC487534}"/>
                    </a:ext>
                  </a:extLst>
                </p:cNvPr>
                <p:cNvPicPr/>
                <p:nvPr/>
              </p:nvPicPr>
              <p:blipFill>
                <a:blip r:embed="rId140"/>
                <a:stretch>
                  <a:fillRect/>
                </a:stretch>
              </p:blipFill>
              <p:spPr>
                <a:xfrm>
                  <a:off x="8558672" y="126180"/>
                  <a:ext cx="51336" cy="352851"/>
                </a:xfrm>
                <a:prstGeom prst="rect">
                  <a:avLst/>
                </a:prstGeom>
              </p:spPr>
            </p:pic>
          </mc:Fallback>
        </mc:AlternateContent>
        <mc:AlternateContent xmlns:mc="http://schemas.openxmlformats.org/markup-compatibility/2006" xmlns:p14="http://schemas.microsoft.com/office/powerpoint/2010/main">
          <mc:Choice Requires="p14">
            <p:contentPart p14:bwMode="auto" r:id="rId141">
              <p14:nvContentPartPr>
                <p14:cNvPr id="98" name="Ink 97">
                  <a:extLst>
                    <a:ext uri="{FF2B5EF4-FFF2-40B4-BE49-F238E27FC236}">
                      <a16:creationId xmlns:a16="http://schemas.microsoft.com/office/drawing/2014/main" id="{46470877-03AE-4DB7-A68F-EB7777A512AE}"/>
                    </a:ext>
                  </a:extLst>
                </p14:cNvPr>
                <p14:cNvContentPartPr/>
                <p14:nvPr/>
              </p14:nvContentPartPr>
              <p14:xfrm>
                <a:off x="8668580" y="297746"/>
                <a:ext cx="146880" cy="210240"/>
              </p14:xfrm>
            </p:contentPart>
          </mc:Choice>
          <mc:Fallback xmlns="">
            <p:pic>
              <p:nvPicPr>
                <p:cNvPr id="98" name="Ink 97">
                  <a:extLst>
                    <a:ext uri="{FF2B5EF4-FFF2-40B4-BE49-F238E27FC236}">
                      <a16:creationId xmlns:a16="http://schemas.microsoft.com/office/drawing/2014/main" id="{46470877-03AE-4DB7-A68F-EB7777A512AE}"/>
                    </a:ext>
                  </a:extLst>
                </p:cNvPr>
                <p:cNvPicPr/>
                <p:nvPr/>
              </p:nvPicPr>
              <p:blipFill>
                <a:blip r:embed="rId142"/>
                <a:stretch>
                  <a:fillRect/>
                </a:stretch>
              </p:blipFill>
              <p:spPr>
                <a:xfrm>
                  <a:off x="8654330" y="283474"/>
                  <a:ext cx="175379" cy="238784"/>
                </a:xfrm>
                <a:prstGeom prst="rect">
                  <a:avLst/>
                </a:prstGeom>
              </p:spPr>
            </p:pic>
          </mc:Fallback>
        </mc:AlternateContent>
        <mc:AlternateContent xmlns:mc="http://schemas.openxmlformats.org/markup-compatibility/2006" xmlns:p14="http://schemas.microsoft.com/office/powerpoint/2010/main">
          <mc:Choice Requires="p14">
            <p:contentPart p14:bwMode="auto" r:id="rId143">
              <p14:nvContentPartPr>
                <p14:cNvPr id="99" name="Ink 98">
                  <a:extLst>
                    <a:ext uri="{FF2B5EF4-FFF2-40B4-BE49-F238E27FC236}">
                      <a16:creationId xmlns:a16="http://schemas.microsoft.com/office/drawing/2014/main" id="{A1E1D31F-5E44-4438-A934-3D9942A67AD2}"/>
                    </a:ext>
                  </a:extLst>
                </p14:cNvPr>
                <p14:cNvContentPartPr/>
                <p14:nvPr/>
              </p14:nvContentPartPr>
              <p14:xfrm>
                <a:off x="7974140" y="676826"/>
                <a:ext cx="144000" cy="157680"/>
              </p14:xfrm>
            </p:contentPart>
          </mc:Choice>
          <mc:Fallback xmlns="">
            <p:pic>
              <p:nvPicPr>
                <p:cNvPr id="99" name="Ink 98">
                  <a:extLst>
                    <a:ext uri="{FF2B5EF4-FFF2-40B4-BE49-F238E27FC236}">
                      <a16:creationId xmlns:a16="http://schemas.microsoft.com/office/drawing/2014/main" id="{A1E1D31F-5E44-4438-A934-3D9942A67AD2}"/>
                    </a:ext>
                  </a:extLst>
                </p:cNvPr>
                <p:cNvPicPr/>
                <p:nvPr/>
              </p:nvPicPr>
              <p:blipFill>
                <a:blip r:embed="rId144"/>
                <a:stretch>
                  <a:fillRect/>
                </a:stretch>
              </p:blipFill>
              <p:spPr>
                <a:xfrm>
                  <a:off x="7959904" y="662541"/>
                  <a:ext cx="172471" cy="186249"/>
                </a:xfrm>
                <a:prstGeom prst="rect">
                  <a:avLst/>
                </a:prstGeom>
              </p:spPr>
            </p:pic>
          </mc:Fallback>
        </mc:AlternateContent>
        <mc:AlternateContent xmlns:mc="http://schemas.openxmlformats.org/markup-compatibility/2006" xmlns:p14="http://schemas.microsoft.com/office/powerpoint/2010/main">
          <mc:Choice Requires="p14">
            <p:contentPart p14:bwMode="auto" r:id="rId145">
              <p14:nvContentPartPr>
                <p14:cNvPr id="100" name="Ink 99">
                  <a:extLst>
                    <a:ext uri="{FF2B5EF4-FFF2-40B4-BE49-F238E27FC236}">
                      <a16:creationId xmlns:a16="http://schemas.microsoft.com/office/drawing/2014/main" id="{C5FA79EA-20BB-4AA9-B49C-8F946FA2373C}"/>
                    </a:ext>
                  </a:extLst>
                </p14:cNvPr>
                <p14:cNvContentPartPr/>
                <p14:nvPr/>
              </p14:nvContentPartPr>
              <p14:xfrm>
                <a:off x="8171060" y="660266"/>
                <a:ext cx="123120" cy="123840"/>
              </p14:xfrm>
            </p:contentPart>
          </mc:Choice>
          <mc:Fallback xmlns="">
            <p:pic>
              <p:nvPicPr>
                <p:cNvPr id="100" name="Ink 99">
                  <a:extLst>
                    <a:ext uri="{FF2B5EF4-FFF2-40B4-BE49-F238E27FC236}">
                      <a16:creationId xmlns:a16="http://schemas.microsoft.com/office/drawing/2014/main" id="{C5FA79EA-20BB-4AA9-B49C-8F946FA2373C}"/>
                    </a:ext>
                  </a:extLst>
                </p:cNvPr>
                <p:cNvPicPr/>
                <p:nvPr/>
              </p:nvPicPr>
              <p:blipFill>
                <a:blip r:embed="rId146"/>
                <a:stretch>
                  <a:fillRect/>
                </a:stretch>
              </p:blipFill>
              <p:spPr>
                <a:xfrm>
                  <a:off x="8156833" y="646019"/>
                  <a:ext cx="151574" cy="152334"/>
                </a:xfrm>
                <a:prstGeom prst="rect">
                  <a:avLst/>
                </a:prstGeom>
              </p:spPr>
            </p:pic>
          </mc:Fallback>
        </mc:AlternateContent>
        <mc:AlternateContent xmlns:mc="http://schemas.openxmlformats.org/markup-compatibility/2006" xmlns:p14="http://schemas.microsoft.com/office/powerpoint/2010/main">
          <mc:Choice Requires="p14">
            <p:contentPart p14:bwMode="auto" r:id="rId147">
              <p14:nvContentPartPr>
                <p14:cNvPr id="101" name="Ink 100">
                  <a:extLst>
                    <a:ext uri="{FF2B5EF4-FFF2-40B4-BE49-F238E27FC236}">
                      <a16:creationId xmlns:a16="http://schemas.microsoft.com/office/drawing/2014/main" id="{DC4C4E48-FFEB-45F1-9CA7-8D99BDE972E2}"/>
                    </a:ext>
                  </a:extLst>
                </p14:cNvPr>
                <p14:cNvContentPartPr/>
                <p14:nvPr/>
              </p14:nvContentPartPr>
              <p14:xfrm>
                <a:off x="8352860" y="506906"/>
                <a:ext cx="14400" cy="238680"/>
              </p14:xfrm>
            </p:contentPart>
          </mc:Choice>
          <mc:Fallback xmlns="">
            <p:pic>
              <p:nvPicPr>
                <p:cNvPr id="101" name="Ink 100">
                  <a:extLst>
                    <a:ext uri="{FF2B5EF4-FFF2-40B4-BE49-F238E27FC236}">
                      <a16:creationId xmlns:a16="http://schemas.microsoft.com/office/drawing/2014/main" id="{DC4C4E48-FFEB-45F1-9CA7-8D99BDE972E2}"/>
                    </a:ext>
                  </a:extLst>
                </p:cNvPr>
                <p:cNvPicPr/>
                <p:nvPr/>
              </p:nvPicPr>
              <p:blipFill>
                <a:blip r:embed="rId148"/>
                <a:stretch>
                  <a:fillRect/>
                </a:stretch>
              </p:blipFill>
              <p:spPr>
                <a:xfrm>
                  <a:off x="8338993" y="492640"/>
                  <a:ext cx="42133" cy="267212"/>
                </a:xfrm>
                <a:prstGeom prst="rect">
                  <a:avLst/>
                </a:prstGeom>
              </p:spPr>
            </p:pic>
          </mc:Fallback>
        </mc:AlternateContent>
        <mc:AlternateContent xmlns:mc="http://schemas.openxmlformats.org/markup-compatibility/2006" xmlns:p14="http://schemas.microsoft.com/office/powerpoint/2010/main">
          <mc:Choice Requires="p14">
            <p:contentPart p14:bwMode="auto" r:id="rId149">
              <p14:nvContentPartPr>
                <p14:cNvPr id="102" name="Ink 101">
                  <a:extLst>
                    <a:ext uri="{FF2B5EF4-FFF2-40B4-BE49-F238E27FC236}">
                      <a16:creationId xmlns:a16="http://schemas.microsoft.com/office/drawing/2014/main" id="{F645BFF1-B570-4138-AC2B-FB565BD96E48}"/>
                    </a:ext>
                  </a:extLst>
                </p14:cNvPr>
                <p14:cNvContentPartPr/>
                <p14:nvPr/>
              </p14:nvContentPartPr>
              <p14:xfrm>
                <a:off x="8276900" y="585386"/>
                <a:ext cx="242640" cy="6840"/>
              </p14:xfrm>
            </p:contentPart>
          </mc:Choice>
          <mc:Fallback xmlns="">
            <p:pic>
              <p:nvPicPr>
                <p:cNvPr id="102" name="Ink 101">
                  <a:extLst>
                    <a:ext uri="{FF2B5EF4-FFF2-40B4-BE49-F238E27FC236}">
                      <a16:creationId xmlns:a16="http://schemas.microsoft.com/office/drawing/2014/main" id="{F645BFF1-B570-4138-AC2B-FB565BD96E48}"/>
                    </a:ext>
                  </a:extLst>
                </p:cNvPr>
                <p:cNvPicPr/>
                <p:nvPr/>
              </p:nvPicPr>
              <p:blipFill>
                <a:blip r:embed="rId150"/>
                <a:stretch>
                  <a:fillRect/>
                </a:stretch>
              </p:blipFill>
              <p:spPr>
                <a:xfrm>
                  <a:off x="8262659" y="571706"/>
                  <a:ext cx="271121" cy="34200"/>
                </a:xfrm>
                <a:prstGeom prst="rect">
                  <a:avLst/>
                </a:prstGeom>
              </p:spPr>
            </p:pic>
          </mc:Fallback>
        </mc:AlternateContent>
        <mc:AlternateContent xmlns:mc="http://schemas.openxmlformats.org/markup-compatibility/2006" xmlns:p14="http://schemas.microsoft.com/office/powerpoint/2010/main">
          <mc:Choice Requires="p14">
            <p:contentPart p14:bwMode="auto" r:id="rId151">
              <p14:nvContentPartPr>
                <p14:cNvPr id="103" name="Ink 102">
                  <a:extLst>
                    <a:ext uri="{FF2B5EF4-FFF2-40B4-BE49-F238E27FC236}">
                      <a16:creationId xmlns:a16="http://schemas.microsoft.com/office/drawing/2014/main" id="{AFD5FEE3-DEC2-4A85-B177-AB82644A3F6E}"/>
                    </a:ext>
                  </a:extLst>
                </p14:cNvPr>
                <p14:cNvContentPartPr/>
                <p14:nvPr/>
              </p14:nvContentPartPr>
              <p14:xfrm>
                <a:off x="7795220" y="970586"/>
                <a:ext cx="97560" cy="168840"/>
              </p14:xfrm>
            </p:contentPart>
          </mc:Choice>
          <mc:Fallback xmlns="">
            <p:pic>
              <p:nvPicPr>
                <p:cNvPr id="103" name="Ink 102">
                  <a:extLst>
                    <a:ext uri="{FF2B5EF4-FFF2-40B4-BE49-F238E27FC236}">
                      <a16:creationId xmlns:a16="http://schemas.microsoft.com/office/drawing/2014/main" id="{AFD5FEE3-DEC2-4A85-B177-AB82644A3F6E}"/>
                    </a:ext>
                  </a:extLst>
                </p:cNvPr>
                <p:cNvPicPr/>
                <p:nvPr/>
              </p:nvPicPr>
              <p:blipFill>
                <a:blip r:embed="rId152"/>
                <a:stretch>
                  <a:fillRect/>
                </a:stretch>
              </p:blipFill>
              <p:spPr>
                <a:xfrm>
                  <a:off x="7780970" y="956333"/>
                  <a:ext cx="126061" cy="197345"/>
                </a:xfrm>
                <a:prstGeom prst="rect">
                  <a:avLst/>
                </a:prstGeom>
              </p:spPr>
            </p:pic>
          </mc:Fallback>
        </mc:AlternateContent>
        <mc:AlternateContent xmlns:mc="http://schemas.openxmlformats.org/markup-compatibility/2006" xmlns:p14="http://schemas.microsoft.com/office/powerpoint/2010/main">
          <mc:Choice Requires="p14">
            <p:contentPart p14:bwMode="auto" r:id="rId153">
              <p14:nvContentPartPr>
                <p14:cNvPr id="104" name="Ink 103">
                  <a:extLst>
                    <a:ext uri="{FF2B5EF4-FFF2-40B4-BE49-F238E27FC236}">
                      <a16:creationId xmlns:a16="http://schemas.microsoft.com/office/drawing/2014/main" id="{2ECEB087-BADF-4AAB-9EDA-A4D1434329AE}"/>
                    </a:ext>
                  </a:extLst>
                </p14:cNvPr>
                <p14:cNvContentPartPr/>
                <p14:nvPr/>
              </p14:nvContentPartPr>
              <p14:xfrm>
                <a:off x="7965500" y="962306"/>
                <a:ext cx="129960" cy="138600"/>
              </p14:xfrm>
            </p:contentPart>
          </mc:Choice>
          <mc:Fallback xmlns="">
            <p:pic>
              <p:nvPicPr>
                <p:cNvPr id="104" name="Ink 103">
                  <a:extLst>
                    <a:ext uri="{FF2B5EF4-FFF2-40B4-BE49-F238E27FC236}">
                      <a16:creationId xmlns:a16="http://schemas.microsoft.com/office/drawing/2014/main" id="{2ECEB087-BADF-4AAB-9EDA-A4D1434329AE}"/>
                    </a:ext>
                  </a:extLst>
                </p:cNvPr>
                <p:cNvPicPr/>
                <p:nvPr/>
              </p:nvPicPr>
              <p:blipFill>
                <a:blip r:embed="rId154"/>
                <a:stretch>
                  <a:fillRect/>
                </a:stretch>
              </p:blipFill>
              <p:spPr>
                <a:xfrm>
                  <a:off x="7951303" y="948063"/>
                  <a:ext cx="158355" cy="167087"/>
                </a:xfrm>
                <a:prstGeom prst="rect">
                  <a:avLst/>
                </a:prstGeom>
              </p:spPr>
            </p:pic>
          </mc:Fallback>
        </mc:AlternateContent>
        <mc:AlternateContent xmlns:mc="http://schemas.openxmlformats.org/markup-compatibility/2006" xmlns:p14="http://schemas.microsoft.com/office/powerpoint/2010/main">
          <mc:Choice Requires="p14">
            <p:contentPart p14:bwMode="auto" r:id="rId155">
              <p14:nvContentPartPr>
                <p14:cNvPr id="105" name="Ink 104">
                  <a:extLst>
                    <a:ext uri="{FF2B5EF4-FFF2-40B4-BE49-F238E27FC236}">
                      <a16:creationId xmlns:a16="http://schemas.microsoft.com/office/drawing/2014/main" id="{C4FBD8C4-CF00-455B-A80B-E25D23A96843}"/>
                    </a:ext>
                  </a:extLst>
                </p14:cNvPr>
                <p14:cNvContentPartPr/>
                <p14:nvPr/>
              </p14:nvContentPartPr>
              <p14:xfrm>
                <a:off x="8104460" y="936746"/>
                <a:ext cx="109440" cy="278640"/>
              </p14:xfrm>
            </p:contentPart>
          </mc:Choice>
          <mc:Fallback xmlns="">
            <p:pic>
              <p:nvPicPr>
                <p:cNvPr id="105" name="Ink 104">
                  <a:extLst>
                    <a:ext uri="{FF2B5EF4-FFF2-40B4-BE49-F238E27FC236}">
                      <a16:creationId xmlns:a16="http://schemas.microsoft.com/office/drawing/2014/main" id="{C4FBD8C4-CF00-455B-A80B-E25D23A96843}"/>
                    </a:ext>
                  </a:extLst>
                </p:cNvPr>
                <p:cNvPicPr/>
                <p:nvPr/>
              </p:nvPicPr>
              <p:blipFill>
                <a:blip r:embed="rId156"/>
                <a:stretch>
                  <a:fillRect/>
                </a:stretch>
              </p:blipFill>
              <p:spPr>
                <a:xfrm>
                  <a:off x="8090233" y="922485"/>
                  <a:ext cx="137894" cy="307162"/>
                </a:xfrm>
                <a:prstGeom prst="rect">
                  <a:avLst/>
                </a:prstGeom>
              </p:spPr>
            </p:pic>
          </mc:Fallback>
        </mc:AlternateContent>
        <mc:AlternateContent xmlns:mc="http://schemas.openxmlformats.org/markup-compatibility/2006" xmlns:p14="http://schemas.microsoft.com/office/powerpoint/2010/main">
          <mc:Choice Requires="p14">
            <p:contentPart p14:bwMode="auto" r:id="rId157">
              <p14:nvContentPartPr>
                <p14:cNvPr id="106" name="Ink 105">
                  <a:extLst>
                    <a:ext uri="{FF2B5EF4-FFF2-40B4-BE49-F238E27FC236}">
                      <a16:creationId xmlns:a16="http://schemas.microsoft.com/office/drawing/2014/main" id="{6DD68C86-3BF6-4923-B01C-996CAAC0EEB6}"/>
                    </a:ext>
                  </a:extLst>
                </p14:cNvPr>
                <p14:cNvContentPartPr/>
                <p14:nvPr/>
              </p14:nvContentPartPr>
              <p14:xfrm>
                <a:off x="8299220" y="945386"/>
                <a:ext cx="125640" cy="107640"/>
              </p14:xfrm>
            </p:contentPart>
          </mc:Choice>
          <mc:Fallback xmlns="">
            <p:pic>
              <p:nvPicPr>
                <p:cNvPr id="106" name="Ink 105">
                  <a:extLst>
                    <a:ext uri="{FF2B5EF4-FFF2-40B4-BE49-F238E27FC236}">
                      <a16:creationId xmlns:a16="http://schemas.microsoft.com/office/drawing/2014/main" id="{6DD68C86-3BF6-4923-B01C-996CAAC0EEB6}"/>
                    </a:ext>
                  </a:extLst>
                </p:cNvPr>
                <p:cNvPicPr/>
                <p:nvPr/>
              </p:nvPicPr>
              <p:blipFill>
                <a:blip r:embed="rId158"/>
                <a:stretch>
                  <a:fillRect/>
                </a:stretch>
              </p:blipFill>
              <p:spPr>
                <a:xfrm>
                  <a:off x="8284955" y="931180"/>
                  <a:ext cx="154170" cy="136053"/>
                </a:xfrm>
                <a:prstGeom prst="rect">
                  <a:avLst/>
                </a:prstGeom>
              </p:spPr>
            </p:pic>
          </mc:Fallback>
        </mc:AlternateContent>
        <mc:AlternateContent xmlns:mc="http://schemas.openxmlformats.org/markup-compatibility/2006" xmlns:p14="http://schemas.microsoft.com/office/powerpoint/2010/main">
          <mc:Choice Requires="p14">
            <p:contentPart p14:bwMode="auto" r:id="rId159">
              <p14:nvContentPartPr>
                <p14:cNvPr id="107" name="Ink 106">
                  <a:extLst>
                    <a:ext uri="{FF2B5EF4-FFF2-40B4-BE49-F238E27FC236}">
                      <a16:creationId xmlns:a16="http://schemas.microsoft.com/office/drawing/2014/main" id="{E7A7CBD8-B4B6-4E6E-B45E-B4D393A3A3B1}"/>
                    </a:ext>
                  </a:extLst>
                </p14:cNvPr>
                <p14:cNvContentPartPr/>
                <p14:nvPr/>
              </p14:nvContentPartPr>
              <p14:xfrm>
                <a:off x="8500820" y="944306"/>
                <a:ext cx="3240" cy="80280"/>
              </p14:xfrm>
            </p:contentPart>
          </mc:Choice>
          <mc:Fallback xmlns="">
            <p:pic>
              <p:nvPicPr>
                <p:cNvPr id="107" name="Ink 106">
                  <a:extLst>
                    <a:ext uri="{FF2B5EF4-FFF2-40B4-BE49-F238E27FC236}">
                      <a16:creationId xmlns:a16="http://schemas.microsoft.com/office/drawing/2014/main" id="{E7A7CBD8-B4B6-4E6E-B45E-B4D393A3A3B1}"/>
                    </a:ext>
                  </a:extLst>
                </p:cNvPr>
                <p:cNvPicPr/>
                <p:nvPr/>
              </p:nvPicPr>
              <p:blipFill>
                <a:blip r:embed="rId160"/>
                <a:stretch>
                  <a:fillRect/>
                </a:stretch>
              </p:blipFill>
              <p:spPr>
                <a:xfrm>
                  <a:off x="8486780" y="930107"/>
                  <a:ext cx="31320" cy="108678"/>
                </a:xfrm>
                <a:prstGeom prst="rect">
                  <a:avLst/>
                </a:prstGeom>
              </p:spPr>
            </p:pic>
          </mc:Fallback>
        </mc:AlternateContent>
        <mc:AlternateContent xmlns:mc="http://schemas.openxmlformats.org/markup-compatibility/2006" xmlns:p14="http://schemas.microsoft.com/office/powerpoint/2010/main">
          <mc:Choice Requires="p14">
            <p:contentPart p14:bwMode="auto" r:id="rId161">
              <p14:nvContentPartPr>
                <p14:cNvPr id="108" name="Ink 107">
                  <a:extLst>
                    <a:ext uri="{FF2B5EF4-FFF2-40B4-BE49-F238E27FC236}">
                      <a16:creationId xmlns:a16="http://schemas.microsoft.com/office/drawing/2014/main" id="{6DC76B23-ADDC-4F4A-A555-5B853411B078}"/>
                    </a:ext>
                  </a:extLst>
                </p14:cNvPr>
                <p14:cNvContentPartPr/>
                <p14:nvPr/>
              </p14:nvContentPartPr>
              <p14:xfrm>
                <a:off x="8530340" y="804626"/>
                <a:ext cx="360" cy="360"/>
              </p14:xfrm>
            </p:contentPart>
          </mc:Choice>
          <mc:Fallback xmlns="">
            <p:pic>
              <p:nvPicPr>
                <p:cNvPr id="108" name="Ink 107">
                  <a:extLst>
                    <a:ext uri="{FF2B5EF4-FFF2-40B4-BE49-F238E27FC236}">
                      <a16:creationId xmlns:a16="http://schemas.microsoft.com/office/drawing/2014/main" id="{6DC76B23-ADDC-4F4A-A555-5B853411B078}"/>
                    </a:ext>
                  </a:extLst>
                </p:cNvPr>
                <p:cNvPicPr/>
                <p:nvPr/>
              </p:nvPicPr>
              <p:blipFill>
                <a:blip r:embed="rId68"/>
                <a:stretch>
                  <a:fillRect/>
                </a:stretch>
              </p:blipFill>
              <p:spPr>
                <a:xfrm>
                  <a:off x="8520980" y="79526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2">
              <p14:nvContentPartPr>
                <p14:cNvPr id="109" name="Ink 108">
                  <a:extLst>
                    <a:ext uri="{FF2B5EF4-FFF2-40B4-BE49-F238E27FC236}">
                      <a16:creationId xmlns:a16="http://schemas.microsoft.com/office/drawing/2014/main" id="{57357FD2-610F-4F7F-810C-18FE3173D62B}"/>
                    </a:ext>
                  </a:extLst>
                </p14:cNvPr>
                <p14:cNvContentPartPr/>
                <p14:nvPr/>
              </p14:nvContentPartPr>
              <p14:xfrm>
                <a:off x="8530340" y="804626"/>
                <a:ext cx="151200" cy="211320"/>
              </p14:xfrm>
            </p:contentPart>
          </mc:Choice>
          <mc:Fallback xmlns="">
            <p:pic>
              <p:nvPicPr>
                <p:cNvPr id="109" name="Ink 108">
                  <a:extLst>
                    <a:ext uri="{FF2B5EF4-FFF2-40B4-BE49-F238E27FC236}">
                      <a16:creationId xmlns:a16="http://schemas.microsoft.com/office/drawing/2014/main" id="{57357FD2-610F-4F7F-810C-18FE3173D62B}"/>
                    </a:ext>
                  </a:extLst>
                </p:cNvPr>
                <p:cNvPicPr/>
                <p:nvPr/>
              </p:nvPicPr>
              <p:blipFill>
                <a:blip r:embed="rId163"/>
                <a:stretch>
                  <a:fillRect/>
                </a:stretch>
              </p:blipFill>
              <p:spPr>
                <a:xfrm>
                  <a:off x="8516097" y="790392"/>
                  <a:ext cx="179687" cy="239788"/>
                </a:xfrm>
                <a:prstGeom prst="rect">
                  <a:avLst/>
                </a:prstGeom>
              </p:spPr>
            </p:pic>
          </mc:Fallback>
        </mc:AlternateContent>
        <mc:AlternateContent xmlns:mc="http://schemas.openxmlformats.org/markup-compatibility/2006" xmlns:p14="http://schemas.microsoft.com/office/powerpoint/2010/main">
          <mc:Choice Requires="p14">
            <p:contentPart p14:bwMode="auto" r:id="rId164">
              <p14:nvContentPartPr>
                <p14:cNvPr id="110" name="Ink 109">
                  <a:extLst>
                    <a:ext uri="{FF2B5EF4-FFF2-40B4-BE49-F238E27FC236}">
                      <a16:creationId xmlns:a16="http://schemas.microsoft.com/office/drawing/2014/main" id="{6DF87A48-27FF-44E3-860B-C698D77F765C}"/>
                    </a:ext>
                  </a:extLst>
                </p14:cNvPr>
                <p14:cNvContentPartPr/>
                <p14:nvPr/>
              </p14:nvContentPartPr>
              <p14:xfrm>
                <a:off x="8745620" y="718585"/>
                <a:ext cx="317520" cy="346320"/>
              </p14:xfrm>
            </p:contentPart>
          </mc:Choice>
          <mc:Fallback xmlns="">
            <p:pic>
              <p:nvPicPr>
                <p:cNvPr id="110" name="Ink 109">
                  <a:extLst>
                    <a:ext uri="{FF2B5EF4-FFF2-40B4-BE49-F238E27FC236}">
                      <a16:creationId xmlns:a16="http://schemas.microsoft.com/office/drawing/2014/main" id="{6DF87A48-27FF-44E3-860B-C698D77F765C}"/>
                    </a:ext>
                  </a:extLst>
                </p:cNvPr>
                <p:cNvPicPr/>
                <p:nvPr/>
              </p:nvPicPr>
              <p:blipFill>
                <a:blip r:embed="rId165"/>
                <a:stretch>
                  <a:fillRect/>
                </a:stretch>
              </p:blipFill>
              <p:spPr>
                <a:xfrm>
                  <a:off x="8731362" y="704338"/>
                  <a:ext cx="346036" cy="374815"/>
                </a:xfrm>
                <a:prstGeom prst="rect">
                  <a:avLst/>
                </a:prstGeom>
              </p:spPr>
            </p:pic>
          </mc:Fallback>
        </mc:AlternateContent>
      </p:grpSp>
      <p:grpSp>
        <p:nvGrpSpPr>
          <p:cNvPr id="111" name="Group 110">
            <a:extLst>
              <a:ext uri="{FF2B5EF4-FFF2-40B4-BE49-F238E27FC236}">
                <a16:creationId xmlns:a16="http://schemas.microsoft.com/office/drawing/2014/main" id="{F9AD495D-7B7F-40CF-B99B-41EE9D91E40A}"/>
              </a:ext>
            </a:extLst>
          </p:cNvPr>
          <p:cNvGrpSpPr/>
          <p:nvPr/>
        </p:nvGrpSpPr>
        <p:grpSpPr>
          <a:xfrm>
            <a:off x="898527" y="5784864"/>
            <a:ext cx="1503596" cy="480738"/>
            <a:chOff x="5331562" y="192106"/>
            <a:chExt cx="2365560" cy="855720"/>
          </a:xfrm>
        </p:grpSpPr>
        <mc:AlternateContent xmlns:mc="http://schemas.openxmlformats.org/markup-compatibility/2006" xmlns:p14="http://schemas.microsoft.com/office/powerpoint/2010/main">
          <mc:Choice Requires="p14">
            <p:contentPart p14:bwMode="auto" r:id="rId166">
              <p14:nvContentPartPr>
                <p14:cNvPr id="112" name="Ink 111">
                  <a:extLst>
                    <a:ext uri="{FF2B5EF4-FFF2-40B4-BE49-F238E27FC236}">
                      <a16:creationId xmlns:a16="http://schemas.microsoft.com/office/drawing/2014/main" id="{AB6DD81B-875B-40A2-9F63-989E4AE49607}"/>
                    </a:ext>
                  </a:extLst>
                </p14:cNvPr>
                <p14:cNvContentPartPr/>
                <p14:nvPr/>
              </p14:nvContentPartPr>
              <p14:xfrm>
                <a:off x="5331562" y="507466"/>
                <a:ext cx="254160" cy="540360"/>
              </p14:xfrm>
            </p:contentPart>
          </mc:Choice>
          <mc:Fallback xmlns="">
            <p:pic>
              <p:nvPicPr>
                <p:cNvPr id="112" name="Ink 111">
                  <a:extLst>
                    <a:ext uri="{FF2B5EF4-FFF2-40B4-BE49-F238E27FC236}">
                      <a16:creationId xmlns:a16="http://schemas.microsoft.com/office/drawing/2014/main" id="{AB6DD81B-875B-40A2-9F63-989E4AE49607}"/>
                    </a:ext>
                  </a:extLst>
                </p:cNvPr>
                <p:cNvPicPr/>
                <p:nvPr/>
              </p:nvPicPr>
              <p:blipFill>
                <a:blip r:embed="rId167"/>
                <a:stretch>
                  <a:fillRect/>
                </a:stretch>
              </p:blipFill>
              <p:spPr>
                <a:xfrm>
                  <a:off x="5316844" y="490820"/>
                  <a:ext cx="283595" cy="573652"/>
                </a:xfrm>
                <a:prstGeom prst="rect">
                  <a:avLst/>
                </a:prstGeom>
              </p:spPr>
            </p:pic>
          </mc:Fallback>
        </mc:AlternateContent>
        <mc:AlternateContent xmlns:mc="http://schemas.openxmlformats.org/markup-compatibility/2006" xmlns:p14="http://schemas.microsoft.com/office/powerpoint/2010/main">
          <mc:Choice Requires="p14">
            <p:contentPart p14:bwMode="auto" r:id="rId168">
              <p14:nvContentPartPr>
                <p14:cNvPr id="113" name="Ink 112">
                  <a:extLst>
                    <a:ext uri="{FF2B5EF4-FFF2-40B4-BE49-F238E27FC236}">
                      <a16:creationId xmlns:a16="http://schemas.microsoft.com/office/drawing/2014/main" id="{98E2FFE8-D1EA-4A3E-8C7A-58FAD7A520EF}"/>
                    </a:ext>
                  </a:extLst>
                </p14:cNvPr>
                <p14:cNvContentPartPr/>
                <p14:nvPr/>
              </p14:nvContentPartPr>
              <p14:xfrm>
                <a:off x="5648722" y="481186"/>
                <a:ext cx="181080" cy="211680"/>
              </p14:xfrm>
            </p:contentPart>
          </mc:Choice>
          <mc:Fallback xmlns="">
            <p:pic>
              <p:nvPicPr>
                <p:cNvPr id="113" name="Ink 112">
                  <a:extLst>
                    <a:ext uri="{FF2B5EF4-FFF2-40B4-BE49-F238E27FC236}">
                      <a16:creationId xmlns:a16="http://schemas.microsoft.com/office/drawing/2014/main" id="{98E2FFE8-D1EA-4A3E-8C7A-58FAD7A520EF}"/>
                    </a:ext>
                  </a:extLst>
                </p:cNvPr>
                <p:cNvPicPr/>
                <p:nvPr/>
              </p:nvPicPr>
              <p:blipFill>
                <a:blip r:embed="rId169"/>
                <a:stretch>
                  <a:fillRect/>
                </a:stretch>
              </p:blipFill>
              <p:spPr>
                <a:xfrm>
                  <a:off x="5634009" y="464559"/>
                  <a:ext cx="210506" cy="244935"/>
                </a:xfrm>
                <a:prstGeom prst="rect">
                  <a:avLst/>
                </a:prstGeom>
              </p:spPr>
            </p:pic>
          </mc:Fallback>
        </mc:AlternateContent>
        <mc:AlternateContent xmlns:mc="http://schemas.openxmlformats.org/markup-compatibility/2006" xmlns:p14="http://schemas.microsoft.com/office/powerpoint/2010/main">
          <mc:Choice Requires="p14">
            <p:contentPart p14:bwMode="auto" r:id="rId170">
              <p14:nvContentPartPr>
                <p14:cNvPr id="114" name="Ink 113">
                  <a:extLst>
                    <a:ext uri="{FF2B5EF4-FFF2-40B4-BE49-F238E27FC236}">
                      <a16:creationId xmlns:a16="http://schemas.microsoft.com/office/drawing/2014/main" id="{494F2E05-B104-468E-AA16-D82CE30C1D06}"/>
                    </a:ext>
                  </a:extLst>
                </p14:cNvPr>
                <p14:cNvContentPartPr/>
                <p14:nvPr/>
              </p14:nvContentPartPr>
              <p14:xfrm>
                <a:off x="5893522" y="451666"/>
                <a:ext cx="167400" cy="165960"/>
              </p14:xfrm>
            </p:contentPart>
          </mc:Choice>
          <mc:Fallback xmlns="">
            <p:pic>
              <p:nvPicPr>
                <p:cNvPr id="114" name="Ink 113">
                  <a:extLst>
                    <a:ext uri="{FF2B5EF4-FFF2-40B4-BE49-F238E27FC236}">
                      <a16:creationId xmlns:a16="http://schemas.microsoft.com/office/drawing/2014/main" id="{494F2E05-B104-468E-AA16-D82CE30C1D06}"/>
                    </a:ext>
                  </a:extLst>
                </p:cNvPr>
                <p:cNvPicPr/>
                <p:nvPr/>
              </p:nvPicPr>
              <p:blipFill>
                <a:blip r:embed="rId171"/>
                <a:stretch>
                  <a:fillRect/>
                </a:stretch>
              </p:blipFill>
              <p:spPr>
                <a:xfrm>
                  <a:off x="5878818" y="435070"/>
                  <a:ext cx="196808" cy="199152"/>
                </a:xfrm>
                <a:prstGeom prst="rect">
                  <a:avLst/>
                </a:prstGeom>
              </p:spPr>
            </p:pic>
          </mc:Fallback>
        </mc:AlternateContent>
        <mc:AlternateContent xmlns:mc="http://schemas.openxmlformats.org/markup-compatibility/2006" xmlns:p14="http://schemas.microsoft.com/office/powerpoint/2010/main">
          <mc:Choice Requires="p14">
            <p:contentPart p14:bwMode="auto" r:id="rId172">
              <p14:nvContentPartPr>
                <p14:cNvPr id="115" name="Ink 114">
                  <a:extLst>
                    <a:ext uri="{FF2B5EF4-FFF2-40B4-BE49-F238E27FC236}">
                      <a16:creationId xmlns:a16="http://schemas.microsoft.com/office/drawing/2014/main" id="{A5AF4134-16BB-4579-9A77-8ACF803CD3DE}"/>
                    </a:ext>
                  </a:extLst>
                </p14:cNvPr>
                <p14:cNvContentPartPr/>
                <p14:nvPr/>
              </p14:nvContentPartPr>
              <p14:xfrm>
                <a:off x="6108802" y="464266"/>
                <a:ext cx="110520" cy="156600"/>
              </p14:xfrm>
            </p:contentPart>
          </mc:Choice>
          <mc:Fallback xmlns="">
            <p:pic>
              <p:nvPicPr>
                <p:cNvPr id="115" name="Ink 114">
                  <a:extLst>
                    <a:ext uri="{FF2B5EF4-FFF2-40B4-BE49-F238E27FC236}">
                      <a16:creationId xmlns:a16="http://schemas.microsoft.com/office/drawing/2014/main" id="{A5AF4134-16BB-4579-9A77-8ACF803CD3DE}"/>
                    </a:ext>
                  </a:extLst>
                </p:cNvPr>
                <p:cNvPicPr/>
                <p:nvPr/>
              </p:nvPicPr>
              <p:blipFill>
                <a:blip r:embed="rId173"/>
                <a:stretch>
                  <a:fillRect/>
                </a:stretch>
              </p:blipFill>
              <p:spPr>
                <a:xfrm>
                  <a:off x="6094141" y="447647"/>
                  <a:ext cx="139842" cy="189838"/>
                </a:xfrm>
                <a:prstGeom prst="rect">
                  <a:avLst/>
                </a:prstGeom>
              </p:spPr>
            </p:pic>
          </mc:Fallback>
        </mc:AlternateContent>
        <mc:AlternateContent xmlns:mc="http://schemas.openxmlformats.org/markup-compatibility/2006" xmlns:p14="http://schemas.microsoft.com/office/powerpoint/2010/main">
          <mc:Choice Requires="p14">
            <p:contentPart p14:bwMode="auto" r:id="rId174">
              <p14:nvContentPartPr>
                <p14:cNvPr id="116" name="Ink 115">
                  <a:extLst>
                    <a:ext uri="{FF2B5EF4-FFF2-40B4-BE49-F238E27FC236}">
                      <a16:creationId xmlns:a16="http://schemas.microsoft.com/office/drawing/2014/main" id="{01D49C4B-BEB2-4710-8A95-AAB3E80B3215}"/>
                    </a:ext>
                  </a:extLst>
                </p14:cNvPr>
                <p14:cNvContentPartPr/>
                <p14:nvPr/>
              </p14:nvContentPartPr>
              <p14:xfrm>
                <a:off x="6372682" y="432586"/>
                <a:ext cx="90000" cy="303480"/>
              </p14:xfrm>
            </p:contentPart>
          </mc:Choice>
          <mc:Fallback xmlns="">
            <p:pic>
              <p:nvPicPr>
                <p:cNvPr id="116" name="Ink 115">
                  <a:extLst>
                    <a:ext uri="{FF2B5EF4-FFF2-40B4-BE49-F238E27FC236}">
                      <a16:creationId xmlns:a16="http://schemas.microsoft.com/office/drawing/2014/main" id="{01D49C4B-BEB2-4710-8A95-AAB3E80B3215}"/>
                    </a:ext>
                  </a:extLst>
                </p:cNvPr>
                <p:cNvPicPr/>
                <p:nvPr/>
              </p:nvPicPr>
              <p:blipFill>
                <a:blip r:embed="rId175"/>
                <a:stretch>
                  <a:fillRect/>
                </a:stretch>
              </p:blipFill>
              <p:spPr>
                <a:xfrm>
                  <a:off x="6358057" y="415939"/>
                  <a:ext cx="119250" cy="336773"/>
                </a:xfrm>
                <a:prstGeom prst="rect">
                  <a:avLst/>
                </a:prstGeom>
              </p:spPr>
            </p:pic>
          </mc:Fallback>
        </mc:AlternateContent>
        <mc:AlternateContent xmlns:mc="http://schemas.openxmlformats.org/markup-compatibility/2006" xmlns:p14="http://schemas.microsoft.com/office/powerpoint/2010/main">
          <mc:Choice Requires="p14">
            <p:contentPart p14:bwMode="auto" r:id="rId176">
              <p14:nvContentPartPr>
                <p14:cNvPr id="117" name="Ink 116">
                  <a:extLst>
                    <a:ext uri="{FF2B5EF4-FFF2-40B4-BE49-F238E27FC236}">
                      <a16:creationId xmlns:a16="http://schemas.microsoft.com/office/drawing/2014/main" id="{6855FD02-8D90-4D98-8811-BFA22DF46228}"/>
                    </a:ext>
                  </a:extLst>
                </p14:cNvPr>
                <p14:cNvContentPartPr/>
                <p14:nvPr/>
              </p14:nvContentPartPr>
              <p14:xfrm>
                <a:off x="6581122" y="192106"/>
                <a:ext cx="134280" cy="387720"/>
              </p14:xfrm>
            </p:contentPart>
          </mc:Choice>
          <mc:Fallback xmlns="">
            <p:pic>
              <p:nvPicPr>
                <p:cNvPr id="117" name="Ink 116">
                  <a:extLst>
                    <a:ext uri="{FF2B5EF4-FFF2-40B4-BE49-F238E27FC236}">
                      <a16:creationId xmlns:a16="http://schemas.microsoft.com/office/drawing/2014/main" id="{6855FD02-8D90-4D98-8811-BFA22DF46228}"/>
                    </a:ext>
                  </a:extLst>
                </p:cNvPr>
                <p:cNvPicPr/>
                <p:nvPr/>
              </p:nvPicPr>
              <p:blipFill>
                <a:blip r:embed="rId177"/>
                <a:stretch>
                  <a:fillRect/>
                </a:stretch>
              </p:blipFill>
              <p:spPr>
                <a:xfrm>
                  <a:off x="6566453" y="175471"/>
                  <a:ext cx="163618" cy="420990"/>
                </a:xfrm>
                <a:prstGeom prst="rect">
                  <a:avLst/>
                </a:prstGeom>
              </p:spPr>
            </p:pic>
          </mc:Fallback>
        </mc:AlternateContent>
        <mc:AlternateContent xmlns:mc="http://schemas.openxmlformats.org/markup-compatibility/2006" xmlns:p14="http://schemas.microsoft.com/office/powerpoint/2010/main">
          <mc:Choice Requires="p14">
            <p:contentPart p14:bwMode="auto" r:id="rId178">
              <p14:nvContentPartPr>
                <p14:cNvPr id="118" name="Ink 117">
                  <a:extLst>
                    <a:ext uri="{FF2B5EF4-FFF2-40B4-BE49-F238E27FC236}">
                      <a16:creationId xmlns:a16="http://schemas.microsoft.com/office/drawing/2014/main" id="{47AC82DC-3A11-4715-BCB4-2690327F2D85}"/>
                    </a:ext>
                  </a:extLst>
                </p14:cNvPr>
                <p14:cNvContentPartPr/>
                <p14:nvPr/>
              </p14:nvContentPartPr>
              <p14:xfrm>
                <a:off x="6751762" y="380026"/>
                <a:ext cx="136440" cy="159480"/>
              </p14:xfrm>
            </p:contentPart>
          </mc:Choice>
          <mc:Fallback xmlns="">
            <p:pic>
              <p:nvPicPr>
                <p:cNvPr id="118" name="Ink 117">
                  <a:extLst>
                    <a:ext uri="{FF2B5EF4-FFF2-40B4-BE49-F238E27FC236}">
                      <a16:creationId xmlns:a16="http://schemas.microsoft.com/office/drawing/2014/main" id="{47AC82DC-3A11-4715-BCB4-2690327F2D85}"/>
                    </a:ext>
                  </a:extLst>
                </p:cNvPr>
                <p:cNvPicPr/>
                <p:nvPr/>
              </p:nvPicPr>
              <p:blipFill>
                <a:blip r:embed="rId179"/>
                <a:stretch>
                  <a:fillRect/>
                </a:stretch>
              </p:blipFill>
              <p:spPr>
                <a:xfrm>
                  <a:off x="6737042" y="363373"/>
                  <a:ext cx="165879" cy="192785"/>
                </a:xfrm>
                <a:prstGeom prst="rect">
                  <a:avLst/>
                </a:prstGeom>
              </p:spPr>
            </p:pic>
          </mc:Fallback>
        </mc:AlternateContent>
        <mc:AlternateContent xmlns:mc="http://schemas.openxmlformats.org/markup-compatibility/2006" xmlns:p14="http://schemas.microsoft.com/office/powerpoint/2010/main">
          <mc:Choice Requires="p14">
            <p:contentPart p14:bwMode="auto" r:id="rId180">
              <p14:nvContentPartPr>
                <p14:cNvPr id="119" name="Ink 118">
                  <a:extLst>
                    <a:ext uri="{FF2B5EF4-FFF2-40B4-BE49-F238E27FC236}">
                      <a16:creationId xmlns:a16="http://schemas.microsoft.com/office/drawing/2014/main" id="{A909F928-B69C-417E-B40A-F08028268488}"/>
                    </a:ext>
                  </a:extLst>
                </p14:cNvPr>
                <p14:cNvContentPartPr/>
                <p14:nvPr/>
              </p14:nvContentPartPr>
              <p14:xfrm>
                <a:off x="6992602" y="391186"/>
                <a:ext cx="106200" cy="131040"/>
              </p14:xfrm>
            </p:contentPart>
          </mc:Choice>
          <mc:Fallback xmlns="">
            <p:pic>
              <p:nvPicPr>
                <p:cNvPr id="119" name="Ink 118">
                  <a:extLst>
                    <a:ext uri="{FF2B5EF4-FFF2-40B4-BE49-F238E27FC236}">
                      <a16:creationId xmlns:a16="http://schemas.microsoft.com/office/drawing/2014/main" id="{A909F928-B69C-417E-B40A-F08028268488}"/>
                    </a:ext>
                  </a:extLst>
                </p:cNvPr>
                <p:cNvPicPr/>
                <p:nvPr/>
              </p:nvPicPr>
              <p:blipFill>
                <a:blip r:embed="rId181"/>
                <a:stretch>
                  <a:fillRect/>
                </a:stretch>
              </p:blipFill>
              <p:spPr>
                <a:xfrm>
                  <a:off x="6977915" y="374566"/>
                  <a:ext cx="135574" cy="164279"/>
                </a:xfrm>
                <a:prstGeom prst="rect">
                  <a:avLst/>
                </a:prstGeom>
              </p:spPr>
            </p:pic>
          </mc:Fallback>
        </mc:AlternateContent>
        <mc:AlternateContent xmlns:mc="http://schemas.openxmlformats.org/markup-compatibility/2006" xmlns:p14="http://schemas.microsoft.com/office/powerpoint/2010/main">
          <mc:Choice Requires="p14">
            <p:contentPart p14:bwMode="auto" r:id="rId182">
              <p14:nvContentPartPr>
                <p14:cNvPr id="120" name="Ink 119">
                  <a:extLst>
                    <a:ext uri="{FF2B5EF4-FFF2-40B4-BE49-F238E27FC236}">
                      <a16:creationId xmlns:a16="http://schemas.microsoft.com/office/drawing/2014/main" id="{8D3649C5-31E7-453E-9B30-27EC7547F89B}"/>
                    </a:ext>
                  </a:extLst>
                </p14:cNvPr>
                <p14:cNvContentPartPr/>
                <p14:nvPr/>
              </p14:nvContentPartPr>
              <p14:xfrm>
                <a:off x="7187722" y="337906"/>
                <a:ext cx="104400" cy="170280"/>
              </p14:xfrm>
            </p:contentPart>
          </mc:Choice>
          <mc:Fallback xmlns="">
            <p:pic>
              <p:nvPicPr>
                <p:cNvPr id="120" name="Ink 119">
                  <a:extLst>
                    <a:ext uri="{FF2B5EF4-FFF2-40B4-BE49-F238E27FC236}">
                      <a16:creationId xmlns:a16="http://schemas.microsoft.com/office/drawing/2014/main" id="{8D3649C5-31E7-453E-9B30-27EC7547F89B}"/>
                    </a:ext>
                  </a:extLst>
                </p:cNvPr>
                <p:cNvPicPr/>
                <p:nvPr/>
              </p:nvPicPr>
              <p:blipFill>
                <a:blip r:embed="rId183"/>
                <a:stretch>
                  <a:fillRect/>
                </a:stretch>
              </p:blipFill>
              <p:spPr>
                <a:xfrm>
                  <a:off x="7172970" y="321262"/>
                  <a:ext cx="133904" cy="203568"/>
                </a:xfrm>
                <a:prstGeom prst="rect">
                  <a:avLst/>
                </a:prstGeom>
              </p:spPr>
            </p:pic>
          </mc:Fallback>
        </mc:AlternateContent>
        <mc:AlternateContent xmlns:mc="http://schemas.openxmlformats.org/markup-compatibility/2006" xmlns:p14="http://schemas.microsoft.com/office/powerpoint/2010/main">
          <mc:Choice Requires="p14">
            <p:contentPart p14:bwMode="auto" r:id="rId184">
              <p14:nvContentPartPr>
                <p14:cNvPr id="121" name="Ink 120">
                  <a:extLst>
                    <a:ext uri="{FF2B5EF4-FFF2-40B4-BE49-F238E27FC236}">
                      <a16:creationId xmlns:a16="http://schemas.microsoft.com/office/drawing/2014/main" id="{F8D2BA1F-F8B6-4727-8DEB-6088A271D130}"/>
                    </a:ext>
                  </a:extLst>
                </p14:cNvPr>
                <p14:cNvContentPartPr/>
                <p14:nvPr/>
              </p14:nvContentPartPr>
              <p14:xfrm>
                <a:off x="7356922" y="298306"/>
                <a:ext cx="17640" cy="236160"/>
              </p14:xfrm>
            </p:contentPart>
          </mc:Choice>
          <mc:Fallback xmlns="">
            <p:pic>
              <p:nvPicPr>
                <p:cNvPr id="121" name="Ink 120">
                  <a:extLst>
                    <a:ext uri="{FF2B5EF4-FFF2-40B4-BE49-F238E27FC236}">
                      <a16:creationId xmlns:a16="http://schemas.microsoft.com/office/drawing/2014/main" id="{F8D2BA1F-F8B6-4727-8DEB-6088A271D130}"/>
                    </a:ext>
                  </a:extLst>
                </p:cNvPr>
                <p:cNvPicPr/>
                <p:nvPr/>
              </p:nvPicPr>
              <p:blipFill>
                <a:blip r:embed="rId185"/>
                <a:stretch>
                  <a:fillRect/>
                </a:stretch>
              </p:blipFill>
              <p:spPr>
                <a:xfrm>
                  <a:off x="7342589" y="281666"/>
                  <a:ext cx="46305" cy="269440"/>
                </a:xfrm>
                <a:prstGeom prst="rect">
                  <a:avLst/>
                </a:prstGeom>
              </p:spPr>
            </p:pic>
          </mc:Fallback>
        </mc:AlternateContent>
        <mc:AlternateContent xmlns:mc="http://schemas.openxmlformats.org/markup-compatibility/2006" xmlns:p14="http://schemas.microsoft.com/office/powerpoint/2010/main">
          <mc:Choice Requires="p14">
            <p:contentPart p14:bwMode="auto" r:id="rId186">
              <p14:nvContentPartPr>
                <p14:cNvPr id="122" name="Ink 121">
                  <a:extLst>
                    <a:ext uri="{FF2B5EF4-FFF2-40B4-BE49-F238E27FC236}">
                      <a16:creationId xmlns:a16="http://schemas.microsoft.com/office/drawing/2014/main" id="{DB36A4B4-BD6B-4C3E-AEAC-CDFAB727ED54}"/>
                    </a:ext>
                  </a:extLst>
                </p14:cNvPr>
                <p14:cNvContentPartPr/>
                <p14:nvPr/>
              </p14:nvContentPartPr>
              <p14:xfrm>
                <a:off x="7470682" y="414586"/>
                <a:ext cx="151920" cy="119880"/>
              </p14:xfrm>
            </p:contentPart>
          </mc:Choice>
          <mc:Fallback xmlns="">
            <p:pic>
              <p:nvPicPr>
                <p:cNvPr id="122" name="Ink 121">
                  <a:extLst>
                    <a:ext uri="{FF2B5EF4-FFF2-40B4-BE49-F238E27FC236}">
                      <a16:creationId xmlns:a16="http://schemas.microsoft.com/office/drawing/2014/main" id="{DB36A4B4-BD6B-4C3E-AEAC-CDFAB727ED54}"/>
                    </a:ext>
                  </a:extLst>
                </p:cNvPr>
                <p:cNvPicPr/>
                <p:nvPr/>
              </p:nvPicPr>
              <p:blipFill>
                <a:blip r:embed="rId187"/>
                <a:stretch>
                  <a:fillRect/>
                </a:stretch>
              </p:blipFill>
              <p:spPr>
                <a:xfrm>
                  <a:off x="7455998" y="398007"/>
                  <a:ext cx="181287" cy="153038"/>
                </a:xfrm>
                <a:prstGeom prst="rect">
                  <a:avLst/>
                </a:prstGeom>
              </p:spPr>
            </p:pic>
          </mc:Fallback>
        </mc:AlternateContent>
        <mc:AlternateContent xmlns:mc="http://schemas.openxmlformats.org/markup-compatibility/2006" xmlns:p14="http://schemas.microsoft.com/office/powerpoint/2010/main">
          <mc:Choice Requires="p14">
            <p:contentPart p14:bwMode="auto" r:id="rId188">
              <p14:nvContentPartPr>
                <p14:cNvPr id="123" name="Ink 122">
                  <a:extLst>
                    <a:ext uri="{FF2B5EF4-FFF2-40B4-BE49-F238E27FC236}">
                      <a16:creationId xmlns:a16="http://schemas.microsoft.com/office/drawing/2014/main" id="{35483BDA-F975-43DB-9589-BF60B1BDDE97}"/>
                    </a:ext>
                  </a:extLst>
                </p14:cNvPr>
                <p14:cNvContentPartPr/>
                <p14:nvPr/>
              </p14:nvContentPartPr>
              <p14:xfrm>
                <a:off x="7496602" y="353026"/>
                <a:ext cx="200520" cy="420480"/>
              </p14:xfrm>
            </p:contentPart>
          </mc:Choice>
          <mc:Fallback xmlns="">
            <p:pic>
              <p:nvPicPr>
                <p:cNvPr id="123" name="Ink 122">
                  <a:extLst>
                    <a:ext uri="{FF2B5EF4-FFF2-40B4-BE49-F238E27FC236}">
                      <a16:creationId xmlns:a16="http://schemas.microsoft.com/office/drawing/2014/main" id="{35483BDA-F975-43DB-9589-BF60B1BDDE97}"/>
                    </a:ext>
                  </a:extLst>
                </p:cNvPr>
                <p:cNvPicPr/>
                <p:nvPr/>
              </p:nvPicPr>
              <p:blipFill>
                <a:blip r:embed="rId189"/>
                <a:stretch>
                  <a:fillRect/>
                </a:stretch>
              </p:blipFill>
              <p:spPr>
                <a:xfrm>
                  <a:off x="7481875" y="336386"/>
                  <a:ext cx="229975" cy="453760"/>
                </a:xfrm>
                <a:prstGeom prst="rect">
                  <a:avLst/>
                </a:prstGeom>
              </p:spPr>
            </p:pic>
          </mc:Fallback>
        </mc:AlternateContent>
        <mc:AlternateContent xmlns:mc="http://schemas.openxmlformats.org/markup-compatibility/2006" xmlns:p14="http://schemas.microsoft.com/office/powerpoint/2010/main">
          <mc:Choice Requires="p14">
            <p:contentPart p14:bwMode="auto" r:id="rId190">
              <p14:nvContentPartPr>
                <p14:cNvPr id="124" name="Ink 123">
                  <a:extLst>
                    <a:ext uri="{FF2B5EF4-FFF2-40B4-BE49-F238E27FC236}">
                      <a16:creationId xmlns:a16="http://schemas.microsoft.com/office/drawing/2014/main" id="{A5185388-3DCF-4D3E-8E41-48B4064355C7}"/>
                    </a:ext>
                  </a:extLst>
                </p14:cNvPr>
                <p14:cNvContentPartPr/>
                <p14:nvPr/>
              </p14:nvContentPartPr>
              <p14:xfrm>
                <a:off x="6991522" y="291826"/>
                <a:ext cx="134640" cy="183600"/>
              </p14:xfrm>
            </p:contentPart>
          </mc:Choice>
          <mc:Fallback xmlns="">
            <p:pic>
              <p:nvPicPr>
                <p:cNvPr id="124" name="Ink 123">
                  <a:extLst>
                    <a:ext uri="{FF2B5EF4-FFF2-40B4-BE49-F238E27FC236}">
                      <a16:creationId xmlns:a16="http://schemas.microsoft.com/office/drawing/2014/main" id="{A5185388-3DCF-4D3E-8E41-48B4064355C7}"/>
                    </a:ext>
                  </a:extLst>
                </p:cNvPr>
                <p:cNvPicPr/>
                <p:nvPr/>
              </p:nvPicPr>
              <p:blipFill>
                <a:blip r:embed="rId191"/>
                <a:stretch>
                  <a:fillRect/>
                </a:stretch>
              </p:blipFill>
              <p:spPr>
                <a:xfrm>
                  <a:off x="6976875" y="275135"/>
                  <a:ext cx="163934" cy="216982"/>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92">
            <p14:nvContentPartPr>
              <p14:cNvPr id="125" name="Ink 124">
                <a:extLst>
                  <a:ext uri="{FF2B5EF4-FFF2-40B4-BE49-F238E27FC236}">
                    <a16:creationId xmlns:a16="http://schemas.microsoft.com/office/drawing/2014/main" id="{5D4F1D61-7BB6-4DB4-AD68-B8C448A19C20}"/>
                  </a:ext>
                </a:extLst>
              </p14:cNvPr>
              <p14:cNvContentPartPr/>
              <p14:nvPr/>
            </p14:nvContentPartPr>
            <p14:xfrm>
              <a:off x="4498260" y="5025809"/>
              <a:ext cx="368556" cy="360"/>
            </p14:xfrm>
          </p:contentPart>
        </mc:Choice>
        <mc:Fallback xmlns="">
          <p:pic>
            <p:nvPicPr>
              <p:cNvPr id="125" name="Ink 124">
                <a:extLst>
                  <a:ext uri="{FF2B5EF4-FFF2-40B4-BE49-F238E27FC236}">
                    <a16:creationId xmlns:a16="http://schemas.microsoft.com/office/drawing/2014/main" id="{5D4F1D61-7BB6-4DB4-AD68-B8C448A19C20}"/>
                  </a:ext>
                </a:extLst>
              </p:cNvPr>
              <p:cNvPicPr/>
              <p:nvPr/>
            </p:nvPicPr>
            <p:blipFill>
              <a:blip r:embed="rId10"/>
              <a:stretch>
                <a:fillRect/>
              </a:stretch>
            </p:blipFill>
            <p:spPr>
              <a:xfrm>
                <a:off x="4480264" y="5007809"/>
                <a:ext cx="404188"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93">
            <p14:nvContentPartPr>
              <p14:cNvPr id="126" name="Ink 125">
                <a:extLst>
                  <a:ext uri="{FF2B5EF4-FFF2-40B4-BE49-F238E27FC236}">
                    <a16:creationId xmlns:a16="http://schemas.microsoft.com/office/drawing/2014/main" id="{3CF4CAAF-F41E-4CF8-96CE-1262AF3F9466}"/>
                  </a:ext>
                </a:extLst>
              </p14:cNvPr>
              <p14:cNvContentPartPr/>
              <p14:nvPr/>
            </p14:nvContentPartPr>
            <p14:xfrm>
              <a:off x="2495452" y="5246481"/>
              <a:ext cx="1276447" cy="360"/>
            </p14:xfrm>
          </p:contentPart>
        </mc:Choice>
        <mc:Fallback xmlns="">
          <p:pic>
            <p:nvPicPr>
              <p:cNvPr id="126" name="Ink 125">
                <a:extLst>
                  <a:ext uri="{FF2B5EF4-FFF2-40B4-BE49-F238E27FC236}">
                    <a16:creationId xmlns:a16="http://schemas.microsoft.com/office/drawing/2014/main" id="{3CF4CAAF-F41E-4CF8-96CE-1262AF3F9466}"/>
                  </a:ext>
                </a:extLst>
              </p:cNvPr>
              <p:cNvPicPr/>
              <p:nvPr/>
            </p:nvPicPr>
            <p:blipFill>
              <a:blip r:embed="rId194"/>
              <a:stretch>
                <a:fillRect/>
              </a:stretch>
            </p:blipFill>
            <p:spPr>
              <a:xfrm>
                <a:off x="2477438" y="5228481"/>
                <a:ext cx="1312114"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95">
            <p14:nvContentPartPr>
              <p14:cNvPr id="127" name="Ink 126">
                <a:extLst>
                  <a:ext uri="{FF2B5EF4-FFF2-40B4-BE49-F238E27FC236}">
                    <a16:creationId xmlns:a16="http://schemas.microsoft.com/office/drawing/2014/main" id="{D935B8F9-682E-4192-8840-FAA28632A7C6}"/>
                  </a:ext>
                </a:extLst>
              </p14:cNvPr>
              <p14:cNvContentPartPr/>
              <p14:nvPr/>
            </p14:nvContentPartPr>
            <p14:xfrm>
              <a:off x="2498376" y="4049335"/>
              <a:ext cx="711168" cy="360"/>
            </p14:xfrm>
          </p:contentPart>
        </mc:Choice>
        <mc:Fallback xmlns="">
          <p:pic>
            <p:nvPicPr>
              <p:cNvPr id="127" name="Ink 126">
                <a:extLst>
                  <a:ext uri="{FF2B5EF4-FFF2-40B4-BE49-F238E27FC236}">
                    <a16:creationId xmlns:a16="http://schemas.microsoft.com/office/drawing/2014/main" id="{D935B8F9-682E-4192-8840-FAA28632A7C6}"/>
                  </a:ext>
                </a:extLst>
              </p:cNvPr>
              <p:cNvPicPr/>
              <p:nvPr/>
            </p:nvPicPr>
            <p:blipFill>
              <a:blip r:embed="rId196"/>
              <a:stretch>
                <a:fillRect/>
              </a:stretch>
            </p:blipFill>
            <p:spPr>
              <a:xfrm>
                <a:off x="2480372" y="4031335"/>
                <a:ext cx="746816" cy="36000"/>
              </a:xfrm>
              <a:prstGeom prst="rect">
                <a:avLst/>
              </a:prstGeom>
            </p:spPr>
          </p:pic>
        </mc:Fallback>
      </mc:AlternateContent>
      <p:sp>
        <p:nvSpPr>
          <p:cNvPr id="128" name="Rechteck 5">
            <a:extLst>
              <a:ext uri="{FF2B5EF4-FFF2-40B4-BE49-F238E27FC236}">
                <a16:creationId xmlns:a16="http://schemas.microsoft.com/office/drawing/2014/main" id="{C78E210D-A15F-48A8-A532-5692195B9C3E}"/>
              </a:ext>
            </a:extLst>
          </p:cNvPr>
          <p:cNvSpPr/>
          <p:nvPr/>
        </p:nvSpPr>
        <p:spPr bwMode="gray">
          <a:xfrm>
            <a:off x="8183898" y="999494"/>
            <a:ext cx="1357445" cy="450157"/>
          </a:xfrm>
          <a:prstGeom prst="rect">
            <a:avLst/>
          </a:prstGeom>
          <a:solidFill>
            <a:srgbClr val="624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Arial"/>
                <a:cs typeface="Arial"/>
              </a:rPr>
              <a:t>MedDRA</a:t>
            </a:r>
          </a:p>
        </p:txBody>
      </p:sp>
      <p:cxnSp>
        <p:nvCxnSpPr>
          <p:cNvPr id="129" name="Straight Arrow Connector 128">
            <a:extLst>
              <a:ext uri="{FF2B5EF4-FFF2-40B4-BE49-F238E27FC236}">
                <a16:creationId xmlns:a16="http://schemas.microsoft.com/office/drawing/2014/main" id="{C4F70271-CAFA-437D-A023-9A8B37C9B469}"/>
              </a:ext>
            </a:extLst>
          </p:cNvPr>
          <p:cNvCxnSpPr>
            <a:cxnSpLocks/>
            <a:endCxn id="128" idx="2"/>
          </p:cNvCxnSpPr>
          <p:nvPr/>
        </p:nvCxnSpPr>
        <p:spPr bwMode="gray">
          <a:xfrm flipV="1">
            <a:off x="6903648" y="1449651"/>
            <a:ext cx="1958973" cy="4287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0" name="Straight Arrow Connector 129">
            <a:extLst>
              <a:ext uri="{FF2B5EF4-FFF2-40B4-BE49-F238E27FC236}">
                <a16:creationId xmlns:a16="http://schemas.microsoft.com/office/drawing/2014/main" id="{3BA0CCAE-72EF-402E-B284-DB0784B0B025}"/>
              </a:ext>
            </a:extLst>
          </p:cNvPr>
          <p:cNvCxnSpPr>
            <a:cxnSpLocks/>
            <a:endCxn id="128" idx="2"/>
          </p:cNvCxnSpPr>
          <p:nvPr/>
        </p:nvCxnSpPr>
        <p:spPr bwMode="gray">
          <a:xfrm flipH="1" flipV="1">
            <a:off x="8862621" y="1449651"/>
            <a:ext cx="298155" cy="4774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132" name="Table 2">
            <a:extLst>
              <a:ext uri="{FF2B5EF4-FFF2-40B4-BE49-F238E27FC236}">
                <a16:creationId xmlns:a16="http://schemas.microsoft.com/office/drawing/2014/main" id="{5D9F3FEE-9FB2-4774-8E98-9E8D60D2A634}"/>
              </a:ext>
            </a:extLst>
          </p:cNvPr>
          <p:cNvGraphicFramePr>
            <a:graphicFrameLocks noGrp="1"/>
          </p:cNvGraphicFramePr>
          <p:nvPr>
            <p:extLst>
              <p:ext uri="{D42A27DB-BD31-4B8C-83A1-F6EECF244321}">
                <p14:modId xmlns:p14="http://schemas.microsoft.com/office/powerpoint/2010/main" val="3849220383"/>
              </p:ext>
            </p:extLst>
          </p:nvPr>
        </p:nvGraphicFramePr>
        <p:xfrm>
          <a:off x="-1" y="3987"/>
          <a:ext cx="12190412" cy="370840"/>
        </p:xfrm>
        <a:graphic>
          <a:graphicData uri="http://schemas.openxmlformats.org/drawingml/2006/table">
            <a:tbl>
              <a:tblPr firstRow="1" bandRow="1">
                <a:tableStyleId>{5C22544A-7EE6-4342-B048-85BDC9FD1C3A}</a:tableStyleId>
              </a:tblPr>
              <a:tblGrid>
                <a:gridCol w="3047603">
                  <a:extLst>
                    <a:ext uri="{9D8B030D-6E8A-4147-A177-3AD203B41FA5}">
                      <a16:colId xmlns:a16="http://schemas.microsoft.com/office/drawing/2014/main" val="4293867470"/>
                    </a:ext>
                  </a:extLst>
                </a:gridCol>
                <a:gridCol w="3047603">
                  <a:extLst>
                    <a:ext uri="{9D8B030D-6E8A-4147-A177-3AD203B41FA5}">
                      <a16:colId xmlns:a16="http://schemas.microsoft.com/office/drawing/2014/main" val="2122758113"/>
                    </a:ext>
                  </a:extLst>
                </a:gridCol>
                <a:gridCol w="3047603">
                  <a:extLst>
                    <a:ext uri="{9D8B030D-6E8A-4147-A177-3AD203B41FA5}">
                      <a16:colId xmlns:a16="http://schemas.microsoft.com/office/drawing/2014/main" val="3843830614"/>
                    </a:ext>
                  </a:extLst>
                </a:gridCol>
                <a:gridCol w="3047603">
                  <a:extLst>
                    <a:ext uri="{9D8B030D-6E8A-4147-A177-3AD203B41FA5}">
                      <a16:colId xmlns:a16="http://schemas.microsoft.com/office/drawing/2014/main" val="3292150729"/>
                    </a:ext>
                  </a:extLst>
                </a:gridCol>
              </a:tblGrid>
              <a:tr h="370840">
                <a:tc>
                  <a:txBody>
                    <a:bodyPr/>
                    <a:lstStyle/>
                    <a:p>
                      <a:pPr algn="ctr"/>
                      <a:r>
                        <a:rPr lang="en-US"/>
                        <a:t>Case 1</a:t>
                      </a:r>
                    </a:p>
                  </a:txBody>
                  <a:tcPr>
                    <a:solidFill>
                      <a:schemeClr val="bg2"/>
                    </a:solidFill>
                  </a:tcPr>
                </a:tc>
                <a:tc>
                  <a:txBody>
                    <a:bodyPr/>
                    <a:lstStyle/>
                    <a:p>
                      <a:pPr algn="ctr"/>
                      <a:r>
                        <a:rPr lang="en-US"/>
                        <a:t>Case 2</a:t>
                      </a:r>
                    </a:p>
                  </a:txBody>
                  <a:tcPr>
                    <a:solidFill>
                      <a:schemeClr val="bg2">
                        <a:lumMod val="20000"/>
                        <a:lumOff val="80000"/>
                      </a:schemeClr>
                    </a:solidFill>
                  </a:tcPr>
                </a:tc>
                <a:tc>
                  <a:txBody>
                    <a:bodyPr/>
                    <a:lstStyle/>
                    <a:p>
                      <a:pPr algn="ctr"/>
                      <a:r>
                        <a:rPr lang="en-US"/>
                        <a:t>Case 3</a:t>
                      </a:r>
                    </a:p>
                  </a:txBody>
                  <a:tcPr>
                    <a:solidFill>
                      <a:schemeClr val="bg2">
                        <a:lumMod val="20000"/>
                        <a:lumOff val="80000"/>
                      </a:schemeClr>
                    </a:solidFill>
                  </a:tcPr>
                </a:tc>
                <a:tc>
                  <a:txBody>
                    <a:bodyPr/>
                    <a:lstStyle/>
                    <a:p>
                      <a:pPr algn="ctr"/>
                      <a:r>
                        <a:rPr lang="en-US"/>
                        <a:t>Case 4</a:t>
                      </a:r>
                    </a:p>
                  </a:txBody>
                  <a:tcPr>
                    <a:solidFill>
                      <a:schemeClr val="bg2">
                        <a:lumMod val="20000"/>
                        <a:lumOff val="80000"/>
                      </a:schemeClr>
                    </a:solidFill>
                  </a:tcPr>
                </a:tc>
                <a:extLst>
                  <a:ext uri="{0D108BD9-81ED-4DB2-BD59-A6C34878D82A}">
                    <a16:rowId xmlns:a16="http://schemas.microsoft.com/office/drawing/2014/main" val="2152829518"/>
                  </a:ext>
                </a:extLst>
              </a:tr>
            </a:tbl>
          </a:graphicData>
        </a:graphic>
      </p:graphicFrame>
    </p:spTree>
    <p:extLst>
      <p:ext uri="{BB962C8B-B14F-4D97-AF65-F5344CB8AC3E}">
        <p14:creationId xmlns:p14="http://schemas.microsoft.com/office/powerpoint/2010/main" val="257812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tertitel 6">
            <a:extLst>
              <a:ext uri="{FF2B5EF4-FFF2-40B4-BE49-F238E27FC236}">
                <a16:creationId xmlns:a16="http://schemas.microsoft.com/office/drawing/2014/main" id="{1A6547CC-0A0F-41D9-8932-5496D2C45E3E}"/>
              </a:ext>
            </a:extLst>
          </p:cNvPr>
          <p:cNvSpPr>
            <a:spLocks noGrp="1"/>
          </p:cNvSpPr>
          <p:nvPr>
            <p:ph type="subTitle" idx="13"/>
          </p:nvPr>
        </p:nvSpPr>
        <p:spPr/>
        <p:txBody>
          <a:bodyPr>
            <a:normAutofit fontScale="92500" lnSpcReduction="10000"/>
          </a:bodyPr>
          <a:lstStyle/>
          <a:p>
            <a:r>
              <a:rPr lang="en-US"/>
              <a:t>Resource: go/</a:t>
            </a:r>
            <a:r>
              <a:rPr lang="en-US" err="1"/>
              <a:t>dimi</a:t>
            </a:r>
            <a:endParaRPr lang="en-US"/>
          </a:p>
        </p:txBody>
      </p:sp>
      <p:sp>
        <p:nvSpPr>
          <p:cNvPr id="6" name="Titel 5">
            <a:extLst>
              <a:ext uri="{FF2B5EF4-FFF2-40B4-BE49-F238E27FC236}">
                <a16:creationId xmlns:a16="http://schemas.microsoft.com/office/drawing/2014/main" id="{FE4E94F6-DC23-4C8A-813D-50707AD66BDA}"/>
              </a:ext>
            </a:extLst>
          </p:cNvPr>
          <p:cNvSpPr>
            <a:spLocks noGrp="1"/>
          </p:cNvSpPr>
          <p:nvPr>
            <p:ph type="title"/>
          </p:nvPr>
        </p:nvSpPr>
        <p:spPr/>
        <p:txBody>
          <a:bodyPr/>
          <a:lstStyle/>
          <a:p>
            <a:r>
              <a:rPr lang="en-US" err="1"/>
              <a:t>DiMi</a:t>
            </a:r>
            <a:r>
              <a:rPr lang="en-US"/>
              <a:t> # Insights generation @Medical#</a:t>
            </a:r>
            <a:endParaRPr lang="de-DE"/>
          </a:p>
        </p:txBody>
      </p:sp>
      <p:sp>
        <p:nvSpPr>
          <p:cNvPr id="4" name="Fußzeilenplatzhalter 3">
            <a:extLst>
              <a:ext uri="{FF2B5EF4-FFF2-40B4-BE49-F238E27FC236}">
                <a16:creationId xmlns:a16="http://schemas.microsoft.com/office/drawing/2014/main" id="{7DCB4262-A3C0-4DF6-9256-2973460CFF60}"/>
              </a:ext>
            </a:extLst>
          </p:cNvPr>
          <p:cNvSpPr>
            <a:spLocks noGrp="1"/>
          </p:cNvSpPr>
          <p:nvPr>
            <p:ph type="ftr" sz="quarter" idx="11"/>
          </p:nvPr>
        </p:nvSpPr>
        <p:spPr/>
        <p:txBody>
          <a:bodyPr/>
          <a:lstStyle/>
          <a:p>
            <a:r>
              <a:rPr lang="en-US"/>
              <a:t>/// Advanced Analytics and Digital Transformation /// NLP session /// March 2022</a:t>
            </a:r>
          </a:p>
        </p:txBody>
      </p:sp>
      <p:sp>
        <p:nvSpPr>
          <p:cNvPr id="5" name="Foliennummernplatzhalter 4">
            <a:extLst>
              <a:ext uri="{FF2B5EF4-FFF2-40B4-BE49-F238E27FC236}">
                <a16:creationId xmlns:a16="http://schemas.microsoft.com/office/drawing/2014/main" id="{4FE8486C-B1C4-44E4-9A7F-DF6E7FF01330}"/>
              </a:ext>
            </a:extLst>
          </p:cNvPr>
          <p:cNvSpPr>
            <a:spLocks noGrp="1"/>
          </p:cNvSpPr>
          <p:nvPr>
            <p:ph type="sldNum" sz="quarter" idx="12"/>
          </p:nvPr>
        </p:nvSpPr>
        <p:spPr/>
        <p:txBody>
          <a:bodyPr/>
          <a:lstStyle/>
          <a:p>
            <a:fld id="{EEAD9179-7A6B-4268-BEB2-F3B8EB06115B}" type="slidenum">
              <a:rPr lang="en-US" smtClean="0"/>
              <a:pPr/>
              <a:t>22</a:t>
            </a:fld>
            <a:endParaRPr lang="en-US"/>
          </a:p>
        </p:txBody>
      </p:sp>
      <p:sp>
        <p:nvSpPr>
          <p:cNvPr id="10" name="TextBox 9">
            <a:extLst>
              <a:ext uri="{FF2B5EF4-FFF2-40B4-BE49-F238E27FC236}">
                <a16:creationId xmlns:a16="http://schemas.microsoft.com/office/drawing/2014/main" id="{EEF26E3E-E671-4611-8736-6985E9510B1F}"/>
              </a:ext>
            </a:extLst>
          </p:cNvPr>
          <p:cNvSpPr txBox="1"/>
          <p:nvPr/>
        </p:nvSpPr>
        <p:spPr bwMode="gray">
          <a:xfrm>
            <a:off x="987248" y="1488098"/>
            <a:ext cx="4968785"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Project </a:t>
            </a:r>
            <a:r>
              <a:rPr lang="en-US" altLang="zh-CN" b="1">
                <a:solidFill>
                  <a:schemeClr val="accent2"/>
                </a:solidFill>
              </a:rPr>
              <a:t>background</a:t>
            </a:r>
            <a:endParaRPr lang="en-GB" b="1">
              <a:solidFill>
                <a:schemeClr val="accent2"/>
              </a:solidFill>
            </a:endParaRPr>
          </a:p>
        </p:txBody>
      </p:sp>
      <p:cxnSp>
        <p:nvCxnSpPr>
          <p:cNvPr id="11" name="Straight Connector 10">
            <a:extLst>
              <a:ext uri="{FF2B5EF4-FFF2-40B4-BE49-F238E27FC236}">
                <a16:creationId xmlns:a16="http://schemas.microsoft.com/office/drawing/2014/main" id="{3ADC2B12-E58E-4178-8C3D-BD99DA28696E}"/>
              </a:ext>
            </a:extLst>
          </p:cNvPr>
          <p:cNvCxnSpPr>
            <a:cxnSpLocks/>
          </p:cNvCxnSpPr>
          <p:nvPr/>
        </p:nvCxnSpPr>
        <p:spPr bwMode="gray">
          <a:xfrm>
            <a:off x="981821" y="1765097"/>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8403BAD-2793-42B3-A3EF-19DB21B8E114}"/>
              </a:ext>
            </a:extLst>
          </p:cNvPr>
          <p:cNvSpPr txBox="1"/>
          <p:nvPr/>
        </p:nvSpPr>
        <p:spPr bwMode="gray">
          <a:xfrm>
            <a:off x="6824747" y="1488099"/>
            <a:ext cx="5000638"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Technical solution</a:t>
            </a:r>
          </a:p>
        </p:txBody>
      </p:sp>
      <p:cxnSp>
        <p:nvCxnSpPr>
          <p:cNvPr id="13" name="Straight Connector 12">
            <a:extLst>
              <a:ext uri="{FF2B5EF4-FFF2-40B4-BE49-F238E27FC236}">
                <a16:creationId xmlns:a16="http://schemas.microsoft.com/office/drawing/2014/main" id="{14DABF46-6FA6-46EA-BF64-5391FF37C5E8}"/>
              </a:ext>
            </a:extLst>
          </p:cNvPr>
          <p:cNvCxnSpPr>
            <a:cxnSpLocks/>
          </p:cNvCxnSpPr>
          <p:nvPr/>
        </p:nvCxnSpPr>
        <p:spPr bwMode="gray">
          <a:xfrm>
            <a:off x="6824112" y="1765098"/>
            <a:ext cx="500151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315D4EB-DBF7-40ED-A99C-BF74135E2E35}"/>
              </a:ext>
            </a:extLst>
          </p:cNvPr>
          <p:cNvSpPr txBox="1">
            <a:spLocks/>
          </p:cNvSpPr>
          <p:nvPr/>
        </p:nvSpPr>
        <p:spPr>
          <a:xfrm>
            <a:off x="981821" y="2290548"/>
            <a:ext cx="4974212" cy="2076349"/>
          </a:xfrm>
          <a:prstGeom prst="rect">
            <a:avLst/>
          </a:prstGeom>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buBlip>
                <a:blip r:embed="rId2"/>
              </a:buBlip>
            </a:pPr>
            <a:r>
              <a:rPr lang="en-US" sz="1600">
                <a:solidFill>
                  <a:schemeClr val="tx1"/>
                </a:solidFill>
              </a:rPr>
              <a:t>Medical inquiry is unsolicited questions from HCPs, patients and other types of customers related to both Bayer Pharmaceutical and Consumer Health products. </a:t>
            </a:r>
          </a:p>
          <a:p>
            <a:pPr marL="270000" lvl="1" indent="-270000">
              <a:buBlip>
                <a:blip r:embed="rId2"/>
              </a:buBlip>
            </a:pPr>
            <a:r>
              <a:rPr lang="en-US" sz="1600">
                <a:solidFill>
                  <a:schemeClr val="tx1"/>
                </a:solidFill>
              </a:rPr>
              <a:t>It includes Data vs. Competitor Product, Product Quality Inquiries &amp; PTCs, Inquiries from Patients &amp; Caregivers, Clinical Data Requests, Product Availability, Safety Inquiries &amp; AEs, and Inquiries from HCPs.</a:t>
            </a:r>
          </a:p>
        </p:txBody>
      </p:sp>
      <p:sp>
        <p:nvSpPr>
          <p:cNvPr id="15" name="TextBox 14">
            <a:extLst>
              <a:ext uri="{FF2B5EF4-FFF2-40B4-BE49-F238E27FC236}">
                <a16:creationId xmlns:a16="http://schemas.microsoft.com/office/drawing/2014/main" id="{72C8CC0F-80E4-49A4-B22A-7173E558E1B0}"/>
              </a:ext>
            </a:extLst>
          </p:cNvPr>
          <p:cNvSpPr txBox="1"/>
          <p:nvPr/>
        </p:nvSpPr>
        <p:spPr bwMode="gray">
          <a:xfrm>
            <a:off x="981821" y="1923173"/>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What is medical inquiry?</a:t>
            </a:r>
            <a:endParaRPr lang="en-GB" b="1" i="1">
              <a:solidFill>
                <a:schemeClr val="accent2"/>
              </a:solidFill>
            </a:endParaRPr>
          </a:p>
        </p:txBody>
      </p:sp>
      <p:sp>
        <p:nvSpPr>
          <p:cNvPr id="16" name="TextBox 15">
            <a:extLst>
              <a:ext uri="{FF2B5EF4-FFF2-40B4-BE49-F238E27FC236}">
                <a16:creationId xmlns:a16="http://schemas.microsoft.com/office/drawing/2014/main" id="{A807F556-5C1A-409E-81A1-DCF40989CADC}"/>
              </a:ext>
            </a:extLst>
          </p:cNvPr>
          <p:cNvSpPr txBox="1"/>
          <p:nvPr/>
        </p:nvSpPr>
        <p:spPr bwMode="gray">
          <a:xfrm>
            <a:off x="987248" y="4808800"/>
            <a:ext cx="5065472" cy="255665"/>
          </a:xfrm>
          <a:prstGeom prst="rect">
            <a:avLst/>
          </a:prstGeom>
        </p:spPr>
        <p:txBody>
          <a:bodyPr vert="horz" wrap="square" lIns="0" tIns="0" rIns="0" bIns="0" rtlCol="0">
            <a:noAutofit/>
          </a:bodyPr>
          <a:lstStyle>
            <a:defPPr>
              <a:defRPr lang="de-DE"/>
            </a:defPPr>
            <a:lvl1pPr lvl="0" indent="0" defTabSz="914309">
              <a:spcBef>
                <a:spcPts val="1200"/>
              </a:spcBef>
              <a:spcAft>
                <a:spcPts val="600"/>
              </a:spcAft>
              <a:buFont typeface="Arial" panose="020B0604020202020204" pitchFamily="34" charset="0"/>
              <a:buNone/>
              <a:defRPr b="1" i="1">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a:t>Pain point?</a:t>
            </a:r>
          </a:p>
        </p:txBody>
      </p:sp>
      <p:cxnSp>
        <p:nvCxnSpPr>
          <p:cNvPr id="17" name="Straight Connector 16">
            <a:extLst>
              <a:ext uri="{FF2B5EF4-FFF2-40B4-BE49-F238E27FC236}">
                <a16:creationId xmlns:a16="http://schemas.microsoft.com/office/drawing/2014/main" id="{C4FE98A7-79C8-4D55-AC1D-C03A3BA1DB36}"/>
              </a:ext>
            </a:extLst>
          </p:cNvPr>
          <p:cNvCxnSpPr>
            <a:cxnSpLocks/>
          </p:cNvCxnSpPr>
          <p:nvPr/>
        </p:nvCxnSpPr>
        <p:spPr bwMode="gray">
          <a:xfrm>
            <a:off x="6326582" y="1923173"/>
            <a:ext cx="0" cy="456171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9BE536A-D0A6-42D8-AC41-D7E9D470B43E}"/>
              </a:ext>
            </a:extLst>
          </p:cNvPr>
          <p:cNvSpPr txBox="1">
            <a:spLocks/>
          </p:cNvSpPr>
          <p:nvPr/>
        </p:nvSpPr>
        <p:spPr>
          <a:xfrm>
            <a:off x="981821" y="5187991"/>
            <a:ext cx="4974212" cy="1182890"/>
          </a:xfrm>
          <a:prstGeom prst="rect">
            <a:avLst/>
          </a:prstGeom>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buBlip>
                <a:blip r:embed="rId2"/>
              </a:buBlip>
            </a:pPr>
            <a:r>
              <a:rPr lang="en-US" b="1">
                <a:solidFill>
                  <a:srgbClr val="00BCFF"/>
                </a:solidFill>
              </a:rPr>
              <a:t>300,000+</a:t>
            </a:r>
            <a:r>
              <a:rPr lang="en-US" sz="1600">
                <a:solidFill>
                  <a:schemeClr val="tx1"/>
                </a:solidFill>
              </a:rPr>
              <a:t> Pharma and Consumer Health inquiries documented worldwide each year</a:t>
            </a:r>
          </a:p>
          <a:p>
            <a:pPr marL="270000" lvl="1" indent="-270000">
              <a:buBlip>
                <a:blip r:embed="rId2"/>
              </a:buBlip>
            </a:pPr>
            <a:r>
              <a:rPr lang="en-US" sz="1600">
                <a:solidFill>
                  <a:schemeClr val="tx1"/>
                </a:solidFill>
              </a:rPr>
              <a:t>Required </a:t>
            </a:r>
            <a:r>
              <a:rPr lang="en-US" b="1">
                <a:solidFill>
                  <a:srgbClr val="00BCFF"/>
                </a:solidFill>
              </a:rPr>
              <a:t>manual</a:t>
            </a:r>
            <a:r>
              <a:rPr lang="en-US" sz="1600">
                <a:solidFill>
                  <a:schemeClr val="tx1"/>
                </a:solidFill>
              </a:rPr>
              <a:t> review of data via Excel in the past to analyze trends</a:t>
            </a:r>
          </a:p>
        </p:txBody>
      </p:sp>
      <p:sp>
        <p:nvSpPr>
          <p:cNvPr id="19" name="TextBox 18">
            <a:extLst>
              <a:ext uri="{FF2B5EF4-FFF2-40B4-BE49-F238E27FC236}">
                <a16:creationId xmlns:a16="http://schemas.microsoft.com/office/drawing/2014/main" id="{26344829-7DA8-471C-AE6D-D59B2D2F4916}"/>
              </a:ext>
            </a:extLst>
          </p:cNvPr>
          <p:cNvSpPr txBox="1"/>
          <p:nvPr/>
        </p:nvSpPr>
        <p:spPr bwMode="gray">
          <a:xfrm>
            <a:off x="6856090" y="1843848"/>
            <a:ext cx="5065472" cy="189905"/>
          </a:xfrm>
          <a:prstGeom prst="rect">
            <a:avLst/>
          </a:prstGeom>
          <a:solidFill>
            <a:schemeClr val="bg1"/>
          </a:solidFill>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sz="1600" b="1" i="1"/>
              <a:t>Machine translation</a:t>
            </a:r>
            <a:endParaRPr lang="en-GB" sz="1600" b="1" i="1">
              <a:solidFill>
                <a:schemeClr val="accent2"/>
              </a:solidFill>
            </a:endParaRPr>
          </a:p>
        </p:txBody>
      </p:sp>
      <p:sp>
        <p:nvSpPr>
          <p:cNvPr id="21" name="TextBox 20">
            <a:extLst>
              <a:ext uri="{FF2B5EF4-FFF2-40B4-BE49-F238E27FC236}">
                <a16:creationId xmlns:a16="http://schemas.microsoft.com/office/drawing/2014/main" id="{A1188A14-CE4C-4073-928B-3BFE304A6034}"/>
              </a:ext>
            </a:extLst>
          </p:cNvPr>
          <p:cNvSpPr txBox="1">
            <a:spLocks/>
          </p:cNvSpPr>
          <p:nvPr/>
        </p:nvSpPr>
        <p:spPr>
          <a:xfrm>
            <a:off x="6856725" y="2211223"/>
            <a:ext cx="4974212" cy="399899"/>
          </a:xfrm>
          <a:prstGeom prst="rect">
            <a:avLst/>
          </a:prstGeom>
          <a:solidFill>
            <a:schemeClr val="bg1"/>
          </a:solidFill>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buBlip>
                <a:blip r:embed="rId2"/>
              </a:buBlip>
            </a:pPr>
            <a:r>
              <a:rPr lang="en-US" sz="1400">
                <a:solidFill>
                  <a:schemeClr val="tx1"/>
                </a:solidFill>
              </a:rPr>
              <a:t>Transparency across countries; Enhanced collaboration; Increase in operational efficiency</a:t>
            </a:r>
          </a:p>
        </p:txBody>
      </p:sp>
      <p:sp>
        <p:nvSpPr>
          <p:cNvPr id="22" name="TextBox 21">
            <a:extLst>
              <a:ext uri="{FF2B5EF4-FFF2-40B4-BE49-F238E27FC236}">
                <a16:creationId xmlns:a16="http://schemas.microsoft.com/office/drawing/2014/main" id="{0DDA53B3-0E12-4D8D-8BC1-890BAF6E9825}"/>
              </a:ext>
            </a:extLst>
          </p:cNvPr>
          <p:cNvSpPr txBox="1">
            <a:spLocks/>
          </p:cNvSpPr>
          <p:nvPr/>
        </p:nvSpPr>
        <p:spPr>
          <a:xfrm>
            <a:off x="6824112" y="3078104"/>
            <a:ext cx="5066108" cy="805883"/>
          </a:xfrm>
          <a:prstGeom prst="rect">
            <a:avLst/>
          </a:prstGeom>
          <a:solidFill>
            <a:schemeClr val="bg1"/>
          </a:solidFill>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spcAft>
                <a:spcPts val="300"/>
              </a:spcAft>
              <a:buBlip>
                <a:blip r:embed="rId2"/>
              </a:buBlip>
            </a:pPr>
            <a:r>
              <a:rPr lang="en-US" sz="1400">
                <a:solidFill>
                  <a:schemeClr val="tx1"/>
                </a:solidFill>
              </a:rPr>
              <a:t>Launch Preparation;</a:t>
            </a:r>
          </a:p>
          <a:p>
            <a:pPr marL="270000" lvl="1" indent="-270000">
              <a:spcAft>
                <a:spcPts val="300"/>
              </a:spcAft>
              <a:buBlip>
                <a:blip r:embed="rId2"/>
              </a:buBlip>
            </a:pPr>
            <a:r>
              <a:rPr lang="en-US" sz="1400">
                <a:solidFill>
                  <a:schemeClr val="tx1"/>
                </a:solidFill>
              </a:rPr>
              <a:t>Potential to investigate a new indication;</a:t>
            </a:r>
          </a:p>
          <a:p>
            <a:pPr marL="270000" lvl="1" indent="-270000">
              <a:spcAft>
                <a:spcPts val="300"/>
              </a:spcAft>
              <a:buBlip>
                <a:blip r:embed="rId2"/>
              </a:buBlip>
            </a:pPr>
            <a:r>
              <a:rPr lang="en-US" sz="1400">
                <a:solidFill>
                  <a:schemeClr val="tx1"/>
                </a:solidFill>
              </a:rPr>
              <a:t>Identify gaps in educational/patient material development</a:t>
            </a:r>
          </a:p>
        </p:txBody>
      </p:sp>
      <p:sp>
        <p:nvSpPr>
          <p:cNvPr id="23" name="TextBox 22">
            <a:extLst>
              <a:ext uri="{FF2B5EF4-FFF2-40B4-BE49-F238E27FC236}">
                <a16:creationId xmlns:a16="http://schemas.microsoft.com/office/drawing/2014/main" id="{69AC28B4-2B4C-43DF-8696-71DBFB63D191}"/>
              </a:ext>
            </a:extLst>
          </p:cNvPr>
          <p:cNvSpPr txBox="1"/>
          <p:nvPr/>
        </p:nvSpPr>
        <p:spPr bwMode="gray">
          <a:xfrm>
            <a:off x="6824112" y="2714281"/>
            <a:ext cx="5065472" cy="189905"/>
          </a:xfrm>
          <a:prstGeom prst="rect">
            <a:avLst/>
          </a:prstGeom>
          <a:solidFill>
            <a:schemeClr val="bg1"/>
          </a:solidFill>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sz="1600" b="1" i="1"/>
              <a:t>Topic discovery</a:t>
            </a:r>
            <a:endParaRPr lang="en-GB" sz="1600" b="1" i="1">
              <a:solidFill>
                <a:schemeClr val="accent2"/>
              </a:solidFill>
            </a:endParaRPr>
          </a:p>
        </p:txBody>
      </p:sp>
      <p:sp>
        <p:nvSpPr>
          <p:cNvPr id="24" name="TextBox 23">
            <a:extLst>
              <a:ext uri="{FF2B5EF4-FFF2-40B4-BE49-F238E27FC236}">
                <a16:creationId xmlns:a16="http://schemas.microsoft.com/office/drawing/2014/main" id="{018AB698-4277-4D85-BCCA-30A81353C68A}"/>
              </a:ext>
            </a:extLst>
          </p:cNvPr>
          <p:cNvSpPr txBox="1"/>
          <p:nvPr/>
        </p:nvSpPr>
        <p:spPr bwMode="gray">
          <a:xfrm>
            <a:off x="6824748" y="3982925"/>
            <a:ext cx="5065472" cy="189905"/>
          </a:xfrm>
          <a:prstGeom prst="rect">
            <a:avLst/>
          </a:prstGeom>
          <a:solidFill>
            <a:schemeClr val="bg1"/>
          </a:solidFill>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sz="1600" b="1" i="1"/>
              <a:t>Advanced search engine</a:t>
            </a:r>
            <a:endParaRPr lang="en-GB" sz="1600" b="1" i="1">
              <a:solidFill>
                <a:schemeClr val="accent2"/>
              </a:solidFill>
            </a:endParaRPr>
          </a:p>
        </p:txBody>
      </p:sp>
      <p:sp>
        <p:nvSpPr>
          <p:cNvPr id="25" name="TextBox 24">
            <a:extLst>
              <a:ext uri="{FF2B5EF4-FFF2-40B4-BE49-F238E27FC236}">
                <a16:creationId xmlns:a16="http://schemas.microsoft.com/office/drawing/2014/main" id="{9DF0D6CB-33BF-43E6-8F1C-17C8109DF41E}"/>
              </a:ext>
            </a:extLst>
          </p:cNvPr>
          <p:cNvSpPr txBox="1">
            <a:spLocks/>
          </p:cNvSpPr>
          <p:nvPr/>
        </p:nvSpPr>
        <p:spPr>
          <a:xfrm>
            <a:off x="6824748" y="4344111"/>
            <a:ext cx="5167863" cy="520718"/>
          </a:xfrm>
          <a:prstGeom prst="rect">
            <a:avLst/>
          </a:prstGeom>
          <a:solidFill>
            <a:schemeClr val="bg1"/>
          </a:solidFill>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buBlip>
                <a:blip r:embed="rId2"/>
              </a:buBlip>
            </a:pPr>
            <a:r>
              <a:rPr lang="en-US" sz="1400">
                <a:solidFill>
                  <a:schemeClr val="tx1"/>
                </a:solidFill>
              </a:rPr>
              <a:t>Increase in operational efficiency &amp; response timelines for customers; Quick identification of questions of interest </a:t>
            </a:r>
          </a:p>
        </p:txBody>
      </p:sp>
      <p:sp>
        <p:nvSpPr>
          <p:cNvPr id="28" name="TextBox 27">
            <a:extLst>
              <a:ext uri="{FF2B5EF4-FFF2-40B4-BE49-F238E27FC236}">
                <a16:creationId xmlns:a16="http://schemas.microsoft.com/office/drawing/2014/main" id="{4D177D54-7D72-4A8A-9CF5-BEF658B2AFB7}"/>
              </a:ext>
            </a:extLst>
          </p:cNvPr>
          <p:cNvSpPr txBox="1"/>
          <p:nvPr/>
        </p:nvSpPr>
        <p:spPr bwMode="gray">
          <a:xfrm>
            <a:off x="6830299" y="4953232"/>
            <a:ext cx="5000638"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Business value </a:t>
            </a:r>
          </a:p>
        </p:txBody>
      </p:sp>
      <p:cxnSp>
        <p:nvCxnSpPr>
          <p:cNvPr id="29" name="Straight Connector 28">
            <a:extLst>
              <a:ext uri="{FF2B5EF4-FFF2-40B4-BE49-F238E27FC236}">
                <a16:creationId xmlns:a16="http://schemas.microsoft.com/office/drawing/2014/main" id="{06700560-B83C-4458-95B6-F82A4945C99A}"/>
              </a:ext>
            </a:extLst>
          </p:cNvPr>
          <p:cNvCxnSpPr>
            <a:cxnSpLocks/>
          </p:cNvCxnSpPr>
          <p:nvPr/>
        </p:nvCxnSpPr>
        <p:spPr bwMode="gray">
          <a:xfrm>
            <a:off x="6829664" y="5230231"/>
            <a:ext cx="500151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0F54057-94CD-414B-BF95-D74F9D32CE5D}"/>
              </a:ext>
            </a:extLst>
          </p:cNvPr>
          <p:cNvSpPr txBox="1"/>
          <p:nvPr/>
        </p:nvSpPr>
        <p:spPr bwMode="gray">
          <a:xfrm>
            <a:off x="6830299" y="5375757"/>
            <a:ext cx="5379318" cy="1268643"/>
          </a:xfrm>
          <a:prstGeom prst="rect">
            <a:avLst/>
          </a:prstGeom>
          <a:solidFill>
            <a:schemeClr val="bg1"/>
          </a:solidFill>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pPr>
              <a:spcBef>
                <a:spcPts val="600"/>
              </a:spcBef>
              <a:spcAft>
                <a:spcPts val="0"/>
              </a:spcAft>
            </a:pPr>
            <a:r>
              <a:rPr lang="en-GB" sz="1600" b="1" i="1" dirty="0"/>
              <a:t>Making better business decisions</a:t>
            </a:r>
          </a:p>
          <a:p>
            <a:pPr>
              <a:spcBef>
                <a:spcPts val="600"/>
              </a:spcBef>
              <a:spcAft>
                <a:spcPts val="0"/>
              </a:spcAft>
            </a:pPr>
            <a:r>
              <a:rPr lang="en-GB" sz="1600" b="1" i="1" dirty="0"/>
              <a:t>Anticipating market events</a:t>
            </a:r>
          </a:p>
          <a:p>
            <a:pPr>
              <a:spcBef>
                <a:spcPts val="600"/>
              </a:spcBef>
              <a:spcAft>
                <a:spcPts val="0"/>
              </a:spcAft>
            </a:pPr>
            <a:r>
              <a:rPr lang="en-GB" sz="1600" b="1" i="1" dirty="0"/>
              <a:t>Informing standard response strategy</a:t>
            </a:r>
          </a:p>
          <a:p>
            <a:pPr>
              <a:spcBef>
                <a:spcPts val="600"/>
              </a:spcBef>
              <a:spcAft>
                <a:spcPts val="0"/>
              </a:spcAft>
            </a:pPr>
            <a:r>
              <a:rPr lang="en-US" sz="1600" b="1" i="1" dirty="0"/>
              <a:t>Creating benefits for healthcare community</a:t>
            </a:r>
            <a:endParaRPr lang="en-GB" sz="1600" b="1" i="1" dirty="0"/>
          </a:p>
          <a:p>
            <a:pPr>
              <a:spcBef>
                <a:spcPts val="600"/>
              </a:spcBef>
              <a:spcAft>
                <a:spcPts val="0"/>
              </a:spcAft>
            </a:pPr>
            <a:endParaRPr lang="en-GB" sz="1600" b="1" i="1" dirty="0"/>
          </a:p>
          <a:p>
            <a:pPr>
              <a:spcBef>
                <a:spcPts val="600"/>
              </a:spcBef>
              <a:spcAft>
                <a:spcPts val="0"/>
              </a:spcAft>
            </a:pPr>
            <a:endParaRPr lang="en-GB" sz="1600" b="1" i="1" dirty="0">
              <a:solidFill>
                <a:schemeClr val="accent2"/>
              </a:solidFill>
            </a:endParaRPr>
          </a:p>
        </p:txBody>
      </p:sp>
      <p:graphicFrame>
        <p:nvGraphicFramePr>
          <p:cNvPr id="26" name="Table 2">
            <a:extLst>
              <a:ext uri="{FF2B5EF4-FFF2-40B4-BE49-F238E27FC236}">
                <a16:creationId xmlns:a16="http://schemas.microsoft.com/office/drawing/2014/main" id="{F38E0F3C-AE6F-4C10-A70A-E444B8B5E8BF}"/>
              </a:ext>
            </a:extLst>
          </p:cNvPr>
          <p:cNvGraphicFramePr>
            <a:graphicFrameLocks noGrp="1"/>
          </p:cNvGraphicFramePr>
          <p:nvPr>
            <p:extLst>
              <p:ext uri="{D42A27DB-BD31-4B8C-83A1-F6EECF244321}">
                <p14:modId xmlns:p14="http://schemas.microsoft.com/office/powerpoint/2010/main" val="89306275"/>
              </p:ext>
            </p:extLst>
          </p:nvPr>
        </p:nvGraphicFramePr>
        <p:xfrm>
          <a:off x="-1" y="3987"/>
          <a:ext cx="12190412" cy="370840"/>
        </p:xfrm>
        <a:graphic>
          <a:graphicData uri="http://schemas.openxmlformats.org/drawingml/2006/table">
            <a:tbl>
              <a:tblPr firstRow="1" bandRow="1">
                <a:tableStyleId>{5C22544A-7EE6-4342-B048-85BDC9FD1C3A}</a:tableStyleId>
              </a:tblPr>
              <a:tblGrid>
                <a:gridCol w="3047603">
                  <a:extLst>
                    <a:ext uri="{9D8B030D-6E8A-4147-A177-3AD203B41FA5}">
                      <a16:colId xmlns:a16="http://schemas.microsoft.com/office/drawing/2014/main" val="4293867470"/>
                    </a:ext>
                  </a:extLst>
                </a:gridCol>
                <a:gridCol w="3047603">
                  <a:extLst>
                    <a:ext uri="{9D8B030D-6E8A-4147-A177-3AD203B41FA5}">
                      <a16:colId xmlns:a16="http://schemas.microsoft.com/office/drawing/2014/main" val="2122758113"/>
                    </a:ext>
                  </a:extLst>
                </a:gridCol>
                <a:gridCol w="3047603">
                  <a:extLst>
                    <a:ext uri="{9D8B030D-6E8A-4147-A177-3AD203B41FA5}">
                      <a16:colId xmlns:a16="http://schemas.microsoft.com/office/drawing/2014/main" val="3843830614"/>
                    </a:ext>
                  </a:extLst>
                </a:gridCol>
                <a:gridCol w="3047603">
                  <a:extLst>
                    <a:ext uri="{9D8B030D-6E8A-4147-A177-3AD203B41FA5}">
                      <a16:colId xmlns:a16="http://schemas.microsoft.com/office/drawing/2014/main" val="3292150729"/>
                    </a:ext>
                  </a:extLst>
                </a:gridCol>
              </a:tblGrid>
              <a:tr h="370840">
                <a:tc>
                  <a:txBody>
                    <a:bodyPr/>
                    <a:lstStyle/>
                    <a:p>
                      <a:pPr algn="ctr"/>
                      <a:r>
                        <a:rPr lang="en-US"/>
                        <a:t>Case 1</a:t>
                      </a:r>
                    </a:p>
                  </a:txBody>
                  <a:tcPr>
                    <a:solidFill>
                      <a:schemeClr val="bg2">
                        <a:lumMod val="20000"/>
                        <a:lumOff val="80000"/>
                      </a:schemeClr>
                    </a:solidFill>
                  </a:tcPr>
                </a:tc>
                <a:tc>
                  <a:txBody>
                    <a:bodyPr/>
                    <a:lstStyle/>
                    <a:p>
                      <a:pPr algn="ctr"/>
                      <a:r>
                        <a:rPr lang="en-US"/>
                        <a:t>Case 2</a:t>
                      </a:r>
                    </a:p>
                  </a:txBody>
                  <a:tcPr>
                    <a:solidFill>
                      <a:schemeClr val="bg2"/>
                    </a:solidFill>
                  </a:tcPr>
                </a:tc>
                <a:tc>
                  <a:txBody>
                    <a:bodyPr/>
                    <a:lstStyle/>
                    <a:p>
                      <a:pPr algn="ctr"/>
                      <a:r>
                        <a:rPr lang="en-US"/>
                        <a:t>Case 3</a:t>
                      </a:r>
                    </a:p>
                  </a:txBody>
                  <a:tcPr>
                    <a:solidFill>
                      <a:schemeClr val="bg2">
                        <a:lumMod val="20000"/>
                        <a:lumOff val="80000"/>
                      </a:schemeClr>
                    </a:solidFill>
                  </a:tcPr>
                </a:tc>
                <a:tc>
                  <a:txBody>
                    <a:bodyPr/>
                    <a:lstStyle/>
                    <a:p>
                      <a:pPr algn="ctr"/>
                      <a:r>
                        <a:rPr lang="en-US"/>
                        <a:t>Case 4</a:t>
                      </a:r>
                    </a:p>
                  </a:txBody>
                  <a:tcPr>
                    <a:solidFill>
                      <a:schemeClr val="bg2">
                        <a:lumMod val="20000"/>
                        <a:lumOff val="80000"/>
                      </a:schemeClr>
                    </a:solidFill>
                  </a:tcPr>
                </a:tc>
                <a:extLst>
                  <a:ext uri="{0D108BD9-81ED-4DB2-BD59-A6C34878D82A}">
                    <a16:rowId xmlns:a16="http://schemas.microsoft.com/office/drawing/2014/main" val="2152829518"/>
                  </a:ext>
                </a:extLst>
              </a:tr>
            </a:tbl>
          </a:graphicData>
        </a:graphic>
      </p:graphicFrame>
    </p:spTree>
    <p:extLst>
      <p:ext uri="{BB962C8B-B14F-4D97-AF65-F5344CB8AC3E}">
        <p14:creationId xmlns:p14="http://schemas.microsoft.com/office/powerpoint/2010/main" val="630351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tertitel 6">
            <a:extLst>
              <a:ext uri="{FF2B5EF4-FFF2-40B4-BE49-F238E27FC236}">
                <a16:creationId xmlns:a16="http://schemas.microsoft.com/office/drawing/2014/main" id="{1A6547CC-0A0F-41D9-8932-5496D2C45E3E}"/>
              </a:ext>
            </a:extLst>
          </p:cNvPr>
          <p:cNvSpPr>
            <a:spLocks noGrp="1"/>
          </p:cNvSpPr>
          <p:nvPr>
            <p:ph type="subTitle" idx="13"/>
          </p:nvPr>
        </p:nvSpPr>
        <p:spPr/>
        <p:txBody>
          <a:bodyPr>
            <a:normAutofit fontScale="92500" lnSpcReduction="10000"/>
          </a:bodyPr>
          <a:lstStyle/>
          <a:p>
            <a:r>
              <a:rPr lang="en-US"/>
              <a:t>Use case</a:t>
            </a:r>
          </a:p>
        </p:txBody>
      </p:sp>
      <p:sp>
        <p:nvSpPr>
          <p:cNvPr id="6" name="Titel 5">
            <a:extLst>
              <a:ext uri="{FF2B5EF4-FFF2-40B4-BE49-F238E27FC236}">
                <a16:creationId xmlns:a16="http://schemas.microsoft.com/office/drawing/2014/main" id="{FE4E94F6-DC23-4C8A-813D-50707AD66BDA}"/>
              </a:ext>
            </a:extLst>
          </p:cNvPr>
          <p:cNvSpPr>
            <a:spLocks noGrp="1"/>
          </p:cNvSpPr>
          <p:nvPr>
            <p:ph type="title"/>
          </p:nvPr>
        </p:nvSpPr>
        <p:spPr/>
        <p:txBody>
          <a:bodyPr/>
          <a:lstStyle/>
          <a:p>
            <a:r>
              <a:rPr lang="en-US" err="1"/>
              <a:t>DiMi</a:t>
            </a:r>
            <a:r>
              <a:rPr lang="en-US"/>
              <a:t> # Insights generation @Medical#</a:t>
            </a:r>
            <a:endParaRPr lang="de-DE"/>
          </a:p>
        </p:txBody>
      </p:sp>
      <p:sp>
        <p:nvSpPr>
          <p:cNvPr id="4" name="Fußzeilenplatzhalter 3">
            <a:extLst>
              <a:ext uri="{FF2B5EF4-FFF2-40B4-BE49-F238E27FC236}">
                <a16:creationId xmlns:a16="http://schemas.microsoft.com/office/drawing/2014/main" id="{7DCB4262-A3C0-4DF6-9256-2973460CFF60}"/>
              </a:ext>
            </a:extLst>
          </p:cNvPr>
          <p:cNvSpPr>
            <a:spLocks noGrp="1"/>
          </p:cNvSpPr>
          <p:nvPr>
            <p:ph type="ftr" sz="quarter" idx="11"/>
          </p:nvPr>
        </p:nvSpPr>
        <p:spPr/>
        <p:txBody>
          <a:bodyPr/>
          <a:lstStyle/>
          <a:p>
            <a:r>
              <a:rPr lang="en-US"/>
              <a:t>/// Advanced Analytics and Digital Transformation /// NLP session /// March 2022</a:t>
            </a:r>
          </a:p>
        </p:txBody>
      </p:sp>
      <p:sp>
        <p:nvSpPr>
          <p:cNvPr id="5" name="Foliennummernplatzhalter 4">
            <a:extLst>
              <a:ext uri="{FF2B5EF4-FFF2-40B4-BE49-F238E27FC236}">
                <a16:creationId xmlns:a16="http://schemas.microsoft.com/office/drawing/2014/main" id="{4FE8486C-B1C4-44E4-9A7F-DF6E7FF01330}"/>
              </a:ext>
            </a:extLst>
          </p:cNvPr>
          <p:cNvSpPr>
            <a:spLocks noGrp="1"/>
          </p:cNvSpPr>
          <p:nvPr>
            <p:ph type="sldNum" sz="quarter" idx="12"/>
          </p:nvPr>
        </p:nvSpPr>
        <p:spPr/>
        <p:txBody>
          <a:bodyPr/>
          <a:lstStyle/>
          <a:p>
            <a:fld id="{EEAD9179-7A6B-4268-BEB2-F3B8EB06115B}" type="slidenum">
              <a:rPr lang="en-US" smtClean="0"/>
              <a:pPr/>
              <a:t>23</a:t>
            </a:fld>
            <a:endParaRPr lang="en-US"/>
          </a:p>
        </p:txBody>
      </p:sp>
      <p:sp>
        <p:nvSpPr>
          <p:cNvPr id="19" name="TextBox 18">
            <a:extLst>
              <a:ext uri="{FF2B5EF4-FFF2-40B4-BE49-F238E27FC236}">
                <a16:creationId xmlns:a16="http://schemas.microsoft.com/office/drawing/2014/main" id="{87AD9E91-31BB-4AA9-BFEC-6B6273872A20}"/>
              </a:ext>
            </a:extLst>
          </p:cNvPr>
          <p:cNvSpPr txBox="1"/>
          <p:nvPr/>
        </p:nvSpPr>
        <p:spPr bwMode="gray">
          <a:xfrm>
            <a:off x="987248" y="1488098"/>
            <a:ext cx="1555927" cy="276999"/>
          </a:xfrm>
          <a:prstGeom prst="rect">
            <a:avLst/>
          </a:prstGeom>
          <a:solidFill>
            <a:srgbClr val="624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R="0" lvl="0" indent="0" defTabSz="914309"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2"/>
                </a:solidFill>
                <a:effectLst/>
                <a:uLnTx/>
                <a:uFillTx/>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bg1"/>
                </a:solidFill>
              </a:rPr>
              <a:t>Cardiorenal</a:t>
            </a:r>
            <a:endParaRPr lang="en-GB" sz="1800">
              <a:solidFill>
                <a:schemeClr val="bg1"/>
              </a:solidFill>
            </a:endParaRPr>
          </a:p>
        </p:txBody>
      </p:sp>
      <p:sp>
        <p:nvSpPr>
          <p:cNvPr id="20" name="TextBox 19">
            <a:extLst>
              <a:ext uri="{FF2B5EF4-FFF2-40B4-BE49-F238E27FC236}">
                <a16:creationId xmlns:a16="http://schemas.microsoft.com/office/drawing/2014/main" id="{5866074C-0FB9-441B-A5B6-7D50FD6B824F}"/>
              </a:ext>
            </a:extLst>
          </p:cNvPr>
          <p:cNvSpPr txBox="1"/>
          <p:nvPr/>
        </p:nvSpPr>
        <p:spPr bwMode="gray">
          <a:xfrm>
            <a:off x="981821" y="1923173"/>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dirty="0"/>
              <a:t>Vericiguat/Finerenone/Xarelto</a:t>
            </a:r>
            <a:endParaRPr lang="en-GB" b="1" i="1" dirty="0">
              <a:solidFill>
                <a:schemeClr val="accent2"/>
              </a:solidFill>
            </a:endParaRPr>
          </a:p>
        </p:txBody>
      </p:sp>
      <p:sp>
        <p:nvSpPr>
          <p:cNvPr id="21" name="TextBox 20">
            <a:extLst>
              <a:ext uri="{FF2B5EF4-FFF2-40B4-BE49-F238E27FC236}">
                <a16:creationId xmlns:a16="http://schemas.microsoft.com/office/drawing/2014/main" id="{B3EB4BEC-2AB3-402E-8924-2AB0C3D21CD1}"/>
              </a:ext>
            </a:extLst>
          </p:cNvPr>
          <p:cNvSpPr txBox="1">
            <a:spLocks/>
          </p:cNvSpPr>
          <p:nvPr/>
        </p:nvSpPr>
        <p:spPr>
          <a:xfrm>
            <a:off x="981821" y="2290549"/>
            <a:ext cx="5065472" cy="1887552"/>
          </a:xfrm>
          <a:prstGeom prst="rect">
            <a:avLst/>
          </a:prstGeom>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buBlip>
                <a:blip r:embed="rId2"/>
              </a:buBlip>
            </a:pPr>
            <a:r>
              <a:rPr lang="en-US" sz="1600" dirty="0">
                <a:solidFill>
                  <a:schemeClr val="tx1"/>
                </a:solidFill>
              </a:rPr>
              <a:t>Assessment of inquiries for </a:t>
            </a:r>
            <a:r>
              <a:rPr lang="en-US" sz="1600" dirty="0">
                <a:solidFill>
                  <a:srgbClr val="00BCFF"/>
                </a:solidFill>
              </a:rPr>
              <a:t>Commercial</a:t>
            </a:r>
            <a:r>
              <a:rPr lang="en-US" sz="1600" dirty="0">
                <a:solidFill>
                  <a:schemeClr val="tx1"/>
                </a:solidFill>
              </a:rPr>
              <a:t> (number; type; indications; channel; customer type </a:t>
            </a:r>
            <a:r>
              <a:rPr lang="en-US" sz="1600" dirty="0" err="1">
                <a:solidFill>
                  <a:schemeClr val="tx1"/>
                </a:solidFill>
              </a:rPr>
              <a:t>etc</a:t>
            </a:r>
            <a:r>
              <a:rPr lang="en-US" sz="1600" dirty="0">
                <a:solidFill>
                  <a:schemeClr val="tx1"/>
                </a:solidFill>
              </a:rPr>
              <a:t>)</a:t>
            </a:r>
          </a:p>
          <a:p>
            <a:pPr marL="540000" lvl="2" indent="-270000">
              <a:buBlip>
                <a:blip r:embed="rId3"/>
              </a:buBlip>
            </a:pPr>
            <a:r>
              <a:rPr lang="en-US" sz="1400" dirty="0">
                <a:solidFill>
                  <a:schemeClr val="tx1"/>
                </a:solidFill>
              </a:rPr>
              <a:t>Identifying hot topics and gaps to support prep of educational and marketing materials</a:t>
            </a:r>
          </a:p>
          <a:p>
            <a:pPr marL="540000" lvl="2" indent="-270000">
              <a:buBlip>
                <a:blip r:embed="rId3"/>
              </a:buBlip>
            </a:pPr>
            <a:r>
              <a:rPr lang="en-US" sz="1400" dirty="0">
                <a:solidFill>
                  <a:schemeClr val="tx1"/>
                </a:solidFill>
              </a:rPr>
              <a:t>Finerenone/Vericiguat continually observed to identify topic trends and to accompany launches</a:t>
            </a:r>
          </a:p>
        </p:txBody>
      </p:sp>
      <p:cxnSp>
        <p:nvCxnSpPr>
          <p:cNvPr id="22" name="Straight Connector 21">
            <a:extLst>
              <a:ext uri="{FF2B5EF4-FFF2-40B4-BE49-F238E27FC236}">
                <a16:creationId xmlns:a16="http://schemas.microsoft.com/office/drawing/2014/main" id="{83522213-F970-41F1-B515-889F2F4A4933}"/>
              </a:ext>
            </a:extLst>
          </p:cNvPr>
          <p:cNvCxnSpPr>
            <a:cxnSpLocks/>
          </p:cNvCxnSpPr>
          <p:nvPr/>
        </p:nvCxnSpPr>
        <p:spPr bwMode="gray">
          <a:xfrm>
            <a:off x="981821" y="1765097"/>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36B20CAB-4B1F-44A8-90A2-7AF1626AEBD1}"/>
              </a:ext>
            </a:extLst>
          </p:cNvPr>
          <p:cNvSpPr txBox="1"/>
          <p:nvPr/>
        </p:nvSpPr>
        <p:spPr bwMode="gray">
          <a:xfrm>
            <a:off x="1035552" y="4077096"/>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dirty="0"/>
              <a:t>Xarelto</a:t>
            </a:r>
            <a:endParaRPr lang="en-GB" b="1" i="1" dirty="0">
              <a:solidFill>
                <a:schemeClr val="accent2"/>
              </a:solidFill>
            </a:endParaRPr>
          </a:p>
        </p:txBody>
      </p:sp>
      <p:sp>
        <p:nvSpPr>
          <p:cNvPr id="24" name="TextBox 23">
            <a:extLst>
              <a:ext uri="{FF2B5EF4-FFF2-40B4-BE49-F238E27FC236}">
                <a16:creationId xmlns:a16="http://schemas.microsoft.com/office/drawing/2014/main" id="{0510AE31-3E12-4868-923F-B4AEDBA1B92C}"/>
              </a:ext>
            </a:extLst>
          </p:cNvPr>
          <p:cNvSpPr txBox="1">
            <a:spLocks/>
          </p:cNvSpPr>
          <p:nvPr/>
        </p:nvSpPr>
        <p:spPr>
          <a:xfrm>
            <a:off x="1030125" y="4425213"/>
            <a:ext cx="4974212" cy="1887552"/>
          </a:xfrm>
          <a:prstGeom prst="rect">
            <a:avLst/>
          </a:prstGeom>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buBlip>
                <a:blip r:embed="rId2"/>
              </a:buBlip>
            </a:pPr>
            <a:r>
              <a:rPr lang="en-US" sz="1600" dirty="0">
                <a:solidFill>
                  <a:schemeClr val="tx1"/>
                </a:solidFill>
              </a:rPr>
              <a:t>Assessments </a:t>
            </a:r>
            <a:r>
              <a:rPr lang="en-US" sz="1600" dirty="0">
                <a:solidFill>
                  <a:srgbClr val="00BCFF"/>
                </a:solidFill>
              </a:rPr>
              <a:t>for MA TA &amp; PV </a:t>
            </a:r>
            <a:r>
              <a:rPr lang="en-US" sz="1600" dirty="0">
                <a:solidFill>
                  <a:schemeClr val="tx1"/>
                </a:solidFill>
              </a:rPr>
              <a:t>supporting</a:t>
            </a:r>
          </a:p>
          <a:p>
            <a:pPr marL="540000" lvl="2" indent="-270000">
              <a:buBlip>
                <a:blip r:embed="rId3"/>
              </a:buBlip>
            </a:pPr>
            <a:r>
              <a:rPr lang="en-US" sz="1400" dirty="0">
                <a:solidFill>
                  <a:schemeClr val="tx1"/>
                </a:solidFill>
              </a:rPr>
              <a:t>Preparation of internal and external educational Materials</a:t>
            </a:r>
          </a:p>
          <a:p>
            <a:pPr marL="540000" lvl="2" indent="-270000">
              <a:buBlip>
                <a:blip r:embed="rId3"/>
              </a:buBlip>
            </a:pPr>
            <a:r>
              <a:rPr lang="en-US" sz="1400" dirty="0">
                <a:solidFill>
                  <a:schemeClr val="tx1"/>
                </a:solidFill>
              </a:rPr>
              <a:t>Possible labelling update</a:t>
            </a:r>
          </a:p>
          <a:p>
            <a:pPr marL="540000" lvl="2" indent="-270000">
              <a:buBlip>
                <a:blip r:embed="rId3"/>
              </a:buBlip>
            </a:pPr>
            <a:r>
              <a:rPr lang="en-US" sz="1400" dirty="0">
                <a:solidFill>
                  <a:schemeClr val="tx1"/>
                </a:solidFill>
              </a:rPr>
              <a:t>Preparation of a reactive statement on a recent publication (use during pregnancy)</a:t>
            </a:r>
          </a:p>
          <a:p>
            <a:pPr marL="540000" lvl="2" indent="-270000">
              <a:buBlip>
                <a:blip r:embed="rId3"/>
              </a:buBlip>
            </a:pPr>
            <a:endParaRPr lang="en-US" sz="1400" dirty="0">
              <a:solidFill>
                <a:schemeClr val="tx1"/>
              </a:solidFill>
            </a:endParaRPr>
          </a:p>
        </p:txBody>
      </p:sp>
      <p:graphicFrame>
        <p:nvGraphicFramePr>
          <p:cNvPr id="14" name="Table 2">
            <a:extLst>
              <a:ext uri="{FF2B5EF4-FFF2-40B4-BE49-F238E27FC236}">
                <a16:creationId xmlns:a16="http://schemas.microsoft.com/office/drawing/2014/main" id="{90492984-9385-438E-9088-DC6FEB3FA81E}"/>
              </a:ext>
            </a:extLst>
          </p:cNvPr>
          <p:cNvGraphicFramePr>
            <a:graphicFrameLocks noGrp="1"/>
          </p:cNvGraphicFramePr>
          <p:nvPr>
            <p:extLst>
              <p:ext uri="{D42A27DB-BD31-4B8C-83A1-F6EECF244321}">
                <p14:modId xmlns:p14="http://schemas.microsoft.com/office/powerpoint/2010/main" val="3199628195"/>
              </p:ext>
            </p:extLst>
          </p:nvPr>
        </p:nvGraphicFramePr>
        <p:xfrm>
          <a:off x="-1" y="3987"/>
          <a:ext cx="12190412" cy="370840"/>
        </p:xfrm>
        <a:graphic>
          <a:graphicData uri="http://schemas.openxmlformats.org/drawingml/2006/table">
            <a:tbl>
              <a:tblPr firstRow="1" bandRow="1">
                <a:tableStyleId>{5C22544A-7EE6-4342-B048-85BDC9FD1C3A}</a:tableStyleId>
              </a:tblPr>
              <a:tblGrid>
                <a:gridCol w="3047603">
                  <a:extLst>
                    <a:ext uri="{9D8B030D-6E8A-4147-A177-3AD203B41FA5}">
                      <a16:colId xmlns:a16="http://schemas.microsoft.com/office/drawing/2014/main" val="4293867470"/>
                    </a:ext>
                  </a:extLst>
                </a:gridCol>
                <a:gridCol w="3047603">
                  <a:extLst>
                    <a:ext uri="{9D8B030D-6E8A-4147-A177-3AD203B41FA5}">
                      <a16:colId xmlns:a16="http://schemas.microsoft.com/office/drawing/2014/main" val="2122758113"/>
                    </a:ext>
                  </a:extLst>
                </a:gridCol>
                <a:gridCol w="3047603">
                  <a:extLst>
                    <a:ext uri="{9D8B030D-6E8A-4147-A177-3AD203B41FA5}">
                      <a16:colId xmlns:a16="http://schemas.microsoft.com/office/drawing/2014/main" val="3843830614"/>
                    </a:ext>
                  </a:extLst>
                </a:gridCol>
                <a:gridCol w="3047603">
                  <a:extLst>
                    <a:ext uri="{9D8B030D-6E8A-4147-A177-3AD203B41FA5}">
                      <a16:colId xmlns:a16="http://schemas.microsoft.com/office/drawing/2014/main" val="3292150729"/>
                    </a:ext>
                  </a:extLst>
                </a:gridCol>
              </a:tblGrid>
              <a:tr h="370840">
                <a:tc>
                  <a:txBody>
                    <a:bodyPr/>
                    <a:lstStyle/>
                    <a:p>
                      <a:pPr algn="ctr"/>
                      <a:r>
                        <a:rPr lang="en-US"/>
                        <a:t>Case 1</a:t>
                      </a:r>
                    </a:p>
                  </a:txBody>
                  <a:tcPr>
                    <a:solidFill>
                      <a:schemeClr val="bg2">
                        <a:lumMod val="20000"/>
                        <a:lumOff val="80000"/>
                      </a:schemeClr>
                    </a:solidFill>
                  </a:tcPr>
                </a:tc>
                <a:tc>
                  <a:txBody>
                    <a:bodyPr/>
                    <a:lstStyle/>
                    <a:p>
                      <a:pPr algn="ctr"/>
                      <a:r>
                        <a:rPr lang="en-US"/>
                        <a:t>Case 2</a:t>
                      </a:r>
                    </a:p>
                  </a:txBody>
                  <a:tcPr>
                    <a:solidFill>
                      <a:schemeClr val="bg2"/>
                    </a:solidFill>
                  </a:tcPr>
                </a:tc>
                <a:tc>
                  <a:txBody>
                    <a:bodyPr/>
                    <a:lstStyle/>
                    <a:p>
                      <a:pPr algn="ctr"/>
                      <a:r>
                        <a:rPr lang="en-US"/>
                        <a:t>Case 3</a:t>
                      </a:r>
                    </a:p>
                  </a:txBody>
                  <a:tcPr>
                    <a:solidFill>
                      <a:schemeClr val="bg2">
                        <a:lumMod val="20000"/>
                        <a:lumOff val="80000"/>
                      </a:schemeClr>
                    </a:solidFill>
                  </a:tcPr>
                </a:tc>
                <a:tc>
                  <a:txBody>
                    <a:bodyPr/>
                    <a:lstStyle/>
                    <a:p>
                      <a:pPr algn="ctr"/>
                      <a:r>
                        <a:rPr lang="en-US"/>
                        <a:t>Case 4</a:t>
                      </a:r>
                    </a:p>
                  </a:txBody>
                  <a:tcPr>
                    <a:solidFill>
                      <a:schemeClr val="bg2">
                        <a:lumMod val="20000"/>
                        <a:lumOff val="80000"/>
                      </a:schemeClr>
                    </a:solidFill>
                  </a:tcPr>
                </a:tc>
                <a:extLst>
                  <a:ext uri="{0D108BD9-81ED-4DB2-BD59-A6C34878D82A}">
                    <a16:rowId xmlns:a16="http://schemas.microsoft.com/office/drawing/2014/main" val="2152829518"/>
                  </a:ext>
                </a:extLst>
              </a:tr>
            </a:tbl>
          </a:graphicData>
        </a:graphic>
      </p:graphicFrame>
      <p:sp>
        <p:nvSpPr>
          <p:cNvPr id="17" name="TextBox 16">
            <a:extLst>
              <a:ext uri="{FF2B5EF4-FFF2-40B4-BE49-F238E27FC236}">
                <a16:creationId xmlns:a16="http://schemas.microsoft.com/office/drawing/2014/main" id="{9753DBD8-F672-4838-86AC-92395AFA7C2B}"/>
              </a:ext>
            </a:extLst>
          </p:cNvPr>
          <p:cNvSpPr txBox="1"/>
          <p:nvPr/>
        </p:nvSpPr>
        <p:spPr bwMode="gray">
          <a:xfrm>
            <a:off x="6321248" y="1488098"/>
            <a:ext cx="1555927" cy="276999"/>
          </a:xfrm>
          <a:prstGeom prst="rect">
            <a:avLst/>
          </a:prstGeom>
          <a:solidFill>
            <a:srgbClr val="624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R="0" lvl="0" indent="0" defTabSz="914309"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2"/>
                </a:solidFill>
                <a:effectLst/>
                <a:uLnTx/>
                <a:uFillTx/>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bg1"/>
                </a:solidFill>
              </a:rPr>
              <a:t>Oncology</a:t>
            </a:r>
            <a:endParaRPr lang="en-GB" sz="1800" dirty="0">
              <a:solidFill>
                <a:schemeClr val="bg1"/>
              </a:solidFill>
            </a:endParaRPr>
          </a:p>
        </p:txBody>
      </p:sp>
      <p:sp>
        <p:nvSpPr>
          <p:cNvPr id="18" name="TextBox 17">
            <a:extLst>
              <a:ext uri="{FF2B5EF4-FFF2-40B4-BE49-F238E27FC236}">
                <a16:creationId xmlns:a16="http://schemas.microsoft.com/office/drawing/2014/main" id="{CB0FF3A3-3353-42F2-AAEB-7C0CA85BA3BA}"/>
              </a:ext>
            </a:extLst>
          </p:cNvPr>
          <p:cNvSpPr txBox="1"/>
          <p:nvPr/>
        </p:nvSpPr>
        <p:spPr bwMode="gray">
          <a:xfrm>
            <a:off x="6315821" y="1923173"/>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US" b="1" i="1" dirty="0"/>
              <a:t>Nubeqa</a:t>
            </a:r>
            <a:endParaRPr lang="en-GB" b="1" i="1" dirty="0">
              <a:solidFill>
                <a:schemeClr val="accent2"/>
              </a:solidFill>
            </a:endParaRPr>
          </a:p>
        </p:txBody>
      </p:sp>
      <p:sp>
        <p:nvSpPr>
          <p:cNvPr id="25" name="TextBox 24">
            <a:extLst>
              <a:ext uri="{FF2B5EF4-FFF2-40B4-BE49-F238E27FC236}">
                <a16:creationId xmlns:a16="http://schemas.microsoft.com/office/drawing/2014/main" id="{63E155DB-BC31-4388-A509-1E8F91F066BE}"/>
              </a:ext>
            </a:extLst>
          </p:cNvPr>
          <p:cNvSpPr txBox="1">
            <a:spLocks/>
          </p:cNvSpPr>
          <p:nvPr/>
        </p:nvSpPr>
        <p:spPr>
          <a:xfrm>
            <a:off x="6315821" y="2290549"/>
            <a:ext cx="5065472" cy="1887552"/>
          </a:xfrm>
          <a:prstGeom prst="rect">
            <a:avLst/>
          </a:prstGeom>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buBlip>
                <a:blip r:embed="rId2"/>
              </a:buBlip>
            </a:pPr>
            <a:r>
              <a:rPr lang="en-US" sz="1600" dirty="0">
                <a:solidFill>
                  <a:schemeClr val="tx1"/>
                </a:solidFill>
              </a:rPr>
              <a:t>Inquiry trend and topic discovery data across whole portfolio to identify gaps in SRD strategy. Has led to:</a:t>
            </a:r>
          </a:p>
          <a:p>
            <a:pPr marL="540000" lvl="2" indent="-270000">
              <a:buBlip>
                <a:blip r:embed="rId3"/>
              </a:buBlip>
            </a:pPr>
            <a:r>
              <a:rPr lang="en-US" sz="1400" dirty="0">
                <a:solidFill>
                  <a:schemeClr val="tx1"/>
                </a:solidFill>
              </a:rPr>
              <a:t>Creation of new SRDs e.g. "Nubeqa and crushing/splitting/NG tube administration"</a:t>
            </a:r>
          </a:p>
          <a:p>
            <a:pPr marL="540000" lvl="2" indent="-270000">
              <a:buBlip>
                <a:blip r:embed="rId3"/>
              </a:buBlip>
            </a:pPr>
            <a:r>
              <a:rPr lang="en-US" sz="1400" dirty="0">
                <a:solidFill>
                  <a:schemeClr val="tx1"/>
                </a:solidFill>
              </a:rPr>
              <a:t>Nubeqa–crushing queries =&gt; rationale for potential study</a:t>
            </a:r>
          </a:p>
        </p:txBody>
      </p:sp>
      <p:cxnSp>
        <p:nvCxnSpPr>
          <p:cNvPr id="26" name="Straight Connector 25">
            <a:extLst>
              <a:ext uri="{FF2B5EF4-FFF2-40B4-BE49-F238E27FC236}">
                <a16:creationId xmlns:a16="http://schemas.microsoft.com/office/drawing/2014/main" id="{A9AA020F-D28B-4C11-A8AA-1222D1C02A90}"/>
              </a:ext>
            </a:extLst>
          </p:cNvPr>
          <p:cNvCxnSpPr>
            <a:cxnSpLocks/>
          </p:cNvCxnSpPr>
          <p:nvPr/>
        </p:nvCxnSpPr>
        <p:spPr bwMode="gray">
          <a:xfrm>
            <a:off x="6315821" y="1765097"/>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2ECE01A-F58A-4B35-A74A-770DF49C3B26}"/>
              </a:ext>
            </a:extLst>
          </p:cNvPr>
          <p:cNvPicPr>
            <a:picLocks noChangeAspect="1"/>
          </p:cNvPicPr>
          <p:nvPr/>
        </p:nvPicPr>
        <p:blipFill>
          <a:blip r:embed="rId6"/>
          <a:stretch>
            <a:fillRect/>
          </a:stretch>
        </p:blipFill>
        <p:spPr>
          <a:xfrm>
            <a:off x="6820406" y="3837532"/>
            <a:ext cx="4334455" cy="2644967"/>
          </a:xfrm>
          <a:prstGeom prst="rect">
            <a:avLst/>
          </a:prstGeom>
        </p:spPr>
      </p:pic>
    </p:spTree>
    <p:extLst>
      <p:ext uri="{BB962C8B-B14F-4D97-AF65-F5344CB8AC3E}">
        <p14:creationId xmlns:p14="http://schemas.microsoft.com/office/powerpoint/2010/main" val="131069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890FFB-2F18-4EA5-AC54-53C712175F36}"/>
              </a:ext>
            </a:extLst>
          </p:cNvPr>
          <p:cNvSpPr>
            <a:spLocks noGrp="1"/>
          </p:cNvSpPr>
          <p:nvPr>
            <p:ph type="title"/>
          </p:nvPr>
        </p:nvSpPr>
        <p:spPr/>
        <p:txBody>
          <a:bodyPr/>
          <a:lstStyle/>
          <a:p>
            <a:r>
              <a:rPr lang="en-US"/>
              <a:t>Hermione enables better decision making through faster retrieval of relevant medical evidence</a:t>
            </a:r>
          </a:p>
        </p:txBody>
      </p:sp>
      <p:sp>
        <p:nvSpPr>
          <p:cNvPr id="4" name="Footer Placeholder 3">
            <a:extLst>
              <a:ext uri="{FF2B5EF4-FFF2-40B4-BE49-F238E27FC236}">
                <a16:creationId xmlns:a16="http://schemas.microsoft.com/office/drawing/2014/main" id="{842BC1F1-30E3-47CB-9A5E-9CA5E0E69F20}"/>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6705A212-9D6D-4218-B4D5-27BA64DCD96D}"/>
              </a:ext>
            </a:extLst>
          </p:cNvPr>
          <p:cNvSpPr>
            <a:spLocks noGrp="1"/>
          </p:cNvSpPr>
          <p:nvPr>
            <p:ph type="sldNum" sz="quarter" idx="12"/>
          </p:nvPr>
        </p:nvSpPr>
        <p:spPr/>
        <p:txBody>
          <a:bodyPr/>
          <a:lstStyle/>
          <a:p>
            <a:fld id="{EEAD9179-7A6B-4268-BEB2-F3B8EB06115B}" type="slidenum">
              <a:rPr lang="en-US" smtClean="0"/>
              <a:pPr/>
              <a:t>24</a:t>
            </a:fld>
            <a:endParaRPr lang="en-US"/>
          </a:p>
        </p:txBody>
      </p:sp>
      <p:sp>
        <p:nvSpPr>
          <p:cNvPr id="22" name="TextBox 21">
            <a:extLst>
              <a:ext uri="{FF2B5EF4-FFF2-40B4-BE49-F238E27FC236}">
                <a16:creationId xmlns:a16="http://schemas.microsoft.com/office/drawing/2014/main" id="{F64F210A-3CA9-409F-B5BE-38E58E892911}"/>
              </a:ext>
            </a:extLst>
          </p:cNvPr>
          <p:cNvSpPr txBox="1"/>
          <p:nvPr/>
        </p:nvSpPr>
        <p:spPr bwMode="gray">
          <a:xfrm>
            <a:off x="987248" y="1488098"/>
            <a:ext cx="4968785"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Project overview </a:t>
            </a:r>
          </a:p>
        </p:txBody>
      </p:sp>
      <p:cxnSp>
        <p:nvCxnSpPr>
          <p:cNvPr id="23" name="Straight Connector 22">
            <a:extLst>
              <a:ext uri="{FF2B5EF4-FFF2-40B4-BE49-F238E27FC236}">
                <a16:creationId xmlns:a16="http://schemas.microsoft.com/office/drawing/2014/main" id="{B4905DD2-5819-4B51-922A-FFB6F53677F2}"/>
              </a:ext>
            </a:extLst>
          </p:cNvPr>
          <p:cNvCxnSpPr>
            <a:cxnSpLocks/>
          </p:cNvCxnSpPr>
          <p:nvPr/>
        </p:nvCxnSpPr>
        <p:spPr bwMode="gray">
          <a:xfrm>
            <a:off x="6326582" y="1923173"/>
            <a:ext cx="0" cy="456171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FB5D2EB-215E-415A-AFC0-1309323D6075}"/>
              </a:ext>
            </a:extLst>
          </p:cNvPr>
          <p:cNvSpPr txBox="1"/>
          <p:nvPr/>
        </p:nvSpPr>
        <p:spPr bwMode="gray">
          <a:xfrm>
            <a:off x="6596147" y="1488098"/>
            <a:ext cx="5000638"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Business benefits</a:t>
            </a:r>
          </a:p>
        </p:txBody>
      </p:sp>
      <p:cxnSp>
        <p:nvCxnSpPr>
          <p:cNvPr id="25" name="Straight Connector 24">
            <a:extLst>
              <a:ext uri="{FF2B5EF4-FFF2-40B4-BE49-F238E27FC236}">
                <a16:creationId xmlns:a16="http://schemas.microsoft.com/office/drawing/2014/main" id="{27B50151-B11C-4C05-979D-8E9B04F75EC8}"/>
              </a:ext>
            </a:extLst>
          </p:cNvPr>
          <p:cNvCxnSpPr>
            <a:cxnSpLocks/>
          </p:cNvCxnSpPr>
          <p:nvPr/>
        </p:nvCxnSpPr>
        <p:spPr bwMode="gray">
          <a:xfrm>
            <a:off x="6595512" y="1765097"/>
            <a:ext cx="500151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3A39073-D408-45AD-8648-C9249A8412E0}"/>
              </a:ext>
            </a:extLst>
          </p:cNvPr>
          <p:cNvCxnSpPr>
            <a:cxnSpLocks/>
          </p:cNvCxnSpPr>
          <p:nvPr/>
        </p:nvCxnSpPr>
        <p:spPr bwMode="gray">
          <a:xfrm>
            <a:off x="981821" y="1765097"/>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58D0C92-2B41-4B01-ACD8-BB22CA9FF23D}"/>
              </a:ext>
            </a:extLst>
          </p:cNvPr>
          <p:cNvSpPr txBox="1"/>
          <p:nvPr/>
        </p:nvSpPr>
        <p:spPr bwMode="gray">
          <a:xfrm>
            <a:off x="981821" y="1923173"/>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Challenge </a:t>
            </a:r>
            <a:endParaRPr lang="en-GB" b="1" i="1">
              <a:solidFill>
                <a:schemeClr val="accent2"/>
              </a:solidFill>
            </a:endParaRPr>
          </a:p>
        </p:txBody>
      </p:sp>
      <p:sp>
        <p:nvSpPr>
          <p:cNvPr id="29" name="TextBox 28">
            <a:extLst>
              <a:ext uri="{FF2B5EF4-FFF2-40B4-BE49-F238E27FC236}">
                <a16:creationId xmlns:a16="http://schemas.microsoft.com/office/drawing/2014/main" id="{F84F2A05-A16D-48D9-B8CE-4091AABB8EF7}"/>
              </a:ext>
            </a:extLst>
          </p:cNvPr>
          <p:cNvSpPr txBox="1"/>
          <p:nvPr/>
        </p:nvSpPr>
        <p:spPr bwMode="gray">
          <a:xfrm>
            <a:off x="6595512" y="1924965"/>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efficiency gains and insight generation</a:t>
            </a:r>
            <a:endParaRPr lang="en-GB" b="1" i="1">
              <a:solidFill>
                <a:schemeClr val="accent2"/>
              </a:solidFill>
            </a:endParaRPr>
          </a:p>
        </p:txBody>
      </p:sp>
      <p:sp>
        <p:nvSpPr>
          <p:cNvPr id="30" name="TextBox 29">
            <a:extLst>
              <a:ext uri="{FF2B5EF4-FFF2-40B4-BE49-F238E27FC236}">
                <a16:creationId xmlns:a16="http://schemas.microsoft.com/office/drawing/2014/main" id="{B5BBEB12-A7A7-4D98-8214-4F88FF54FDA9}"/>
              </a:ext>
            </a:extLst>
          </p:cNvPr>
          <p:cNvSpPr txBox="1">
            <a:spLocks/>
          </p:cNvSpPr>
          <p:nvPr/>
        </p:nvSpPr>
        <p:spPr>
          <a:xfrm>
            <a:off x="981821" y="2369511"/>
            <a:ext cx="5113382" cy="155427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a:solidFill>
                  <a:srgbClr val="002060"/>
                </a:solidFill>
              </a:rPr>
              <a:t>The unstructured form of </a:t>
            </a:r>
            <a:r>
              <a:rPr lang="en-US" altLang="zh-CN">
                <a:solidFill>
                  <a:srgbClr val="002060"/>
                </a:solidFill>
              </a:rPr>
              <a:t>p</a:t>
            </a:r>
            <a:r>
              <a:rPr lang="en-US">
                <a:solidFill>
                  <a:srgbClr val="002060"/>
                </a:solidFill>
              </a:rPr>
              <a:t>harma scientific literature and its exponential growth significantly </a:t>
            </a:r>
          </a:p>
          <a:p>
            <a:pPr marL="171450" indent="-171450">
              <a:buFont typeface="Arial" panose="020B0604020202020204" pitchFamily="34" charset="0"/>
              <a:buChar char="•"/>
            </a:pPr>
            <a:r>
              <a:rPr lang="en-US">
                <a:solidFill>
                  <a:srgbClr val="002060"/>
                </a:solidFill>
              </a:rPr>
              <a:t>Currently our TA experts spend up to 30-50% their time in low value-add tasks, like search, selection and review of papers not directly relevant and cannot easily search internal observational study reports </a:t>
            </a:r>
          </a:p>
        </p:txBody>
      </p:sp>
      <p:sp>
        <p:nvSpPr>
          <p:cNvPr id="31" name="TextBox 30">
            <a:extLst>
              <a:ext uri="{FF2B5EF4-FFF2-40B4-BE49-F238E27FC236}">
                <a16:creationId xmlns:a16="http://schemas.microsoft.com/office/drawing/2014/main" id="{880150E9-D950-48C0-8E11-E49775B7138F}"/>
              </a:ext>
            </a:extLst>
          </p:cNvPr>
          <p:cNvSpPr txBox="1">
            <a:spLocks/>
          </p:cNvSpPr>
          <p:nvPr/>
        </p:nvSpPr>
        <p:spPr>
          <a:xfrm>
            <a:off x="6595512" y="2369511"/>
            <a:ext cx="5000638" cy="28623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a:solidFill>
                  <a:srgbClr val="002060"/>
                </a:solidFill>
              </a:rPr>
              <a:t>Hermione increases the speed and effectiveness of decision-making for our TA experts by:</a:t>
            </a:r>
          </a:p>
          <a:p>
            <a:pPr marL="171450" lvl="1" indent="-171450">
              <a:spcBef>
                <a:spcPts val="300"/>
              </a:spcBef>
              <a:buFont typeface="Arial" panose="020B0604020202020204" pitchFamily="34" charset="0"/>
              <a:buChar char="•"/>
            </a:pPr>
            <a:r>
              <a:rPr lang="en-US">
                <a:solidFill>
                  <a:srgbClr val="002060"/>
                </a:solidFill>
              </a:rPr>
              <a:t>leveraging existing infrastructure (e.g. Hubble) and offering additional medical search criteria not available on standard search platforms (Google Scholar, Microsoft Academic, </a:t>
            </a:r>
            <a:r>
              <a:rPr lang="en-US" err="1">
                <a:solidFill>
                  <a:srgbClr val="002060"/>
                </a:solidFill>
              </a:rPr>
              <a:t>Pubmed</a:t>
            </a:r>
            <a:r>
              <a:rPr lang="en-US">
                <a:solidFill>
                  <a:srgbClr val="002060"/>
                </a:solidFill>
              </a:rPr>
              <a:t>, etc.) to retrieve quickly a limited amount of relevant biomedical scientific literature</a:t>
            </a:r>
          </a:p>
          <a:p>
            <a:pPr marL="171450" lvl="1" indent="-171450">
              <a:spcBef>
                <a:spcPts val="300"/>
              </a:spcBef>
              <a:buFont typeface="Arial" panose="020B0604020202020204" pitchFamily="34" charset="0"/>
              <a:buChar char="•"/>
            </a:pPr>
            <a:r>
              <a:rPr lang="en-US">
                <a:solidFill>
                  <a:srgbClr val="002060"/>
                </a:solidFill>
              </a:rPr>
              <a:t>extending the breadth of research simultaneously to internal data sources (observational study reports @ShareDoc)</a:t>
            </a:r>
          </a:p>
        </p:txBody>
      </p:sp>
      <p:sp>
        <p:nvSpPr>
          <p:cNvPr id="21" name="Rectangle 5">
            <a:extLst>
              <a:ext uri="{FF2B5EF4-FFF2-40B4-BE49-F238E27FC236}">
                <a16:creationId xmlns:a16="http://schemas.microsoft.com/office/drawing/2014/main" id="{694789BC-78E7-4089-9186-A5D567786AB1}"/>
              </a:ext>
            </a:extLst>
          </p:cNvPr>
          <p:cNvSpPr/>
          <p:nvPr/>
        </p:nvSpPr>
        <p:spPr bwMode="gray">
          <a:xfrm>
            <a:off x="6784391" y="5396745"/>
            <a:ext cx="2136888" cy="934385"/>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DE" sz="1800" b="0" i="0" u="none" baseline="0">
                <a:solidFill>
                  <a:srgbClr val="FFFFFF"/>
                </a:solidFill>
                <a:latin typeface="Arial" panose="020B0604020202020204" pitchFamily="34" charset="0"/>
              </a:rPr>
              <a:t>Don’t make me search, help me find</a:t>
            </a:r>
          </a:p>
        </p:txBody>
      </p:sp>
      <p:sp>
        <p:nvSpPr>
          <p:cNvPr id="33" name="Rectangle 8">
            <a:extLst>
              <a:ext uri="{FF2B5EF4-FFF2-40B4-BE49-F238E27FC236}">
                <a16:creationId xmlns:a16="http://schemas.microsoft.com/office/drawing/2014/main" id="{51057996-F15A-49FD-9522-BCC5291B2748}"/>
              </a:ext>
            </a:extLst>
          </p:cNvPr>
          <p:cNvSpPr/>
          <p:nvPr/>
        </p:nvSpPr>
        <p:spPr bwMode="gray">
          <a:xfrm>
            <a:off x="9011505" y="5396745"/>
            <a:ext cx="2594697" cy="934385"/>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Don’t make me read, extract/summarize takeaways for me</a:t>
            </a:r>
          </a:p>
        </p:txBody>
      </p:sp>
      <p:sp>
        <p:nvSpPr>
          <p:cNvPr id="27" name="TextBox 26">
            <a:extLst>
              <a:ext uri="{FF2B5EF4-FFF2-40B4-BE49-F238E27FC236}">
                <a16:creationId xmlns:a16="http://schemas.microsoft.com/office/drawing/2014/main" id="{614930B8-8C20-4B3A-B8B8-38F36E201D94}"/>
              </a:ext>
            </a:extLst>
          </p:cNvPr>
          <p:cNvSpPr txBox="1">
            <a:spLocks/>
          </p:cNvSpPr>
          <p:nvPr/>
        </p:nvSpPr>
        <p:spPr>
          <a:xfrm>
            <a:off x="1014238" y="4463451"/>
            <a:ext cx="5000638" cy="189282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a:solidFill>
                  <a:srgbClr val="002060"/>
                </a:solidFill>
              </a:rPr>
              <a:t>What is the incidence of &lt;disease X&gt; in &lt;population&gt;?</a:t>
            </a:r>
          </a:p>
          <a:p>
            <a:pPr marL="285750" indent="-285750">
              <a:buFont typeface="Arial" panose="020B0604020202020204" pitchFamily="34" charset="0"/>
              <a:buChar char="•"/>
            </a:pPr>
            <a:r>
              <a:rPr lang="en-US" sz="1400">
                <a:solidFill>
                  <a:srgbClr val="002060"/>
                </a:solidFill>
              </a:rPr>
              <a:t>What's prevalence of &lt;disease X&gt; in &lt;population&gt; // by geography, gender, age?” </a:t>
            </a:r>
          </a:p>
          <a:p>
            <a:pPr marL="285750" indent="-285750">
              <a:buFont typeface="Arial" panose="020B0604020202020204" pitchFamily="34" charset="0"/>
              <a:buChar char="•"/>
            </a:pPr>
            <a:r>
              <a:rPr lang="en-US" sz="1400">
                <a:solidFill>
                  <a:srgbClr val="002060"/>
                </a:solidFill>
              </a:rPr>
              <a:t>What study did we conduct on &lt;indication&gt;?</a:t>
            </a:r>
          </a:p>
          <a:p>
            <a:pPr marL="285750" indent="-285750">
              <a:buFont typeface="Arial" panose="020B0604020202020204" pitchFamily="34" charset="0"/>
              <a:buChar char="•"/>
            </a:pPr>
            <a:r>
              <a:rPr lang="en-US" sz="1400">
                <a:solidFill>
                  <a:srgbClr val="002060"/>
                </a:solidFill>
              </a:rPr>
              <a:t>What are symptoms of &lt;disease x&gt;?</a:t>
            </a:r>
          </a:p>
          <a:p>
            <a:pPr marL="285750" indent="-285750">
              <a:buFont typeface="Arial" panose="020B0604020202020204" pitchFamily="34" charset="0"/>
              <a:buChar char="•"/>
            </a:pPr>
            <a:r>
              <a:rPr lang="en-US" sz="1400">
                <a:solidFill>
                  <a:srgbClr val="002060"/>
                </a:solidFill>
              </a:rPr>
              <a:t>Is &lt;drug X&gt; more effective than &lt;drug X&gt; on &lt;population&gt;?</a:t>
            </a:r>
          </a:p>
          <a:p>
            <a:pPr marL="285750" indent="-285750">
              <a:buFont typeface="Arial" panose="020B0604020202020204" pitchFamily="34" charset="0"/>
              <a:buChar char="•"/>
            </a:pPr>
            <a:r>
              <a:rPr lang="en-US" sz="1400">
                <a:solidFill>
                  <a:srgbClr val="002060"/>
                </a:solidFill>
              </a:rPr>
              <a:t>Is &lt;disease x&gt; rare?</a:t>
            </a:r>
          </a:p>
        </p:txBody>
      </p:sp>
      <p:sp>
        <p:nvSpPr>
          <p:cNvPr id="32" name="TextBox 31">
            <a:extLst>
              <a:ext uri="{FF2B5EF4-FFF2-40B4-BE49-F238E27FC236}">
                <a16:creationId xmlns:a16="http://schemas.microsoft.com/office/drawing/2014/main" id="{38726CC7-8727-43F0-83C7-581D39EE7222}"/>
              </a:ext>
            </a:extLst>
          </p:cNvPr>
          <p:cNvSpPr txBox="1"/>
          <p:nvPr/>
        </p:nvSpPr>
        <p:spPr bwMode="gray">
          <a:xfrm>
            <a:off x="992181" y="4047918"/>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examples </a:t>
            </a:r>
            <a:endParaRPr lang="en-GB" b="1" i="1">
              <a:solidFill>
                <a:schemeClr val="accent2"/>
              </a:solidFill>
            </a:endParaRPr>
          </a:p>
        </p:txBody>
      </p:sp>
      <p:graphicFrame>
        <p:nvGraphicFramePr>
          <p:cNvPr id="36" name="Table 2">
            <a:extLst>
              <a:ext uri="{FF2B5EF4-FFF2-40B4-BE49-F238E27FC236}">
                <a16:creationId xmlns:a16="http://schemas.microsoft.com/office/drawing/2014/main" id="{25729860-0E6E-4B94-83C5-9D261E017967}"/>
              </a:ext>
            </a:extLst>
          </p:cNvPr>
          <p:cNvGraphicFramePr>
            <a:graphicFrameLocks noGrp="1"/>
          </p:cNvGraphicFramePr>
          <p:nvPr>
            <p:extLst>
              <p:ext uri="{D42A27DB-BD31-4B8C-83A1-F6EECF244321}">
                <p14:modId xmlns:p14="http://schemas.microsoft.com/office/powerpoint/2010/main" val="2146683243"/>
              </p:ext>
            </p:extLst>
          </p:nvPr>
        </p:nvGraphicFramePr>
        <p:xfrm>
          <a:off x="-1" y="3987"/>
          <a:ext cx="12190412" cy="370840"/>
        </p:xfrm>
        <a:graphic>
          <a:graphicData uri="http://schemas.openxmlformats.org/drawingml/2006/table">
            <a:tbl>
              <a:tblPr firstRow="1" bandRow="1">
                <a:tableStyleId>{5C22544A-7EE6-4342-B048-85BDC9FD1C3A}</a:tableStyleId>
              </a:tblPr>
              <a:tblGrid>
                <a:gridCol w="3047603">
                  <a:extLst>
                    <a:ext uri="{9D8B030D-6E8A-4147-A177-3AD203B41FA5}">
                      <a16:colId xmlns:a16="http://schemas.microsoft.com/office/drawing/2014/main" val="4293867470"/>
                    </a:ext>
                  </a:extLst>
                </a:gridCol>
                <a:gridCol w="3047603">
                  <a:extLst>
                    <a:ext uri="{9D8B030D-6E8A-4147-A177-3AD203B41FA5}">
                      <a16:colId xmlns:a16="http://schemas.microsoft.com/office/drawing/2014/main" val="2122758113"/>
                    </a:ext>
                  </a:extLst>
                </a:gridCol>
                <a:gridCol w="3047603">
                  <a:extLst>
                    <a:ext uri="{9D8B030D-6E8A-4147-A177-3AD203B41FA5}">
                      <a16:colId xmlns:a16="http://schemas.microsoft.com/office/drawing/2014/main" val="3843830614"/>
                    </a:ext>
                  </a:extLst>
                </a:gridCol>
                <a:gridCol w="3047603">
                  <a:extLst>
                    <a:ext uri="{9D8B030D-6E8A-4147-A177-3AD203B41FA5}">
                      <a16:colId xmlns:a16="http://schemas.microsoft.com/office/drawing/2014/main" val="3292150729"/>
                    </a:ext>
                  </a:extLst>
                </a:gridCol>
              </a:tblGrid>
              <a:tr h="370840">
                <a:tc>
                  <a:txBody>
                    <a:bodyPr/>
                    <a:lstStyle/>
                    <a:p>
                      <a:pPr algn="ctr"/>
                      <a:r>
                        <a:rPr lang="en-US"/>
                        <a:t>Case 1</a:t>
                      </a:r>
                    </a:p>
                  </a:txBody>
                  <a:tcPr>
                    <a:solidFill>
                      <a:schemeClr val="bg2">
                        <a:lumMod val="20000"/>
                        <a:lumOff val="80000"/>
                      </a:schemeClr>
                    </a:solidFill>
                  </a:tcPr>
                </a:tc>
                <a:tc>
                  <a:txBody>
                    <a:bodyPr/>
                    <a:lstStyle/>
                    <a:p>
                      <a:pPr algn="ctr"/>
                      <a:r>
                        <a:rPr lang="en-US"/>
                        <a:t>Case 2</a:t>
                      </a:r>
                    </a:p>
                  </a:txBody>
                  <a:tcPr>
                    <a:solidFill>
                      <a:schemeClr val="bg2">
                        <a:lumMod val="20000"/>
                        <a:lumOff val="80000"/>
                      </a:schemeClr>
                    </a:solidFill>
                  </a:tcPr>
                </a:tc>
                <a:tc>
                  <a:txBody>
                    <a:bodyPr/>
                    <a:lstStyle/>
                    <a:p>
                      <a:pPr algn="ctr"/>
                      <a:r>
                        <a:rPr lang="en-US"/>
                        <a:t>Case 3</a:t>
                      </a:r>
                    </a:p>
                  </a:txBody>
                  <a:tcPr>
                    <a:solidFill>
                      <a:schemeClr val="bg2"/>
                    </a:solidFill>
                  </a:tcPr>
                </a:tc>
                <a:tc>
                  <a:txBody>
                    <a:bodyPr/>
                    <a:lstStyle/>
                    <a:p>
                      <a:pPr algn="ctr"/>
                      <a:r>
                        <a:rPr lang="en-US"/>
                        <a:t>Case 4</a:t>
                      </a:r>
                    </a:p>
                  </a:txBody>
                  <a:tcPr>
                    <a:solidFill>
                      <a:schemeClr val="bg2">
                        <a:lumMod val="20000"/>
                        <a:lumOff val="80000"/>
                      </a:schemeClr>
                    </a:solidFill>
                  </a:tcPr>
                </a:tc>
                <a:extLst>
                  <a:ext uri="{0D108BD9-81ED-4DB2-BD59-A6C34878D82A}">
                    <a16:rowId xmlns:a16="http://schemas.microsoft.com/office/drawing/2014/main" val="2152829518"/>
                  </a:ext>
                </a:extLst>
              </a:tr>
            </a:tbl>
          </a:graphicData>
        </a:graphic>
      </p:graphicFrame>
    </p:spTree>
    <p:extLst>
      <p:ext uri="{BB962C8B-B14F-4D97-AF65-F5344CB8AC3E}">
        <p14:creationId xmlns:p14="http://schemas.microsoft.com/office/powerpoint/2010/main" val="193859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ppt_x"/>
                                          </p:val>
                                        </p:tav>
                                        <p:tav tm="100000">
                                          <p:val>
                                            <p:strVal val="#ppt_x"/>
                                          </p:val>
                                        </p:tav>
                                      </p:tavLst>
                                    </p:anim>
                                    <p:anim calcmode="lin" valueType="num">
                                      <p:cBhvr additive="base">
                                        <p:cTn id="8" dur="500" fill="hold"/>
                                        <p:tgtEl>
                                          <p:spTgt spid="2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3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E695904E-46B0-4B29-9E2E-8B12F54DA4DE}"/>
              </a:ext>
            </a:extLst>
          </p:cNvPr>
          <p:cNvPicPr>
            <a:picLocks noChangeAspect="1"/>
          </p:cNvPicPr>
          <p:nvPr/>
        </p:nvPicPr>
        <p:blipFill>
          <a:blip r:embed="rId10"/>
          <a:stretch>
            <a:fillRect/>
          </a:stretch>
        </p:blipFill>
        <p:spPr>
          <a:xfrm>
            <a:off x="7377343" y="1816119"/>
            <a:ext cx="1761491" cy="990839"/>
          </a:xfrm>
          <a:prstGeom prst="rect">
            <a:avLst/>
          </a:prstGeom>
        </p:spPr>
      </p:pic>
      <p:sp>
        <p:nvSpPr>
          <p:cNvPr id="2" name="Subtitle 1">
            <a:extLst>
              <a:ext uri="{FF2B5EF4-FFF2-40B4-BE49-F238E27FC236}">
                <a16:creationId xmlns:a16="http://schemas.microsoft.com/office/drawing/2014/main" id="{80DAE7CF-184D-4BED-8342-54D8AC2D31BD}"/>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A6FC7A65-E28F-4680-8950-B7711D85C32D}"/>
              </a:ext>
            </a:extLst>
          </p:cNvPr>
          <p:cNvSpPr>
            <a:spLocks noGrp="1"/>
          </p:cNvSpPr>
          <p:nvPr>
            <p:ph type="title"/>
          </p:nvPr>
        </p:nvSpPr>
        <p:spPr/>
        <p:txBody>
          <a:bodyPr/>
          <a:lstStyle/>
          <a:p>
            <a:r>
              <a:rPr lang="en-US"/>
              <a:t>Hermione – Use cases</a:t>
            </a:r>
          </a:p>
        </p:txBody>
      </p:sp>
      <p:sp>
        <p:nvSpPr>
          <p:cNvPr id="4" name="Footer Placeholder 3">
            <a:extLst>
              <a:ext uri="{FF2B5EF4-FFF2-40B4-BE49-F238E27FC236}">
                <a16:creationId xmlns:a16="http://schemas.microsoft.com/office/drawing/2014/main" id="{56140B8B-EEE7-4FCF-AA94-27ADD069A658}"/>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3F5C8690-8EAA-4021-AC4B-6013984EE8DA}"/>
              </a:ext>
            </a:extLst>
          </p:cNvPr>
          <p:cNvSpPr>
            <a:spLocks noGrp="1"/>
          </p:cNvSpPr>
          <p:nvPr>
            <p:ph type="sldNum" sz="quarter" idx="12"/>
          </p:nvPr>
        </p:nvSpPr>
        <p:spPr/>
        <p:txBody>
          <a:bodyPr/>
          <a:lstStyle/>
          <a:p>
            <a:fld id="{EEAD9179-7A6B-4268-BEB2-F3B8EB06115B}" type="slidenum">
              <a:rPr lang="en-US" smtClean="0"/>
              <a:pPr/>
              <a:t>25</a:t>
            </a:fld>
            <a:endParaRPr lang="en-US"/>
          </a:p>
        </p:txBody>
      </p:sp>
      <p:sp>
        <p:nvSpPr>
          <p:cNvPr id="8" name="TextBox 7">
            <a:extLst>
              <a:ext uri="{FF2B5EF4-FFF2-40B4-BE49-F238E27FC236}">
                <a16:creationId xmlns:a16="http://schemas.microsoft.com/office/drawing/2014/main" id="{82ADACF5-69A1-4E3F-9C75-402361970CE8}"/>
              </a:ext>
            </a:extLst>
          </p:cNvPr>
          <p:cNvSpPr txBox="1"/>
          <p:nvPr>
            <p:custDataLst>
              <p:tags r:id="rId1"/>
            </p:custDataLst>
          </p:nvPr>
        </p:nvSpPr>
        <p:spPr bwMode="gray">
          <a:xfrm>
            <a:off x="981821" y="2723812"/>
            <a:ext cx="2335753" cy="1661993"/>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1"/>
              </a:buBlip>
              <a:defRPr>
                <a:solidFill>
                  <a:schemeClr val="accent1"/>
                </a:solidFill>
              </a:defRPr>
            </a:lvl2pPr>
            <a:lvl3pPr marL="539946" lvl="2" indent="-269973" defTabSz="914309">
              <a:spcBef>
                <a:spcPts val="300"/>
              </a:spcBef>
              <a:spcAft>
                <a:spcPts val="600"/>
              </a:spcAft>
              <a:buFontTx/>
              <a:buBlip>
                <a:blip r:embed="rId12"/>
              </a:buBlip>
              <a:defRPr>
                <a:solidFill>
                  <a:schemeClr val="accent1"/>
                </a:solidFill>
              </a:defRPr>
            </a:lvl3pPr>
            <a:lvl4pPr marL="809919" lvl="3" indent="-269973" defTabSz="914309">
              <a:spcBef>
                <a:spcPts val="300"/>
              </a:spcBef>
              <a:spcAft>
                <a:spcPts val="600"/>
              </a:spcAft>
              <a:buFontTx/>
              <a:buBlip>
                <a:blip r:embed="rId13"/>
              </a:buBlip>
              <a:defRPr>
                <a:solidFill>
                  <a:schemeClr val="accent1"/>
                </a:solidFill>
              </a:defRPr>
            </a:lvl4pPr>
            <a:lvl5pPr marL="1079892" lvl="4" indent="-269973" defTabSz="914309">
              <a:spcBef>
                <a:spcPts val="300"/>
              </a:spcBef>
              <a:spcAft>
                <a:spcPts val="600"/>
              </a:spcAft>
              <a:buFontTx/>
              <a:buBlip>
                <a:blip r:embed="rId14"/>
              </a:buBlip>
              <a:defRPr>
                <a:solidFill>
                  <a:schemeClr val="accent1"/>
                </a:solidFill>
              </a:defRPr>
            </a:lvl5pPr>
            <a:lvl6pPr marL="1079892" indent="-269973" defTabSz="914309">
              <a:spcBef>
                <a:spcPts val="300"/>
              </a:spcBef>
              <a:spcAft>
                <a:spcPts val="600"/>
              </a:spcAft>
              <a:buFontTx/>
              <a:buBlip>
                <a:blip r:embed="rId14"/>
              </a:buBlip>
            </a:lvl6pPr>
            <a:lvl7pPr marL="1079892" indent="-269973" defTabSz="914309">
              <a:spcBef>
                <a:spcPts val="300"/>
              </a:spcBef>
              <a:spcAft>
                <a:spcPts val="600"/>
              </a:spcAft>
              <a:buFontTx/>
              <a:buBlip>
                <a:blip r:embed="rId14"/>
              </a:buBlip>
            </a:lvl7pPr>
            <a:lvl8pPr marL="1079892" indent="-269973" defTabSz="914309">
              <a:spcBef>
                <a:spcPts val="300"/>
              </a:spcBef>
              <a:spcAft>
                <a:spcPts val="600"/>
              </a:spcAft>
              <a:buFontTx/>
              <a:buBlip>
                <a:blip r:embed="rId14"/>
              </a:buBlip>
            </a:lvl8pPr>
            <a:lvl9pPr marL="1079892" indent="-269973" defTabSz="914309">
              <a:spcBef>
                <a:spcPts val="300"/>
              </a:spcBef>
              <a:spcAft>
                <a:spcPts val="600"/>
              </a:spcAft>
              <a:buFontTx/>
              <a:buBlip>
                <a:blip r:embed="rId14"/>
              </a:buBlip>
            </a:lvl9pPr>
          </a:lstStyle>
          <a:p>
            <a:pPr>
              <a:spcBef>
                <a:spcPct val="20000"/>
              </a:spcBef>
              <a:spcAft>
                <a:spcPts val="0"/>
              </a:spcAft>
            </a:pPr>
            <a:r>
              <a:rPr lang="en-US">
                <a:solidFill>
                  <a:schemeClr val="tx1"/>
                </a:solidFill>
              </a:rPr>
              <a:t>Found high quality study not easily accessible before and discovered known measures like incidence</a:t>
            </a:r>
            <a:endParaRPr lang="en-GB" b="1">
              <a:solidFill>
                <a:schemeClr val="accent2"/>
              </a:solidFill>
            </a:endParaRPr>
          </a:p>
        </p:txBody>
      </p:sp>
      <p:sp>
        <p:nvSpPr>
          <p:cNvPr id="10" name="TextBox 9">
            <a:extLst>
              <a:ext uri="{FF2B5EF4-FFF2-40B4-BE49-F238E27FC236}">
                <a16:creationId xmlns:a16="http://schemas.microsoft.com/office/drawing/2014/main" id="{B1AD1FA3-2D97-4876-B9AC-C97DAD581719}"/>
              </a:ext>
            </a:extLst>
          </p:cNvPr>
          <p:cNvSpPr txBox="1"/>
          <p:nvPr>
            <p:custDataLst>
              <p:tags r:id="rId2"/>
            </p:custDataLst>
          </p:nvPr>
        </p:nvSpPr>
        <p:spPr bwMode="gray">
          <a:xfrm>
            <a:off x="3671050" y="2723812"/>
            <a:ext cx="2335753" cy="1107996"/>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1"/>
              </a:buBlip>
              <a:defRPr>
                <a:solidFill>
                  <a:schemeClr val="accent1"/>
                </a:solidFill>
              </a:defRPr>
            </a:lvl2pPr>
            <a:lvl3pPr marL="539946" lvl="2" indent="-269973" defTabSz="914309">
              <a:spcBef>
                <a:spcPts val="300"/>
              </a:spcBef>
              <a:spcAft>
                <a:spcPts val="600"/>
              </a:spcAft>
              <a:buFontTx/>
              <a:buBlip>
                <a:blip r:embed="rId12"/>
              </a:buBlip>
              <a:defRPr>
                <a:solidFill>
                  <a:schemeClr val="accent1"/>
                </a:solidFill>
              </a:defRPr>
            </a:lvl3pPr>
            <a:lvl4pPr marL="809919" lvl="3" indent="-269973" defTabSz="914309">
              <a:spcBef>
                <a:spcPts val="300"/>
              </a:spcBef>
              <a:spcAft>
                <a:spcPts val="600"/>
              </a:spcAft>
              <a:buFontTx/>
              <a:buBlip>
                <a:blip r:embed="rId13"/>
              </a:buBlip>
              <a:defRPr>
                <a:solidFill>
                  <a:schemeClr val="accent1"/>
                </a:solidFill>
              </a:defRPr>
            </a:lvl4pPr>
            <a:lvl5pPr marL="1079892" lvl="4" indent="-269973" defTabSz="914309">
              <a:spcBef>
                <a:spcPts val="300"/>
              </a:spcBef>
              <a:spcAft>
                <a:spcPts val="600"/>
              </a:spcAft>
              <a:buFontTx/>
              <a:buBlip>
                <a:blip r:embed="rId14"/>
              </a:buBlip>
              <a:defRPr>
                <a:solidFill>
                  <a:schemeClr val="accent1"/>
                </a:solidFill>
              </a:defRPr>
            </a:lvl5pPr>
            <a:lvl6pPr marL="1079892" indent="-269973" defTabSz="914309">
              <a:spcBef>
                <a:spcPts val="300"/>
              </a:spcBef>
              <a:spcAft>
                <a:spcPts val="600"/>
              </a:spcAft>
              <a:buFontTx/>
              <a:buBlip>
                <a:blip r:embed="rId14"/>
              </a:buBlip>
            </a:lvl6pPr>
            <a:lvl7pPr marL="1079892" indent="-269973" defTabSz="914309">
              <a:spcBef>
                <a:spcPts val="300"/>
              </a:spcBef>
              <a:spcAft>
                <a:spcPts val="600"/>
              </a:spcAft>
              <a:buFontTx/>
              <a:buBlip>
                <a:blip r:embed="rId14"/>
              </a:buBlip>
            </a:lvl7pPr>
            <a:lvl8pPr marL="1079892" indent="-269973" defTabSz="914309">
              <a:spcBef>
                <a:spcPts val="300"/>
              </a:spcBef>
              <a:spcAft>
                <a:spcPts val="600"/>
              </a:spcAft>
              <a:buFontTx/>
              <a:buBlip>
                <a:blip r:embed="rId14"/>
              </a:buBlip>
            </a:lvl8pPr>
            <a:lvl9pPr marL="1079892" indent="-269973" defTabSz="914309">
              <a:spcBef>
                <a:spcPts val="300"/>
              </a:spcBef>
              <a:spcAft>
                <a:spcPts val="600"/>
              </a:spcAft>
              <a:buFontTx/>
              <a:buBlip>
                <a:blip r:embed="rId14"/>
              </a:buBlip>
            </a:lvl9pPr>
          </a:lstStyle>
          <a:p>
            <a:r>
              <a:rPr lang="en-US">
                <a:latin typeface="Arial" panose="020B0604020202020204" pitchFamily="34" charset="0"/>
              </a:rPr>
              <a:t>Discovered insights on studies of Finerenone vs. Eplerenone in Japanese Patients</a:t>
            </a:r>
          </a:p>
        </p:txBody>
      </p:sp>
      <p:sp>
        <p:nvSpPr>
          <p:cNvPr id="12" name="TextBox 11">
            <a:extLst>
              <a:ext uri="{FF2B5EF4-FFF2-40B4-BE49-F238E27FC236}">
                <a16:creationId xmlns:a16="http://schemas.microsoft.com/office/drawing/2014/main" id="{D046C87D-D807-425C-9CE7-988C321D8806}"/>
              </a:ext>
            </a:extLst>
          </p:cNvPr>
          <p:cNvSpPr txBox="1"/>
          <p:nvPr>
            <p:custDataLst>
              <p:tags r:id="rId3"/>
            </p:custDataLst>
          </p:nvPr>
        </p:nvSpPr>
        <p:spPr bwMode="gray">
          <a:xfrm>
            <a:off x="6360279" y="2723812"/>
            <a:ext cx="2336493" cy="2492990"/>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1"/>
              </a:buBlip>
              <a:defRPr>
                <a:solidFill>
                  <a:schemeClr val="accent1"/>
                </a:solidFill>
              </a:defRPr>
            </a:lvl2pPr>
            <a:lvl3pPr marL="539946" lvl="2" indent="-269973" defTabSz="914309">
              <a:spcBef>
                <a:spcPts val="300"/>
              </a:spcBef>
              <a:spcAft>
                <a:spcPts val="600"/>
              </a:spcAft>
              <a:buFontTx/>
              <a:buBlip>
                <a:blip r:embed="rId12"/>
              </a:buBlip>
              <a:defRPr>
                <a:solidFill>
                  <a:schemeClr val="accent1"/>
                </a:solidFill>
              </a:defRPr>
            </a:lvl3pPr>
            <a:lvl4pPr marL="809919" lvl="3" indent="-269973" defTabSz="914309">
              <a:spcBef>
                <a:spcPts val="300"/>
              </a:spcBef>
              <a:spcAft>
                <a:spcPts val="600"/>
              </a:spcAft>
              <a:buFontTx/>
              <a:buBlip>
                <a:blip r:embed="rId13"/>
              </a:buBlip>
              <a:defRPr>
                <a:solidFill>
                  <a:schemeClr val="accent1"/>
                </a:solidFill>
              </a:defRPr>
            </a:lvl4pPr>
            <a:lvl5pPr marL="1079892" lvl="4" indent="-269973" defTabSz="914309">
              <a:spcBef>
                <a:spcPts val="300"/>
              </a:spcBef>
              <a:spcAft>
                <a:spcPts val="600"/>
              </a:spcAft>
              <a:buFontTx/>
              <a:buBlip>
                <a:blip r:embed="rId14"/>
              </a:buBlip>
              <a:defRPr>
                <a:solidFill>
                  <a:schemeClr val="accent1"/>
                </a:solidFill>
              </a:defRPr>
            </a:lvl5pPr>
            <a:lvl6pPr marL="1079892" indent="-269973" defTabSz="914309">
              <a:spcBef>
                <a:spcPts val="300"/>
              </a:spcBef>
              <a:spcAft>
                <a:spcPts val="600"/>
              </a:spcAft>
              <a:buFontTx/>
              <a:buBlip>
                <a:blip r:embed="rId14"/>
              </a:buBlip>
            </a:lvl6pPr>
            <a:lvl7pPr marL="1079892" indent="-269973" defTabSz="914309">
              <a:spcBef>
                <a:spcPts val="300"/>
              </a:spcBef>
              <a:spcAft>
                <a:spcPts val="600"/>
              </a:spcAft>
              <a:buFontTx/>
              <a:buBlip>
                <a:blip r:embed="rId14"/>
              </a:buBlip>
            </a:lvl7pPr>
            <a:lvl8pPr marL="1079892" indent="-269973" defTabSz="914309">
              <a:spcBef>
                <a:spcPts val="300"/>
              </a:spcBef>
              <a:spcAft>
                <a:spcPts val="600"/>
              </a:spcAft>
              <a:buFontTx/>
              <a:buBlip>
                <a:blip r:embed="rId14"/>
              </a:buBlip>
            </a:lvl8pPr>
            <a:lvl9pPr marL="1079892" indent="-269973" defTabSz="914309">
              <a:spcBef>
                <a:spcPts val="300"/>
              </a:spcBef>
              <a:spcAft>
                <a:spcPts val="600"/>
              </a:spcAft>
              <a:buFontTx/>
              <a:buBlip>
                <a:blip r:embed="rId14"/>
              </a:buBlip>
            </a:lvl9pPr>
          </a:lstStyle>
          <a:p>
            <a:r>
              <a:rPr lang="en-US">
                <a:latin typeface="Arial" panose="020B0604020202020204" pitchFamily="34" charset="0"/>
              </a:rPr>
              <a:t>D</a:t>
            </a:r>
            <a:r>
              <a:rPr lang="en-US" sz="1800" b="0" i="0" u="none" strike="noStrike" baseline="0">
                <a:latin typeface="Arial" panose="020B0604020202020204" pitchFamily="34" charset="0"/>
              </a:rPr>
              <a:t>iscovered insights on the natural history of diabetic retinopathy (DR) in diabetic patients that led to the decision to not run a specific time-consuming data analysis</a:t>
            </a:r>
          </a:p>
        </p:txBody>
      </p:sp>
      <p:sp>
        <p:nvSpPr>
          <p:cNvPr id="14" name="TextBox 13">
            <a:extLst>
              <a:ext uri="{FF2B5EF4-FFF2-40B4-BE49-F238E27FC236}">
                <a16:creationId xmlns:a16="http://schemas.microsoft.com/office/drawing/2014/main" id="{21A4B6FD-5F38-4261-B23E-03D78A796072}"/>
              </a:ext>
            </a:extLst>
          </p:cNvPr>
          <p:cNvSpPr txBox="1"/>
          <p:nvPr>
            <p:custDataLst>
              <p:tags r:id="rId4"/>
            </p:custDataLst>
          </p:nvPr>
        </p:nvSpPr>
        <p:spPr bwMode="gray">
          <a:xfrm>
            <a:off x="9050192" y="2723812"/>
            <a:ext cx="2827483" cy="2215991"/>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1"/>
              </a:buBlip>
              <a:defRPr>
                <a:solidFill>
                  <a:schemeClr val="accent1"/>
                </a:solidFill>
              </a:defRPr>
            </a:lvl2pPr>
            <a:lvl3pPr marL="539946" lvl="2" indent="-269973" defTabSz="914309">
              <a:spcBef>
                <a:spcPts val="300"/>
              </a:spcBef>
              <a:spcAft>
                <a:spcPts val="600"/>
              </a:spcAft>
              <a:buFontTx/>
              <a:buBlip>
                <a:blip r:embed="rId12"/>
              </a:buBlip>
              <a:defRPr>
                <a:solidFill>
                  <a:schemeClr val="accent1"/>
                </a:solidFill>
              </a:defRPr>
            </a:lvl3pPr>
            <a:lvl4pPr marL="809919" lvl="3" indent="-269973" defTabSz="914309">
              <a:spcBef>
                <a:spcPts val="300"/>
              </a:spcBef>
              <a:spcAft>
                <a:spcPts val="600"/>
              </a:spcAft>
              <a:buFontTx/>
              <a:buBlip>
                <a:blip r:embed="rId13"/>
              </a:buBlip>
              <a:defRPr>
                <a:solidFill>
                  <a:schemeClr val="accent1"/>
                </a:solidFill>
              </a:defRPr>
            </a:lvl4pPr>
            <a:lvl5pPr marL="1079892" lvl="4" indent="-269973" defTabSz="914309">
              <a:spcBef>
                <a:spcPts val="300"/>
              </a:spcBef>
              <a:spcAft>
                <a:spcPts val="600"/>
              </a:spcAft>
              <a:buFontTx/>
              <a:buBlip>
                <a:blip r:embed="rId14"/>
              </a:buBlip>
              <a:defRPr>
                <a:solidFill>
                  <a:schemeClr val="accent1"/>
                </a:solidFill>
              </a:defRPr>
            </a:lvl5pPr>
            <a:lvl6pPr marL="1079892" indent="-269973" defTabSz="914309">
              <a:spcBef>
                <a:spcPts val="300"/>
              </a:spcBef>
              <a:spcAft>
                <a:spcPts val="600"/>
              </a:spcAft>
              <a:buFontTx/>
              <a:buBlip>
                <a:blip r:embed="rId14"/>
              </a:buBlip>
            </a:lvl6pPr>
            <a:lvl7pPr marL="1079892" indent="-269973" defTabSz="914309">
              <a:spcBef>
                <a:spcPts val="300"/>
              </a:spcBef>
              <a:spcAft>
                <a:spcPts val="600"/>
              </a:spcAft>
              <a:buFontTx/>
              <a:buBlip>
                <a:blip r:embed="rId14"/>
              </a:buBlip>
            </a:lvl7pPr>
            <a:lvl8pPr marL="1079892" indent="-269973" defTabSz="914309">
              <a:spcBef>
                <a:spcPts val="300"/>
              </a:spcBef>
              <a:spcAft>
                <a:spcPts val="600"/>
              </a:spcAft>
              <a:buFontTx/>
              <a:buBlip>
                <a:blip r:embed="rId14"/>
              </a:buBlip>
            </a:lvl8pPr>
            <a:lvl9pPr marL="1079892" indent="-269973" defTabSz="914309">
              <a:spcBef>
                <a:spcPts val="300"/>
              </a:spcBef>
              <a:spcAft>
                <a:spcPts val="600"/>
              </a:spcAft>
              <a:buFontTx/>
              <a:buBlip>
                <a:blip r:embed="rId14"/>
              </a:buBlip>
            </a:lvl9pPr>
          </a:lstStyle>
          <a:p>
            <a:pPr>
              <a:spcBef>
                <a:spcPct val="20000"/>
              </a:spcBef>
              <a:spcAft>
                <a:spcPts val="0"/>
              </a:spcAft>
            </a:pPr>
            <a:r>
              <a:rPr lang="en-US">
                <a:latin typeface="Arial" panose="020B0604020202020204" pitchFamily="34" charset="0"/>
              </a:rPr>
              <a:t>F</a:t>
            </a:r>
            <a:r>
              <a:rPr lang="en-US" sz="1800" b="0" i="0" u="none" strike="noStrike" baseline="0">
                <a:latin typeface="Arial" panose="020B0604020202020204" pitchFamily="34" charset="0"/>
              </a:rPr>
              <a:t>ound results of analysis from Regeneron Pharmaceuticals, Inc on Progression to Proliferative Diabetic Retinopathy in NPDR Eyes without Diabetic Macular </a:t>
            </a:r>
            <a:r>
              <a:rPr lang="en-US" sz="1800" b="0" i="0" u="none" strike="noStrike" baseline="0" err="1">
                <a:latin typeface="Arial" panose="020B0604020202020204" pitchFamily="34" charset="0"/>
              </a:rPr>
              <a:t>Edemain</a:t>
            </a:r>
            <a:r>
              <a:rPr lang="en-US" sz="1800" b="0" i="0" u="none" strike="noStrike" baseline="0">
                <a:latin typeface="Arial" panose="020B0604020202020204" pitchFamily="34" charset="0"/>
              </a:rPr>
              <a:t> the United States</a:t>
            </a:r>
            <a:endParaRPr lang="en-GB">
              <a:solidFill>
                <a:schemeClr val="tx1"/>
              </a:solidFill>
            </a:endParaRPr>
          </a:p>
        </p:txBody>
      </p:sp>
      <p:sp>
        <p:nvSpPr>
          <p:cNvPr id="17" name="TextBox 16">
            <a:extLst>
              <a:ext uri="{FF2B5EF4-FFF2-40B4-BE49-F238E27FC236}">
                <a16:creationId xmlns:a16="http://schemas.microsoft.com/office/drawing/2014/main" id="{CEB6CC4F-BE23-47DA-8EAD-8463EFC57B13}"/>
              </a:ext>
            </a:extLst>
          </p:cNvPr>
          <p:cNvSpPr txBox="1"/>
          <p:nvPr/>
        </p:nvSpPr>
        <p:spPr bwMode="gray">
          <a:xfrm>
            <a:off x="982663" y="1529932"/>
            <a:ext cx="2112962" cy="369332"/>
          </a:xfrm>
          <a:prstGeom prst="rect">
            <a:avLst/>
          </a:prstGeom>
          <a:noFill/>
        </p:spPr>
        <p:txBody>
          <a:bodyPr wrap="square">
            <a:spAutoFit/>
          </a:bodyPr>
          <a:lstStyle/>
          <a:p>
            <a:r>
              <a:rPr lang="en-US" sz="1800" b="1" i="0" u="none" strike="noStrike" baseline="0">
                <a:latin typeface="Arial" panose="020B0604020202020204" pitchFamily="34" charset="0"/>
              </a:rPr>
              <a:t>Endometriosis</a:t>
            </a:r>
            <a:r>
              <a:rPr lang="en-US" sz="1800" b="0" i="0" u="none" strike="noStrike" baseline="0">
                <a:latin typeface="Arial" panose="020B0604020202020204" pitchFamily="34" charset="0"/>
              </a:rPr>
              <a:t> </a:t>
            </a:r>
            <a:endParaRPr lang="en-US"/>
          </a:p>
        </p:txBody>
      </p:sp>
      <p:sp>
        <p:nvSpPr>
          <p:cNvPr id="19" name="TextBox 18">
            <a:extLst>
              <a:ext uri="{FF2B5EF4-FFF2-40B4-BE49-F238E27FC236}">
                <a16:creationId xmlns:a16="http://schemas.microsoft.com/office/drawing/2014/main" id="{BFA02BE5-C049-41F4-9455-7B5F4F2ECE9D}"/>
              </a:ext>
            </a:extLst>
          </p:cNvPr>
          <p:cNvSpPr txBox="1"/>
          <p:nvPr/>
        </p:nvSpPr>
        <p:spPr bwMode="gray">
          <a:xfrm>
            <a:off x="3752850" y="1529932"/>
            <a:ext cx="1952625" cy="369332"/>
          </a:xfrm>
          <a:prstGeom prst="rect">
            <a:avLst/>
          </a:prstGeom>
          <a:noFill/>
        </p:spPr>
        <p:txBody>
          <a:bodyPr wrap="square">
            <a:spAutoFit/>
          </a:bodyPr>
          <a:lstStyle/>
          <a:p>
            <a:r>
              <a:rPr lang="en-US" sz="1800" b="1" i="0" u="none" strike="noStrike" baseline="0">
                <a:latin typeface="Arial" panose="020B0604020202020204" pitchFamily="34" charset="0"/>
              </a:rPr>
              <a:t>Finerenone</a:t>
            </a:r>
            <a:endParaRPr lang="en-US"/>
          </a:p>
        </p:txBody>
      </p:sp>
      <p:sp>
        <p:nvSpPr>
          <p:cNvPr id="21" name="TextBox 20">
            <a:extLst>
              <a:ext uri="{FF2B5EF4-FFF2-40B4-BE49-F238E27FC236}">
                <a16:creationId xmlns:a16="http://schemas.microsoft.com/office/drawing/2014/main" id="{23097F57-1D44-401A-B53B-FA24C9B1B728}"/>
              </a:ext>
            </a:extLst>
          </p:cNvPr>
          <p:cNvSpPr txBox="1"/>
          <p:nvPr/>
        </p:nvSpPr>
        <p:spPr bwMode="gray">
          <a:xfrm>
            <a:off x="6210300" y="1529932"/>
            <a:ext cx="2600325" cy="646331"/>
          </a:xfrm>
          <a:prstGeom prst="rect">
            <a:avLst/>
          </a:prstGeom>
          <a:noFill/>
        </p:spPr>
        <p:txBody>
          <a:bodyPr wrap="square">
            <a:spAutoFit/>
          </a:bodyPr>
          <a:lstStyle/>
          <a:p>
            <a:r>
              <a:rPr lang="en-US" sz="1800" b="1" i="0" u="none" strike="noStrike" baseline="0">
                <a:latin typeface="Arial" panose="020B0604020202020204" pitchFamily="34" charset="0"/>
              </a:rPr>
              <a:t>Diabetic retinopathy </a:t>
            </a:r>
          </a:p>
          <a:p>
            <a:r>
              <a:rPr lang="en-US" sz="1800" b="1" i="0" u="none" strike="noStrike" baseline="0">
                <a:latin typeface="Arial" panose="020B0604020202020204" pitchFamily="34" charset="0"/>
              </a:rPr>
              <a:t>(DR): </a:t>
            </a:r>
            <a:endParaRPr lang="en-US"/>
          </a:p>
        </p:txBody>
      </p:sp>
      <p:sp>
        <p:nvSpPr>
          <p:cNvPr id="23" name="TextBox 22">
            <a:extLst>
              <a:ext uri="{FF2B5EF4-FFF2-40B4-BE49-F238E27FC236}">
                <a16:creationId xmlns:a16="http://schemas.microsoft.com/office/drawing/2014/main" id="{3C6CBB93-F532-4A83-9BEE-67F97989193A}"/>
              </a:ext>
            </a:extLst>
          </p:cNvPr>
          <p:cNvSpPr txBox="1"/>
          <p:nvPr/>
        </p:nvSpPr>
        <p:spPr bwMode="gray">
          <a:xfrm>
            <a:off x="9007621" y="1529932"/>
            <a:ext cx="3182792" cy="923330"/>
          </a:xfrm>
          <a:prstGeom prst="rect">
            <a:avLst/>
          </a:prstGeom>
          <a:noFill/>
        </p:spPr>
        <p:txBody>
          <a:bodyPr wrap="square">
            <a:spAutoFit/>
          </a:bodyPr>
          <a:lstStyle/>
          <a:p>
            <a:r>
              <a:rPr lang="en-US" sz="1800" b="1" i="0" u="none" strike="noStrike" baseline="0" err="1">
                <a:latin typeface="Arial" panose="020B0604020202020204" pitchFamily="34" charset="0"/>
              </a:rPr>
              <a:t>NonProliferative</a:t>
            </a:r>
            <a:r>
              <a:rPr lang="en-US" sz="1800" b="1" i="0" u="none" strike="noStrike" baseline="0">
                <a:latin typeface="Arial" panose="020B0604020202020204" pitchFamily="34" charset="0"/>
              </a:rPr>
              <a:t> </a:t>
            </a:r>
          </a:p>
          <a:p>
            <a:r>
              <a:rPr lang="en-US" sz="1800" b="1" i="0" u="none" strike="noStrike" baseline="0">
                <a:latin typeface="Arial" panose="020B0604020202020204" pitchFamily="34" charset="0"/>
              </a:rPr>
              <a:t>Diabetic Retinopathy (NPDR)</a:t>
            </a:r>
            <a:endParaRPr lang="en-US"/>
          </a:p>
        </p:txBody>
      </p:sp>
      <p:sp>
        <p:nvSpPr>
          <p:cNvPr id="24" name="TextBox 23">
            <a:extLst>
              <a:ext uri="{FF2B5EF4-FFF2-40B4-BE49-F238E27FC236}">
                <a16:creationId xmlns:a16="http://schemas.microsoft.com/office/drawing/2014/main" id="{31749BF7-A75B-4886-8333-5481FE2F9A3B}"/>
              </a:ext>
            </a:extLst>
          </p:cNvPr>
          <p:cNvSpPr txBox="1"/>
          <p:nvPr>
            <p:custDataLst>
              <p:tags r:id="rId5"/>
            </p:custDataLst>
          </p:nvPr>
        </p:nvSpPr>
        <p:spPr bwMode="gray">
          <a:xfrm>
            <a:off x="1030288" y="5398387"/>
            <a:ext cx="2490783" cy="914400"/>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1"/>
              </a:buBlip>
              <a:defRPr>
                <a:solidFill>
                  <a:schemeClr val="accent1"/>
                </a:solidFill>
              </a:defRPr>
            </a:lvl2pPr>
            <a:lvl3pPr marL="539946" lvl="2" indent="-269973" defTabSz="914309">
              <a:spcBef>
                <a:spcPts val="300"/>
              </a:spcBef>
              <a:spcAft>
                <a:spcPts val="600"/>
              </a:spcAft>
              <a:buFontTx/>
              <a:buBlip>
                <a:blip r:embed="rId12"/>
              </a:buBlip>
              <a:defRPr>
                <a:solidFill>
                  <a:schemeClr val="accent1"/>
                </a:solidFill>
              </a:defRPr>
            </a:lvl3pPr>
            <a:lvl4pPr marL="809919" lvl="3" indent="-269973" defTabSz="914309">
              <a:spcBef>
                <a:spcPts val="300"/>
              </a:spcBef>
              <a:spcAft>
                <a:spcPts val="600"/>
              </a:spcAft>
              <a:buFontTx/>
              <a:buBlip>
                <a:blip r:embed="rId13"/>
              </a:buBlip>
              <a:defRPr>
                <a:solidFill>
                  <a:schemeClr val="accent1"/>
                </a:solidFill>
              </a:defRPr>
            </a:lvl4pPr>
            <a:lvl5pPr marL="1079892" lvl="4" indent="-269973" defTabSz="914309">
              <a:spcBef>
                <a:spcPts val="300"/>
              </a:spcBef>
              <a:spcAft>
                <a:spcPts val="600"/>
              </a:spcAft>
              <a:buFontTx/>
              <a:buBlip>
                <a:blip r:embed="rId14"/>
              </a:buBlip>
              <a:defRPr>
                <a:solidFill>
                  <a:schemeClr val="accent1"/>
                </a:solidFill>
              </a:defRPr>
            </a:lvl5pPr>
            <a:lvl6pPr marL="1079892" indent="-269973" defTabSz="914309">
              <a:spcBef>
                <a:spcPts val="300"/>
              </a:spcBef>
              <a:spcAft>
                <a:spcPts val="600"/>
              </a:spcAft>
              <a:buFontTx/>
              <a:buBlip>
                <a:blip r:embed="rId14"/>
              </a:buBlip>
            </a:lvl6pPr>
            <a:lvl7pPr marL="1079892" indent="-269973" defTabSz="914309">
              <a:spcBef>
                <a:spcPts val="300"/>
              </a:spcBef>
              <a:spcAft>
                <a:spcPts val="600"/>
              </a:spcAft>
              <a:buFontTx/>
              <a:buBlip>
                <a:blip r:embed="rId14"/>
              </a:buBlip>
            </a:lvl7pPr>
            <a:lvl8pPr marL="1079892" indent="-269973" defTabSz="914309">
              <a:spcBef>
                <a:spcPts val="300"/>
              </a:spcBef>
              <a:spcAft>
                <a:spcPts val="600"/>
              </a:spcAft>
              <a:buFontTx/>
              <a:buBlip>
                <a:blip r:embed="rId14"/>
              </a:buBlip>
            </a:lvl8pPr>
            <a:lvl9pPr marL="1079892" indent="-269973" defTabSz="914309">
              <a:spcBef>
                <a:spcPts val="300"/>
              </a:spcBef>
              <a:spcAft>
                <a:spcPts val="600"/>
              </a:spcAft>
              <a:buFontTx/>
              <a:buBlip>
                <a:blip r:embed="rId14"/>
              </a:buBlip>
            </a:lvl9pPr>
          </a:lstStyle>
          <a:p>
            <a:pPr>
              <a:spcBef>
                <a:spcPct val="20000"/>
              </a:spcBef>
              <a:spcAft>
                <a:spcPts val="0"/>
              </a:spcAft>
            </a:pPr>
            <a:r>
              <a:rPr lang="en-US" b="1">
                <a:solidFill>
                  <a:schemeClr val="accent2"/>
                </a:solidFill>
              </a:rPr>
              <a:t>reduced time from hours/days to minutes/seconds</a:t>
            </a:r>
            <a:endParaRPr lang="en-GB" b="1">
              <a:solidFill>
                <a:schemeClr val="accent2"/>
              </a:solidFill>
            </a:endParaRPr>
          </a:p>
        </p:txBody>
      </p:sp>
      <p:sp>
        <p:nvSpPr>
          <p:cNvPr id="25" name="TextBox 24">
            <a:extLst>
              <a:ext uri="{FF2B5EF4-FFF2-40B4-BE49-F238E27FC236}">
                <a16:creationId xmlns:a16="http://schemas.microsoft.com/office/drawing/2014/main" id="{98A5E82D-B155-461A-9A53-BED9E4FEA3D9}"/>
              </a:ext>
            </a:extLst>
          </p:cNvPr>
          <p:cNvSpPr txBox="1"/>
          <p:nvPr>
            <p:custDataLst>
              <p:tags r:id="rId6"/>
            </p:custDataLst>
          </p:nvPr>
        </p:nvSpPr>
        <p:spPr bwMode="gray">
          <a:xfrm>
            <a:off x="3719517" y="5398387"/>
            <a:ext cx="2490783" cy="914400"/>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1"/>
              </a:buBlip>
              <a:defRPr>
                <a:solidFill>
                  <a:schemeClr val="accent1"/>
                </a:solidFill>
              </a:defRPr>
            </a:lvl2pPr>
            <a:lvl3pPr marL="539946" lvl="2" indent="-269973" defTabSz="914309">
              <a:spcBef>
                <a:spcPts val="300"/>
              </a:spcBef>
              <a:spcAft>
                <a:spcPts val="600"/>
              </a:spcAft>
              <a:buFontTx/>
              <a:buBlip>
                <a:blip r:embed="rId12"/>
              </a:buBlip>
              <a:defRPr>
                <a:solidFill>
                  <a:schemeClr val="accent1"/>
                </a:solidFill>
              </a:defRPr>
            </a:lvl3pPr>
            <a:lvl4pPr marL="809919" lvl="3" indent="-269973" defTabSz="914309">
              <a:spcBef>
                <a:spcPts val="300"/>
              </a:spcBef>
              <a:spcAft>
                <a:spcPts val="600"/>
              </a:spcAft>
              <a:buFontTx/>
              <a:buBlip>
                <a:blip r:embed="rId13"/>
              </a:buBlip>
              <a:defRPr>
                <a:solidFill>
                  <a:schemeClr val="accent1"/>
                </a:solidFill>
              </a:defRPr>
            </a:lvl4pPr>
            <a:lvl5pPr marL="1079892" lvl="4" indent="-269973" defTabSz="914309">
              <a:spcBef>
                <a:spcPts val="300"/>
              </a:spcBef>
              <a:spcAft>
                <a:spcPts val="600"/>
              </a:spcAft>
              <a:buFontTx/>
              <a:buBlip>
                <a:blip r:embed="rId14"/>
              </a:buBlip>
              <a:defRPr>
                <a:solidFill>
                  <a:schemeClr val="accent1"/>
                </a:solidFill>
              </a:defRPr>
            </a:lvl5pPr>
            <a:lvl6pPr marL="1079892" indent="-269973" defTabSz="914309">
              <a:spcBef>
                <a:spcPts val="300"/>
              </a:spcBef>
              <a:spcAft>
                <a:spcPts val="600"/>
              </a:spcAft>
              <a:buFontTx/>
              <a:buBlip>
                <a:blip r:embed="rId14"/>
              </a:buBlip>
            </a:lvl6pPr>
            <a:lvl7pPr marL="1079892" indent="-269973" defTabSz="914309">
              <a:spcBef>
                <a:spcPts val="300"/>
              </a:spcBef>
              <a:spcAft>
                <a:spcPts val="600"/>
              </a:spcAft>
              <a:buFontTx/>
              <a:buBlip>
                <a:blip r:embed="rId14"/>
              </a:buBlip>
            </a:lvl7pPr>
            <a:lvl8pPr marL="1079892" indent="-269973" defTabSz="914309">
              <a:spcBef>
                <a:spcPts val="300"/>
              </a:spcBef>
              <a:spcAft>
                <a:spcPts val="600"/>
              </a:spcAft>
              <a:buFontTx/>
              <a:buBlip>
                <a:blip r:embed="rId14"/>
              </a:buBlip>
            </a:lvl8pPr>
            <a:lvl9pPr marL="1079892" indent="-269973" defTabSz="914309">
              <a:spcBef>
                <a:spcPts val="300"/>
              </a:spcBef>
              <a:spcAft>
                <a:spcPts val="600"/>
              </a:spcAft>
              <a:buFontTx/>
              <a:buBlip>
                <a:blip r:embed="rId14"/>
              </a:buBlip>
            </a:lvl9pPr>
          </a:lstStyle>
          <a:p>
            <a:r>
              <a:rPr lang="en-US" sz="1800" b="1" i="0" u="none" strike="noStrike" baseline="0">
                <a:solidFill>
                  <a:schemeClr val="accent2"/>
                </a:solidFill>
                <a:latin typeface="Arial" panose="020B0604020202020204" pitchFamily="34" charset="0"/>
              </a:rPr>
              <a:t>qualitative knowledge gain, avoid study duplication</a:t>
            </a:r>
          </a:p>
          <a:p>
            <a:endParaRPr lang="en-US" sz="1800" b="1" i="0" u="none" strike="noStrike" baseline="0">
              <a:solidFill>
                <a:schemeClr val="accent2"/>
              </a:solidFill>
              <a:latin typeface="Arial" panose="020B0604020202020204" pitchFamily="34" charset="0"/>
            </a:endParaRPr>
          </a:p>
        </p:txBody>
      </p:sp>
      <p:sp>
        <p:nvSpPr>
          <p:cNvPr id="26" name="TextBox 25">
            <a:extLst>
              <a:ext uri="{FF2B5EF4-FFF2-40B4-BE49-F238E27FC236}">
                <a16:creationId xmlns:a16="http://schemas.microsoft.com/office/drawing/2014/main" id="{3C3DD001-52D3-41E3-B9CB-5DD8E5958E7C}"/>
              </a:ext>
            </a:extLst>
          </p:cNvPr>
          <p:cNvSpPr txBox="1"/>
          <p:nvPr>
            <p:custDataLst>
              <p:tags r:id="rId7"/>
            </p:custDataLst>
          </p:nvPr>
        </p:nvSpPr>
        <p:spPr bwMode="gray">
          <a:xfrm>
            <a:off x="6408746" y="5398387"/>
            <a:ext cx="2491572" cy="914400"/>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1"/>
              </a:buBlip>
              <a:defRPr>
                <a:solidFill>
                  <a:schemeClr val="accent1"/>
                </a:solidFill>
              </a:defRPr>
            </a:lvl2pPr>
            <a:lvl3pPr marL="539946" lvl="2" indent="-269973" defTabSz="914309">
              <a:spcBef>
                <a:spcPts val="300"/>
              </a:spcBef>
              <a:spcAft>
                <a:spcPts val="600"/>
              </a:spcAft>
              <a:buFontTx/>
              <a:buBlip>
                <a:blip r:embed="rId12"/>
              </a:buBlip>
              <a:defRPr>
                <a:solidFill>
                  <a:schemeClr val="accent1"/>
                </a:solidFill>
              </a:defRPr>
            </a:lvl3pPr>
            <a:lvl4pPr marL="809919" lvl="3" indent="-269973" defTabSz="914309">
              <a:spcBef>
                <a:spcPts val="300"/>
              </a:spcBef>
              <a:spcAft>
                <a:spcPts val="600"/>
              </a:spcAft>
              <a:buFontTx/>
              <a:buBlip>
                <a:blip r:embed="rId13"/>
              </a:buBlip>
              <a:defRPr>
                <a:solidFill>
                  <a:schemeClr val="accent1"/>
                </a:solidFill>
              </a:defRPr>
            </a:lvl4pPr>
            <a:lvl5pPr marL="1079892" lvl="4" indent="-269973" defTabSz="914309">
              <a:spcBef>
                <a:spcPts val="300"/>
              </a:spcBef>
              <a:spcAft>
                <a:spcPts val="600"/>
              </a:spcAft>
              <a:buFontTx/>
              <a:buBlip>
                <a:blip r:embed="rId14"/>
              </a:buBlip>
              <a:defRPr>
                <a:solidFill>
                  <a:schemeClr val="accent1"/>
                </a:solidFill>
              </a:defRPr>
            </a:lvl5pPr>
            <a:lvl6pPr marL="1079892" indent="-269973" defTabSz="914309">
              <a:spcBef>
                <a:spcPts val="300"/>
              </a:spcBef>
              <a:spcAft>
                <a:spcPts val="600"/>
              </a:spcAft>
              <a:buFontTx/>
              <a:buBlip>
                <a:blip r:embed="rId14"/>
              </a:buBlip>
            </a:lvl6pPr>
            <a:lvl7pPr marL="1079892" indent="-269973" defTabSz="914309">
              <a:spcBef>
                <a:spcPts val="300"/>
              </a:spcBef>
              <a:spcAft>
                <a:spcPts val="600"/>
              </a:spcAft>
              <a:buFontTx/>
              <a:buBlip>
                <a:blip r:embed="rId14"/>
              </a:buBlip>
            </a:lvl7pPr>
            <a:lvl8pPr marL="1079892" indent="-269973" defTabSz="914309">
              <a:spcBef>
                <a:spcPts val="300"/>
              </a:spcBef>
              <a:spcAft>
                <a:spcPts val="600"/>
              </a:spcAft>
              <a:buFontTx/>
              <a:buBlip>
                <a:blip r:embed="rId14"/>
              </a:buBlip>
            </a:lvl8pPr>
            <a:lvl9pPr marL="1079892" indent="-269973" defTabSz="914309">
              <a:spcBef>
                <a:spcPts val="300"/>
              </a:spcBef>
              <a:spcAft>
                <a:spcPts val="600"/>
              </a:spcAft>
              <a:buFontTx/>
              <a:buBlip>
                <a:blip r:embed="rId14"/>
              </a:buBlip>
            </a:lvl9pPr>
          </a:lstStyle>
          <a:p>
            <a:r>
              <a:rPr lang="en-US" sz="1800" b="1" i="0" u="none" strike="noStrike" baseline="0">
                <a:solidFill>
                  <a:schemeClr val="accent2"/>
                </a:solidFill>
                <a:latin typeface="Arial" panose="020B0604020202020204" pitchFamily="34" charset="0"/>
              </a:rPr>
              <a:t>saved days repeating already available analysis</a:t>
            </a:r>
          </a:p>
        </p:txBody>
      </p:sp>
      <p:sp>
        <p:nvSpPr>
          <p:cNvPr id="27" name="TextBox 26">
            <a:extLst>
              <a:ext uri="{FF2B5EF4-FFF2-40B4-BE49-F238E27FC236}">
                <a16:creationId xmlns:a16="http://schemas.microsoft.com/office/drawing/2014/main" id="{99E1EF55-CAE7-4BE7-98E6-3DD0A84CD0C4}"/>
              </a:ext>
            </a:extLst>
          </p:cNvPr>
          <p:cNvSpPr txBox="1"/>
          <p:nvPr>
            <p:custDataLst>
              <p:tags r:id="rId8"/>
            </p:custDataLst>
          </p:nvPr>
        </p:nvSpPr>
        <p:spPr bwMode="gray">
          <a:xfrm>
            <a:off x="9098659" y="5398387"/>
            <a:ext cx="2491572" cy="914400"/>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11"/>
              </a:buBlip>
              <a:defRPr>
                <a:solidFill>
                  <a:schemeClr val="accent1"/>
                </a:solidFill>
              </a:defRPr>
            </a:lvl2pPr>
            <a:lvl3pPr marL="539946" lvl="2" indent="-269973" defTabSz="914309">
              <a:spcBef>
                <a:spcPts val="300"/>
              </a:spcBef>
              <a:spcAft>
                <a:spcPts val="600"/>
              </a:spcAft>
              <a:buFontTx/>
              <a:buBlip>
                <a:blip r:embed="rId12"/>
              </a:buBlip>
              <a:defRPr>
                <a:solidFill>
                  <a:schemeClr val="accent1"/>
                </a:solidFill>
              </a:defRPr>
            </a:lvl3pPr>
            <a:lvl4pPr marL="809919" lvl="3" indent="-269973" defTabSz="914309">
              <a:spcBef>
                <a:spcPts val="300"/>
              </a:spcBef>
              <a:spcAft>
                <a:spcPts val="600"/>
              </a:spcAft>
              <a:buFontTx/>
              <a:buBlip>
                <a:blip r:embed="rId13"/>
              </a:buBlip>
              <a:defRPr>
                <a:solidFill>
                  <a:schemeClr val="accent1"/>
                </a:solidFill>
              </a:defRPr>
            </a:lvl4pPr>
            <a:lvl5pPr marL="1079892" lvl="4" indent="-269973" defTabSz="914309">
              <a:spcBef>
                <a:spcPts val="300"/>
              </a:spcBef>
              <a:spcAft>
                <a:spcPts val="600"/>
              </a:spcAft>
              <a:buFontTx/>
              <a:buBlip>
                <a:blip r:embed="rId14"/>
              </a:buBlip>
              <a:defRPr>
                <a:solidFill>
                  <a:schemeClr val="accent1"/>
                </a:solidFill>
              </a:defRPr>
            </a:lvl5pPr>
            <a:lvl6pPr marL="1079892" indent="-269973" defTabSz="914309">
              <a:spcBef>
                <a:spcPts val="300"/>
              </a:spcBef>
              <a:spcAft>
                <a:spcPts val="600"/>
              </a:spcAft>
              <a:buFontTx/>
              <a:buBlip>
                <a:blip r:embed="rId14"/>
              </a:buBlip>
            </a:lvl6pPr>
            <a:lvl7pPr marL="1079892" indent="-269973" defTabSz="914309">
              <a:spcBef>
                <a:spcPts val="300"/>
              </a:spcBef>
              <a:spcAft>
                <a:spcPts val="600"/>
              </a:spcAft>
              <a:buFontTx/>
              <a:buBlip>
                <a:blip r:embed="rId14"/>
              </a:buBlip>
            </a:lvl7pPr>
            <a:lvl8pPr marL="1079892" indent="-269973" defTabSz="914309">
              <a:spcBef>
                <a:spcPts val="300"/>
              </a:spcBef>
              <a:spcAft>
                <a:spcPts val="600"/>
              </a:spcAft>
              <a:buFontTx/>
              <a:buBlip>
                <a:blip r:embed="rId14"/>
              </a:buBlip>
            </a:lvl8pPr>
            <a:lvl9pPr marL="1079892" indent="-269973" defTabSz="914309">
              <a:spcBef>
                <a:spcPts val="300"/>
              </a:spcBef>
              <a:spcAft>
                <a:spcPts val="600"/>
              </a:spcAft>
              <a:buFontTx/>
              <a:buBlip>
                <a:blip r:embed="rId14"/>
              </a:buBlip>
            </a:lvl9pPr>
          </a:lstStyle>
          <a:p>
            <a:pPr>
              <a:spcBef>
                <a:spcPct val="20000"/>
              </a:spcBef>
              <a:spcAft>
                <a:spcPts val="0"/>
              </a:spcAft>
            </a:pPr>
            <a:r>
              <a:rPr lang="en-US" sz="1800" b="1" i="0" u="none" strike="noStrike" baseline="0">
                <a:solidFill>
                  <a:schemeClr val="accent2"/>
                </a:solidFill>
                <a:latin typeface="Arial" panose="020B0604020202020204" pitchFamily="34" charset="0"/>
              </a:rPr>
              <a:t>qualitative knowledge gain</a:t>
            </a:r>
            <a:endParaRPr lang="en-GB" b="1">
              <a:solidFill>
                <a:schemeClr val="accent2"/>
              </a:solidFill>
            </a:endParaRPr>
          </a:p>
        </p:txBody>
      </p:sp>
      <p:pic>
        <p:nvPicPr>
          <p:cNvPr id="41" name="Picture 40">
            <a:extLst>
              <a:ext uri="{FF2B5EF4-FFF2-40B4-BE49-F238E27FC236}">
                <a16:creationId xmlns:a16="http://schemas.microsoft.com/office/drawing/2014/main" id="{D1829E9A-594B-4C50-8A97-607EF4EA29EA}"/>
              </a:ext>
            </a:extLst>
          </p:cNvPr>
          <p:cNvPicPr>
            <a:picLocks noChangeAspect="1"/>
          </p:cNvPicPr>
          <p:nvPr/>
        </p:nvPicPr>
        <p:blipFill>
          <a:blip r:embed="rId15"/>
          <a:stretch>
            <a:fillRect/>
          </a:stretch>
        </p:blipFill>
        <p:spPr>
          <a:xfrm>
            <a:off x="3671050" y="1944774"/>
            <a:ext cx="2143424" cy="733527"/>
          </a:xfrm>
          <a:prstGeom prst="rect">
            <a:avLst/>
          </a:prstGeom>
        </p:spPr>
      </p:pic>
      <p:graphicFrame>
        <p:nvGraphicFramePr>
          <p:cNvPr id="20" name="Table 2">
            <a:extLst>
              <a:ext uri="{FF2B5EF4-FFF2-40B4-BE49-F238E27FC236}">
                <a16:creationId xmlns:a16="http://schemas.microsoft.com/office/drawing/2014/main" id="{981233B1-50F8-4AC7-814F-07E7F32EBC83}"/>
              </a:ext>
            </a:extLst>
          </p:cNvPr>
          <p:cNvGraphicFramePr>
            <a:graphicFrameLocks noGrp="1"/>
          </p:cNvGraphicFramePr>
          <p:nvPr>
            <p:extLst>
              <p:ext uri="{D42A27DB-BD31-4B8C-83A1-F6EECF244321}">
                <p14:modId xmlns:p14="http://schemas.microsoft.com/office/powerpoint/2010/main" val="666141838"/>
              </p:ext>
            </p:extLst>
          </p:nvPr>
        </p:nvGraphicFramePr>
        <p:xfrm>
          <a:off x="-1" y="3987"/>
          <a:ext cx="12190412" cy="370840"/>
        </p:xfrm>
        <a:graphic>
          <a:graphicData uri="http://schemas.openxmlformats.org/drawingml/2006/table">
            <a:tbl>
              <a:tblPr firstRow="1" bandRow="1">
                <a:tableStyleId>{5C22544A-7EE6-4342-B048-85BDC9FD1C3A}</a:tableStyleId>
              </a:tblPr>
              <a:tblGrid>
                <a:gridCol w="3047603">
                  <a:extLst>
                    <a:ext uri="{9D8B030D-6E8A-4147-A177-3AD203B41FA5}">
                      <a16:colId xmlns:a16="http://schemas.microsoft.com/office/drawing/2014/main" val="4293867470"/>
                    </a:ext>
                  </a:extLst>
                </a:gridCol>
                <a:gridCol w="3047603">
                  <a:extLst>
                    <a:ext uri="{9D8B030D-6E8A-4147-A177-3AD203B41FA5}">
                      <a16:colId xmlns:a16="http://schemas.microsoft.com/office/drawing/2014/main" val="2122758113"/>
                    </a:ext>
                  </a:extLst>
                </a:gridCol>
                <a:gridCol w="3047603">
                  <a:extLst>
                    <a:ext uri="{9D8B030D-6E8A-4147-A177-3AD203B41FA5}">
                      <a16:colId xmlns:a16="http://schemas.microsoft.com/office/drawing/2014/main" val="3843830614"/>
                    </a:ext>
                  </a:extLst>
                </a:gridCol>
                <a:gridCol w="3047603">
                  <a:extLst>
                    <a:ext uri="{9D8B030D-6E8A-4147-A177-3AD203B41FA5}">
                      <a16:colId xmlns:a16="http://schemas.microsoft.com/office/drawing/2014/main" val="3292150729"/>
                    </a:ext>
                  </a:extLst>
                </a:gridCol>
              </a:tblGrid>
              <a:tr h="370840">
                <a:tc>
                  <a:txBody>
                    <a:bodyPr/>
                    <a:lstStyle/>
                    <a:p>
                      <a:pPr algn="ctr"/>
                      <a:r>
                        <a:rPr lang="en-US"/>
                        <a:t>Case 1</a:t>
                      </a:r>
                    </a:p>
                  </a:txBody>
                  <a:tcPr>
                    <a:solidFill>
                      <a:schemeClr val="bg2">
                        <a:lumMod val="20000"/>
                        <a:lumOff val="80000"/>
                      </a:schemeClr>
                    </a:solidFill>
                  </a:tcPr>
                </a:tc>
                <a:tc>
                  <a:txBody>
                    <a:bodyPr/>
                    <a:lstStyle/>
                    <a:p>
                      <a:pPr algn="ctr"/>
                      <a:r>
                        <a:rPr lang="en-US"/>
                        <a:t>Case 2</a:t>
                      </a:r>
                    </a:p>
                  </a:txBody>
                  <a:tcPr>
                    <a:solidFill>
                      <a:schemeClr val="bg2">
                        <a:lumMod val="20000"/>
                        <a:lumOff val="80000"/>
                      </a:schemeClr>
                    </a:solidFill>
                  </a:tcPr>
                </a:tc>
                <a:tc>
                  <a:txBody>
                    <a:bodyPr/>
                    <a:lstStyle/>
                    <a:p>
                      <a:pPr algn="ctr"/>
                      <a:r>
                        <a:rPr lang="en-US"/>
                        <a:t>Case 3</a:t>
                      </a:r>
                    </a:p>
                  </a:txBody>
                  <a:tcPr>
                    <a:solidFill>
                      <a:schemeClr val="bg2"/>
                    </a:solidFill>
                  </a:tcPr>
                </a:tc>
                <a:tc>
                  <a:txBody>
                    <a:bodyPr/>
                    <a:lstStyle/>
                    <a:p>
                      <a:pPr algn="ctr"/>
                      <a:r>
                        <a:rPr lang="en-US"/>
                        <a:t>Case 4</a:t>
                      </a:r>
                    </a:p>
                  </a:txBody>
                  <a:tcPr>
                    <a:solidFill>
                      <a:schemeClr val="bg2">
                        <a:lumMod val="20000"/>
                        <a:lumOff val="80000"/>
                      </a:schemeClr>
                    </a:solidFill>
                  </a:tcPr>
                </a:tc>
                <a:extLst>
                  <a:ext uri="{0D108BD9-81ED-4DB2-BD59-A6C34878D82A}">
                    <a16:rowId xmlns:a16="http://schemas.microsoft.com/office/drawing/2014/main" val="2152829518"/>
                  </a:ext>
                </a:extLst>
              </a:tr>
            </a:tbl>
          </a:graphicData>
        </a:graphic>
      </p:graphicFrame>
    </p:spTree>
    <p:extLst>
      <p:ext uri="{BB962C8B-B14F-4D97-AF65-F5344CB8AC3E}">
        <p14:creationId xmlns:p14="http://schemas.microsoft.com/office/powerpoint/2010/main" val="1134384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890FFB-2F18-4EA5-AC54-53C712175F36}"/>
              </a:ext>
            </a:extLst>
          </p:cNvPr>
          <p:cNvSpPr>
            <a:spLocks noGrp="1"/>
          </p:cNvSpPr>
          <p:nvPr>
            <p:ph type="title"/>
          </p:nvPr>
        </p:nvSpPr>
        <p:spPr/>
        <p:txBody>
          <a:bodyPr/>
          <a:lstStyle/>
          <a:p>
            <a:r>
              <a:rPr lang="en-US"/>
              <a:t>V</a:t>
            </a:r>
            <a:r>
              <a:rPr lang="en-US" altLang="zh-CN"/>
              <a:t>oice of Customer – from focus group to big data in social listening  </a:t>
            </a:r>
            <a:endParaRPr lang="en-US"/>
          </a:p>
        </p:txBody>
      </p:sp>
      <p:sp>
        <p:nvSpPr>
          <p:cNvPr id="4" name="Footer Placeholder 3">
            <a:extLst>
              <a:ext uri="{FF2B5EF4-FFF2-40B4-BE49-F238E27FC236}">
                <a16:creationId xmlns:a16="http://schemas.microsoft.com/office/drawing/2014/main" id="{842BC1F1-30E3-47CB-9A5E-9CA5E0E69F20}"/>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6705A212-9D6D-4218-B4D5-27BA64DCD96D}"/>
              </a:ext>
            </a:extLst>
          </p:cNvPr>
          <p:cNvSpPr>
            <a:spLocks noGrp="1"/>
          </p:cNvSpPr>
          <p:nvPr>
            <p:ph type="sldNum" sz="quarter" idx="12"/>
          </p:nvPr>
        </p:nvSpPr>
        <p:spPr/>
        <p:txBody>
          <a:bodyPr/>
          <a:lstStyle/>
          <a:p>
            <a:fld id="{EEAD9179-7A6B-4268-BEB2-F3B8EB06115B}" type="slidenum">
              <a:rPr lang="en-US" smtClean="0"/>
              <a:pPr/>
              <a:t>26</a:t>
            </a:fld>
            <a:endParaRPr lang="en-US"/>
          </a:p>
        </p:txBody>
      </p:sp>
      <p:sp>
        <p:nvSpPr>
          <p:cNvPr id="22" name="TextBox 21">
            <a:extLst>
              <a:ext uri="{FF2B5EF4-FFF2-40B4-BE49-F238E27FC236}">
                <a16:creationId xmlns:a16="http://schemas.microsoft.com/office/drawing/2014/main" id="{F64F210A-3CA9-409F-B5BE-38E58E892911}"/>
              </a:ext>
            </a:extLst>
          </p:cNvPr>
          <p:cNvSpPr txBox="1"/>
          <p:nvPr/>
        </p:nvSpPr>
        <p:spPr bwMode="gray">
          <a:xfrm>
            <a:off x="987248" y="1488098"/>
            <a:ext cx="4968785"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b="1">
                <a:solidFill>
                  <a:schemeClr val="accent2"/>
                </a:solidFill>
              </a:rPr>
              <a:t>Project overview </a:t>
            </a:r>
          </a:p>
        </p:txBody>
      </p:sp>
      <p:cxnSp>
        <p:nvCxnSpPr>
          <p:cNvPr id="23" name="Straight Connector 22">
            <a:extLst>
              <a:ext uri="{FF2B5EF4-FFF2-40B4-BE49-F238E27FC236}">
                <a16:creationId xmlns:a16="http://schemas.microsoft.com/office/drawing/2014/main" id="{B4905DD2-5819-4B51-922A-FFB6F53677F2}"/>
              </a:ext>
            </a:extLst>
          </p:cNvPr>
          <p:cNvCxnSpPr>
            <a:cxnSpLocks/>
          </p:cNvCxnSpPr>
          <p:nvPr/>
        </p:nvCxnSpPr>
        <p:spPr bwMode="gray">
          <a:xfrm>
            <a:off x="6326582" y="1923173"/>
            <a:ext cx="0" cy="456171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FB5D2EB-215E-415A-AFC0-1309323D6075}"/>
              </a:ext>
            </a:extLst>
          </p:cNvPr>
          <p:cNvSpPr txBox="1"/>
          <p:nvPr/>
        </p:nvSpPr>
        <p:spPr bwMode="gray">
          <a:xfrm>
            <a:off x="6596147" y="1488098"/>
            <a:ext cx="5000638"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b="1">
                <a:solidFill>
                  <a:schemeClr val="accent2"/>
                </a:solidFill>
              </a:rPr>
              <a:t>Business benefits</a:t>
            </a:r>
          </a:p>
        </p:txBody>
      </p:sp>
      <p:cxnSp>
        <p:nvCxnSpPr>
          <p:cNvPr id="25" name="Straight Connector 24">
            <a:extLst>
              <a:ext uri="{FF2B5EF4-FFF2-40B4-BE49-F238E27FC236}">
                <a16:creationId xmlns:a16="http://schemas.microsoft.com/office/drawing/2014/main" id="{27B50151-B11C-4C05-979D-8E9B04F75EC8}"/>
              </a:ext>
            </a:extLst>
          </p:cNvPr>
          <p:cNvCxnSpPr>
            <a:cxnSpLocks/>
          </p:cNvCxnSpPr>
          <p:nvPr/>
        </p:nvCxnSpPr>
        <p:spPr bwMode="gray">
          <a:xfrm>
            <a:off x="6595512" y="1765097"/>
            <a:ext cx="500151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3A39073-D408-45AD-8648-C9249A8412E0}"/>
              </a:ext>
            </a:extLst>
          </p:cNvPr>
          <p:cNvCxnSpPr>
            <a:cxnSpLocks/>
          </p:cNvCxnSpPr>
          <p:nvPr/>
        </p:nvCxnSpPr>
        <p:spPr bwMode="gray">
          <a:xfrm>
            <a:off x="981821" y="1765097"/>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58D0C92-2B41-4B01-ACD8-BB22CA9FF23D}"/>
              </a:ext>
            </a:extLst>
          </p:cNvPr>
          <p:cNvSpPr txBox="1"/>
          <p:nvPr/>
        </p:nvSpPr>
        <p:spPr bwMode="gray">
          <a:xfrm>
            <a:off x="981821" y="1923173"/>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b="1" i="1"/>
              <a:t>…Challenge </a:t>
            </a:r>
            <a:endParaRPr lang="en-GB" b="1" i="1">
              <a:solidFill>
                <a:schemeClr val="accent2"/>
              </a:solidFill>
            </a:endParaRPr>
          </a:p>
        </p:txBody>
      </p:sp>
      <p:sp>
        <p:nvSpPr>
          <p:cNvPr id="29" name="TextBox 28">
            <a:extLst>
              <a:ext uri="{FF2B5EF4-FFF2-40B4-BE49-F238E27FC236}">
                <a16:creationId xmlns:a16="http://schemas.microsoft.com/office/drawing/2014/main" id="{F84F2A05-A16D-48D9-B8CE-4091AABB8EF7}"/>
              </a:ext>
            </a:extLst>
          </p:cNvPr>
          <p:cNvSpPr txBox="1"/>
          <p:nvPr/>
        </p:nvSpPr>
        <p:spPr bwMode="gray">
          <a:xfrm>
            <a:off x="6595512" y="1924965"/>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3"/>
              </a:buBlip>
              <a:defRPr>
                <a:solidFill>
                  <a:schemeClr val="accent1"/>
                </a:solidFill>
              </a:defRPr>
            </a:lvl2pPr>
            <a:lvl3pPr marL="539946" lvl="2" indent="-269973" defTabSz="914309">
              <a:spcBef>
                <a:spcPts val="300"/>
              </a:spcBef>
              <a:spcAft>
                <a:spcPts val="600"/>
              </a:spcAft>
              <a:buFontTx/>
              <a:buBlip>
                <a:blip r:embed="rId4"/>
              </a:buBlip>
              <a:defRPr>
                <a:solidFill>
                  <a:schemeClr val="accent1"/>
                </a:solidFill>
              </a:defRPr>
            </a:lvl3pPr>
            <a:lvl4pPr marL="809919" lvl="3" indent="-269973" defTabSz="914309">
              <a:spcBef>
                <a:spcPts val="300"/>
              </a:spcBef>
              <a:spcAft>
                <a:spcPts val="600"/>
              </a:spcAft>
              <a:buFontTx/>
              <a:buBlip>
                <a:blip r:embed="rId5"/>
              </a:buBlip>
              <a:defRPr>
                <a:solidFill>
                  <a:schemeClr val="accent1"/>
                </a:solidFill>
              </a:defRPr>
            </a:lvl4pPr>
            <a:lvl5pPr marL="1079892" lvl="4" indent="-269973" defTabSz="914309">
              <a:spcBef>
                <a:spcPts val="300"/>
              </a:spcBef>
              <a:spcAft>
                <a:spcPts val="600"/>
              </a:spcAft>
              <a:buFontTx/>
              <a:buBlip>
                <a:blip r:embed="rId6"/>
              </a:buBlip>
              <a:defRPr>
                <a:solidFill>
                  <a:schemeClr val="accent1"/>
                </a:solidFill>
              </a:defRPr>
            </a:lvl5pPr>
            <a:lvl6pPr marL="1079892" indent="-269973" defTabSz="914309">
              <a:spcBef>
                <a:spcPts val="300"/>
              </a:spcBef>
              <a:spcAft>
                <a:spcPts val="600"/>
              </a:spcAft>
              <a:buFontTx/>
              <a:buBlip>
                <a:blip r:embed="rId6"/>
              </a:buBlip>
            </a:lvl6pPr>
            <a:lvl7pPr marL="1079892" indent="-269973" defTabSz="914309">
              <a:spcBef>
                <a:spcPts val="300"/>
              </a:spcBef>
              <a:spcAft>
                <a:spcPts val="600"/>
              </a:spcAft>
              <a:buFontTx/>
              <a:buBlip>
                <a:blip r:embed="rId6"/>
              </a:buBlip>
            </a:lvl7pPr>
            <a:lvl8pPr marL="1079892" indent="-269973" defTabSz="914309">
              <a:spcBef>
                <a:spcPts val="300"/>
              </a:spcBef>
              <a:spcAft>
                <a:spcPts val="600"/>
              </a:spcAft>
              <a:buFontTx/>
              <a:buBlip>
                <a:blip r:embed="rId6"/>
              </a:buBlip>
            </a:lvl8pPr>
            <a:lvl9pPr marL="1079892" indent="-269973" defTabSz="914309">
              <a:spcBef>
                <a:spcPts val="300"/>
              </a:spcBef>
              <a:spcAft>
                <a:spcPts val="600"/>
              </a:spcAft>
              <a:buFontTx/>
              <a:buBlip>
                <a:blip r:embed="rId6"/>
              </a:buBlip>
            </a:lvl9pPr>
          </a:lstStyle>
          <a:p>
            <a:r>
              <a:rPr lang="en-GB" b="1" i="1"/>
              <a:t>…</a:t>
            </a:r>
            <a:r>
              <a:rPr lang="en-US" altLang="zh-CN" b="1" i="1"/>
              <a:t>enabling quick and precise market campaign planning </a:t>
            </a:r>
            <a:endParaRPr lang="en-GB" b="1" i="1">
              <a:solidFill>
                <a:schemeClr val="accent2"/>
              </a:solidFill>
            </a:endParaRPr>
          </a:p>
        </p:txBody>
      </p:sp>
      <p:sp>
        <p:nvSpPr>
          <p:cNvPr id="30" name="TextBox 29">
            <a:extLst>
              <a:ext uri="{FF2B5EF4-FFF2-40B4-BE49-F238E27FC236}">
                <a16:creationId xmlns:a16="http://schemas.microsoft.com/office/drawing/2014/main" id="{B5BBEB12-A7A7-4D98-8214-4F88FF54FDA9}"/>
              </a:ext>
            </a:extLst>
          </p:cNvPr>
          <p:cNvSpPr txBox="1">
            <a:spLocks/>
          </p:cNvSpPr>
          <p:nvPr/>
        </p:nvSpPr>
        <p:spPr>
          <a:xfrm>
            <a:off x="968110" y="2639933"/>
            <a:ext cx="5113382" cy="36779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a:solidFill>
                  <a:srgbClr val="002060"/>
                </a:solidFill>
              </a:rPr>
              <a:t>Living in a world of exploding data in the social media, it is valuable to listen to the healthcare professionals and their voice, reflecting in the literatures, </a:t>
            </a:r>
            <a:r>
              <a:rPr lang="en-US" err="1">
                <a:solidFill>
                  <a:srgbClr val="002060"/>
                </a:solidFill>
              </a:rPr>
              <a:t>wechat</a:t>
            </a:r>
            <a:r>
              <a:rPr lang="en-US">
                <a:solidFill>
                  <a:srgbClr val="002060"/>
                </a:solidFill>
              </a:rPr>
              <a:t> articles, as well as speech in the key conferences. </a:t>
            </a:r>
          </a:p>
          <a:p>
            <a:pPr marL="171450" indent="-171450">
              <a:buFont typeface="Arial" panose="020B0604020202020204" pitchFamily="34" charset="0"/>
              <a:buChar char="•"/>
            </a:pPr>
            <a:r>
              <a:rPr lang="en-US">
                <a:solidFill>
                  <a:srgbClr val="002060"/>
                </a:solidFill>
              </a:rPr>
              <a:t>Despite the potential, how we capture and analyze the data can be challenging. We used to leverage the focus group or interview with thought leaders, however we can’t capture everything, nor can we ask long lists of questions repeatedly to get what we need.</a:t>
            </a:r>
          </a:p>
          <a:p>
            <a:pPr marL="171450" indent="-171450">
              <a:buFont typeface="Arial" panose="020B0604020202020204" pitchFamily="34" charset="0"/>
              <a:buChar char="•"/>
            </a:pPr>
            <a:r>
              <a:rPr lang="en-US">
                <a:solidFill>
                  <a:srgbClr val="002060"/>
                </a:solidFill>
              </a:rPr>
              <a:t>Thus, it is necessary to fully leverage the social media to listen to the voice through the behavior of thought leaders, especially the articles with relatively negative voice towards our Bayer products. </a:t>
            </a:r>
          </a:p>
          <a:p>
            <a:pPr marL="171450" indent="-171450">
              <a:buFont typeface="Arial" panose="020B0604020202020204" pitchFamily="34" charset="0"/>
              <a:buChar char="•"/>
            </a:pPr>
            <a:r>
              <a:rPr lang="en-US">
                <a:solidFill>
                  <a:srgbClr val="002060"/>
                </a:solidFill>
              </a:rPr>
              <a:t>Here NLP could cure…</a:t>
            </a:r>
          </a:p>
        </p:txBody>
      </p:sp>
      <p:sp>
        <p:nvSpPr>
          <p:cNvPr id="31" name="TextBox 30">
            <a:extLst>
              <a:ext uri="{FF2B5EF4-FFF2-40B4-BE49-F238E27FC236}">
                <a16:creationId xmlns:a16="http://schemas.microsoft.com/office/drawing/2014/main" id="{880150E9-D950-48C0-8E11-E49775B7138F}"/>
              </a:ext>
            </a:extLst>
          </p:cNvPr>
          <p:cNvSpPr txBox="1">
            <a:spLocks/>
          </p:cNvSpPr>
          <p:nvPr/>
        </p:nvSpPr>
        <p:spPr>
          <a:xfrm>
            <a:off x="6557962" y="2589937"/>
            <a:ext cx="5000638" cy="383181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a:solidFill>
                  <a:srgbClr val="002060"/>
                </a:solidFill>
              </a:rPr>
              <a:t>NLP could quickly analyze all the articles from all the targeting channels, and visualized with targeting labeling, </a:t>
            </a:r>
          </a:p>
          <a:p>
            <a:pPr marL="171450" indent="-171450">
              <a:buFont typeface="Arial" panose="020B0604020202020204" pitchFamily="34" charset="0"/>
              <a:buChar char="•"/>
            </a:pPr>
            <a:r>
              <a:rPr lang="en-US">
                <a:solidFill>
                  <a:srgbClr val="002060"/>
                </a:solidFill>
              </a:rPr>
              <a:t>NLP could quickly locate the article sentiment, that could further</a:t>
            </a:r>
          </a:p>
          <a:p>
            <a:pPr marL="400050" lvl="1" indent="-171450">
              <a:buFont typeface="Arial" panose="020B0604020202020204" pitchFamily="34" charset="0"/>
              <a:buChar char="•"/>
            </a:pPr>
            <a:r>
              <a:rPr lang="en-US">
                <a:solidFill>
                  <a:srgbClr val="002060"/>
                </a:solidFill>
              </a:rPr>
              <a:t>Alert on the +/- ratio </a:t>
            </a:r>
            <a:r>
              <a:rPr lang="zh-CN" altLang="en-US">
                <a:solidFill>
                  <a:srgbClr val="002060"/>
                </a:solidFill>
              </a:rPr>
              <a:t>正负声量的预警</a:t>
            </a:r>
            <a:endParaRPr lang="en-US">
              <a:solidFill>
                <a:srgbClr val="002060"/>
              </a:solidFill>
            </a:endParaRPr>
          </a:p>
          <a:p>
            <a:pPr marL="400050" lvl="1" indent="-171450">
              <a:buFont typeface="Arial" panose="020B0604020202020204" pitchFamily="34" charset="0"/>
              <a:buChar char="•"/>
            </a:pPr>
            <a:r>
              <a:rPr lang="en-US">
                <a:solidFill>
                  <a:srgbClr val="002060"/>
                </a:solidFill>
              </a:rPr>
              <a:t>Alert on all the negative articles </a:t>
            </a:r>
            <a:r>
              <a:rPr lang="zh-CN" altLang="en-US">
                <a:solidFill>
                  <a:srgbClr val="002060"/>
                </a:solidFill>
              </a:rPr>
              <a:t>负面文章预警</a:t>
            </a:r>
            <a:endParaRPr lang="en-US">
              <a:solidFill>
                <a:srgbClr val="002060"/>
              </a:solidFill>
            </a:endParaRPr>
          </a:p>
          <a:p>
            <a:pPr marL="171450" indent="-171450">
              <a:buFont typeface="Arial" panose="020B0604020202020204" pitchFamily="34" charset="0"/>
              <a:buChar char="•"/>
            </a:pPr>
            <a:r>
              <a:rPr lang="en-US">
                <a:solidFill>
                  <a:srgbClr val="002060"/>
                </a:solidFill>
              </a:rPr>
              <a:t>The reactions could be quickly managed to influence the brand voice in the market </a:t>
            </a:r>
          </a:p>
          <a:p>
            <a:pPr marL="400050" lvl="1" indent="-171450">
              <a:buFont typeface="Arial" panose="020B0604020202020204" pitchFamily="34" charset="0"/>
              <a:buChar char="•"/>
            </a:pPr>
            <a:r>
              <a:rPr lang="en-US">
                <a:solidFill>
                  <a:srgbClr val="002060"/>
                </a:solidFill>
              </a:rPr>
              <a:t>Influence KOLs and plan on the media delivery planning  </a:t>
            </a:r>
          </a:p>
          <a:p>
            <a:pPr marL="400050" lvl="1" indent="-171450">
              <a:buFont typeface="Arial" panose="020B0604020202020204" pitchFamily="34" charset="0"/>
              <a:buChar char="•"/>
            </a:pPr>
            <a:r>
              <a:rPr lang="zh-CN" altLang="en-US">
                <a:solidFill>
                  <a:srgbClr val="002060"/>
                </a:solidFill>
              </a:rPr>
              <a:t>论引导：专家</a:t>
            </a:r>
            <a:r>
              <a:rPr lang="en-US" altLang="zh-CN">
                <a:solidFill>
                  <a:srgbClr val="002060"/>
                </a:solidFill>
              </a:rPr>
              <a:t>KOL</a:t>
            </a:r>
            <a:r>
              <a:rPr lang="zh-CN" altLang="en-US">
                <a:solidFill>
                  <a:srgbClr val="002060"/>
                </a:solidFill>
              </a:rPr>
              <a:t>引导、媒体投放规划</a:t>
            </a:r>
            <a:endParaRPr lang="en-US" altLang="zh-CN">
              <a:solidFill>
                <a:srgbClr val="002060"/>
              </a:solidFill>
            </a:endParaRPr>
          </a:p>
          <a:p>
            <a:pPr marL="400050" lvl="1" indent="-171450">
              <a:buFont typeface="Arial" panose="020B0604020202020204" pitchFamily="34" charset="0"/>
              <a:buChar char="•"/>
            </a:pPr>
            <a:r>
              <a:rPr lang="en-US" altLang="zh-CN">
                <a:solidFill>
                  <a:srgbClr val="002060"/>
                </a:solidFill>
              </a:rPr>
              <a:t>Crisis planning, e.g. key conference </a:t>
            </a:r>
          </a:p>
          <a:p>
            <a:pPr marL="400050" lvl="1" indent="-171450">
              <a:buFont typeface="Arial" panose="020B0604020202020204" pitchFamily="34" charset="0"/>
              <a:buChar char="•"/>
            </a:pPr>
            <a:r>
              <a:rPr lang="zh-CN" altLang="en-US">
                <a:solidFill>
                  <a:srgbClr val="002060"/>
                </a:solidFill>
              </a:rPr>
              <a:t>危机应对 </a:t>
            </a:r>
            <a:r>
              <a:rPr lang="en-US" altLang="zh-CN">
                <a:solidFill>
                  <a:srgbClr val="002060"/>
                </a:solidFill>
              </a:rPr>
              <a:t>– </a:t>
            </a:r>
            <a:r>
              <a:rPr lang="zh-CN" altLang="en-US">
                <a:solidFill>
                  <a:srgbClr val="002060"/>
                </a:solidFill>
              </a:rPr>
              <a:t>医学重点会议</a:t>
            </a:r>
            <a:endParaRPr lang="en-US">
              <a:solidFill>
                <a:srgbClr val="002060"/>
              </a:solidFill>
            </a:endParaRPr>
          </a:p>
        </p:txBody>
      </p:sp>
      <p:pic>
        <p:nvPicPr>
          <p:cNvPr id="20" name="图片 6">
            <a:extLst>
              <a:ext uri="{FF2B5EF4-FFF2-40B4-BE49-F238E27FC236}">
                <a16:creationId xmlns:a16="http://schemas.microsoft.com/office/drawing/2014/main" id="{BA0EF4E3-E881-4979-8C61-F85D60703B0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9429" y="1325617"/>
            <a:ext cx="11370149" cy="7308145"/>
          </a:xfrm>
          <a:prstGeom prst="rect">
            <a:avLst/>
          </a:prstGeom>
        </p:spPr>
      </p:pic>
      <p:graphicFrame>
        <p:nvGraphicFramePr>
          <p:cNvPr id="34" name="Table 2">
            <a:extLst>
              <a:ext uri="{FF2B5EF4-FFF2-40B4-BE49-F238E27FC236}">
                <a16:creationId xmlns:a16="http://schemas.microsoft.com/office/drawing/2014/main" id="{29292AD0-F079-4C45-A2DC-426A0A7F0D46}"/>
              </a:ext>
            </a:extLst>
          </p:cNvPr>
          <p:cNvGraphicFramePr>
            <a:graphicFrameLocks noGrp="1"/>
          </p:cNvGraphicFramePr>
          <p:nvPr>
            <p:extLst>
              <p:ext uri="{D42A27DB-BD31-4B8C-83A1-F6EECF244321}">
                <p14:modId xmlns:p14="http://schemas.microsoft.com/office/powerpoint/2010/main" val="1279500558"/>
              </p:ext>
            </p:extLst>
          </p:nvPr>
        </p:nvGraphicFramePr>
        <p:xfrm>
          <a:off x="-1" y="3987"/>
          <a:ext cx="12190412" cy="370840"/>
        </p:xfrm>
        <a:graphic>
          <a:graphicData uri="http://schemas.openxmlformats.org/drawingml/2006/table">
            <a:tbl>
              <a:tblPr firstRow="1" bandRow="1">
                <a:tableStyleId>{5C22544A-7EE6-4342-B048-85BDC9FD1C3A}</a:tableStyleId>
              </a:tblPr>
              <a:tblGrid>
                <a:gridCol w="3047603">
                  <a:extLst>
                    <a:ext uri="{9D8B030D-6E8A-4147-A177-3AD203B41FA5}">
                      <a16:colId xmlns:a16="http://schemas.microsoft.com/office/drawing/2014/main" val="4293867470"/>
                    </a:ext>
                  </a:extLst>
                </a:gridCol>
                <a:gridCol w="3047603">
                  <a:extLst>
                    <a:ext uri="{9D8B030D-6E8A-4147-A177-3AD203B41FA5}">
                      <a16:colId xmlns:a16="http://schemas.microsoft.com/office/drawing/2014/main" val="2122758113"/>
                    </a:ext>
                  </a:extLst>
                </a:gridCol>
                <a:gridCol w="3047603">
                  <a:extLst>
                    <a:ext uri="{9D8B030D-6E8A-4147-A177-3AD203B41FA5}">
                      <a16:colId xmlns:a16="http://schemas.microsoft.com/office/drawing/2014/main" val="3843830614"/>
                    </a:ext>
                  </a:extLst>
                </a:gridCol>
                <a:gridCol w="3047603">
                  <a:extLst>
                    <a:ext uri="{9D8B030D-6E8A-4147-A177-3AD203B41FA5}">
                      <a16:colId xmlns:a16="http://schemas.microsoft.com/office/drawing/2014/main" val="3292150729"/>
                    </a:ext>
                  </a:extLst>
                </a:gridCol>
              </a:tblGrid>
              <a:tr h="370840">
                <a:tc>
                  <a:txBody>
                    <a:bodyPr/>
                    <a:lstStyle/>
                    <a:p>
                      <a:pPr algn="ctr"/>
                      <a:r>
                        <a:rPr lang="en-US"/>
                        <a:t>Case 1</a:t>
                      </a:r>
                    </a:p>
                  </a:txBody>
                  <a:tcPr>
                    <a:solidFill>
                      <a:schemeClr val="bg2">
                        <a:lumMod val="20000"/>
                        <a:lumOff val="80000"/>
                      </a:schemeClr>
                    </a:solidFill>
                  </a:tcPr>
                </a:tc>
                <a:tc>
                  <a:txBody>
                    <a:bodyPr/>
                    <a:lstStyle/>
                    <a:p>
                      <a:pPr algn="ctr"/>
                      <a:r>
                        <a:rPr lang="en-US"/>
                        <a:t>Case 2</a:t>
                      </a:r>
                    </a:p>
                  </a:txBody>
                  <a:tcPr>
                    <a:solidFill>
                      <a:schemeClr val="bg2">
                        <a:lumMod val="20000"/>
                        <a:lumOff val="80000"/>
                      </a:schemeClr>
                    </a:solidFill>
                  </a:tcPr>
                </a:tc>
                <a:tc>
                  <a:txBody>
                    <a:bodyPr/>
                    <a:lstStyle/>
                    <a:p>
                      <a:pPr algn="ctr"/>
                      <a:r>
                        <a:rPr lang="en-US"/>
                        <a:t>Case 3</a:t>
                      </a:r>
                    </a:p>
                  </a:txBody>
                  <a:tcPr>
                    <a:solidFill>
                      <a:schemeClr val="bg2">
                        <a:lumMod val="20000"/>
                        <a:lumOff val="80000"/>
                      </a:schemeClr>
                    </a:solidFill>
                  </a:tcPr>
                </a:tc>
                <a:tc>
                  <a:txBody>
                    <a:bodyPr/>
                    <a:lstStyle/>
                    <a:p>
                      <a:pPr algn="ctr"/>
                      <a:r>
                        <a:rPr lang="en-US"/>
                        <a:t>Case 4</a:t>
                      </a:r>
                    </a:p>
                  </a:txBody>
                  <a:tcPr>
                    <a:solidFill>
                      <a:schemeClr val="bg2"/>
                    </a:solidFill>
                  </a:tcPr>
                </a:tc>
                <a:extLst>
                  <a:ext uri="{0D108BD9-81ED-4DB2-BD59-A6C34878D82A}">
                    <a16:rowId xmlns:a16="http://schemas.microsoft.com/office/drawing/2014/main" val="2152829518"/>
                  </a:ext>
                </a:extLst>
              </a:tr>
            </a:tbl>
          </a:graphicData>
        </a:graphic>
      </p:graphicFrame>
    </p:spTree>
    <p:extLst>
      <p:ext uri="{BB962C8B-B14F-4D97-AF65-F5344CB8AC3E}">
        <p14:creationId xmlns:p14="http://schemas.microsoft.com/office/powerpoint/2010/main" val="252915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F66DA294-A309-485F-B2F9-45643BEFD7DB}"/>
              </a:ext>
            </a:extLst>
          </p:cNvPr>
          <p:cNvSpPr/>
          <p:nvPr/>
        </p:nvSpPr>
        <p:spPr bwMode="gray">
          <a:xfrm>
            <a:off x="5928078" y="1417444"/>
            <a:ext cx="5852203" cy="4978812"/>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Subtitle 1">
            <a:extLst>
              <a:ext uri="{FF2B5EF4-FFF2-40B4-BE49-F238E27FC236}">
                <a16:creationId xmlns:a16="http://schemas.microsoft.com/office/drawing/2014/main" id="{80DAE7CF-184D-4BED-8342-54D8AC2D31BD}"/>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A6FC7A65-E28F-4680-8950-B7711D85C32D}"/>
              </a:ext>
            </a:extLst>
          </p:cNvPr>
          <p:cNvSpPr>
            <a:spLocks noGrp="1"/>
          </p:cNvSpPr>
          <p:nvPr>
            <p:ph type="title"/>
          </p:nvPr>
        </p:nvSpPr>
        <p:spPr/>
        <p:txBody>
          <a:bodyPr/>
          <a:lstStyle/>
          <a:p>
            <a:r>
              <a:rPr lang="en-US"/>
              <a:t>V</a:t>
            </a:r>
            <a:r>
              <a:rPr lang="en-US" altLang="zh-CN"/>
              <a:t>oice of Customer – from focus group to big data in social listening </a:t>
            </a:r>
            <a:endParaRPr lang="en-US"/>
          </a:p>
        </p:txBody>
      </p:sp>
      <p:sp>
        <p:nvSpPr>
          <p:cNvPr id="4" name="Footer Placeholder 3">
            <a:extLst>
              <a:ext uri="{FF2B5EF4-FFF2-40B4-BE49-F238E27FC236}">
                <a16:creationId xmlns:a16="http://schemas.microsoft.com/office/drawing/2014/main" id="{56140B8B-EEE7-4FCF-AA94-27ADD069A658}"/>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3F5C8690-8EAA-4021-AC4B-6013984EE8DA}"/>
              </a:ext>
            </a:extLst>
          </p:cNvPr>
          <p:cNvSpPr>
            <a:spLocks noGrp="1"/>
          </p:cNvSpPr>
          <p:nvPr>
            <p:ph type="sldNum" sz="quarter" idx="12"/>
          </p:nvPr>
        </p:nvSpPr>
        <p:spPr/>
        <p:txBody>
          <a:bodyPr/>
          <a:lstStyle/>
          <a:p>
            <a:fld id="{EEAD9179-7A6B-4268-BEB2-F3B8EB06115B}" type="slidenum">
              <a:rPr lang="en-US" smtClean="0"/>
              <a:pPr/>
              <a:t>27</a:t>
            </a:fld>
            <a:endParaRPr lang="en-US"/>
          </a:p>
        </p:txBody>
      </p:sp>
      <p:graphicFrame>
        <p:nvGraphicFramePr>
          <p:cNvPr id="20" name="Chart 3">
            <a:extLst>
              <a:ext uri="{FF2B5EF4-FFF2-40B4-BE49-F238E27FC236}">
                <a16:creationId xmlns:a16="http://schemas.microsoft.com/office/drawing/2014/main" id="{B883D82D-35F1-4038-8633-6AE516CF5590}"/>
              </a:ext>
            </a:extLst>
          </p:cNvPr>
          <p:cNvGraphicFramePr>
            <a:graphicFrameLocks/>
          </p:cNvGraphicFramePr>
          <p:nvPr>
            <p:extLst>
              <p:ext uri="{D42A27DB-BD31-4B8C-83A1-F6EECF244321}">
                <p14:modId xmlns:p14="http://schemas.microsoft.com/office/powerpoint/2010/main" val="357767913"/>
              </p:ext>
            </p:extLst>
          </p:nvPr>
        </p:nvGraphicFramePr>
        <p:xfrm>
          <a:off x="0" y="2038843"/>
          <a:ext cx="6891319" cy="3930546"/>
        </p:xfrm>
        <a:graphic>
          <a:graphicData uri="http://schemas.openxmlformats.org/drawingml/2006/chart">
            <c:chart xmlns:c="http://schemas.openxmlformats.org/drawingml/2006/chart" xmlns:r="http://schemas.openxmlformats.org/officeDocument/2006/relationships" r:id="rId3"/>
          </a:graphicData>
        </a:graphic>
      </p:graphicFrame>
      <p:sp>
        <p:nvSpPr>
          <p:cNvPr id="30" name="Rectangle 29">
            <a:extLst>
              <a:ext uri="{FF2B5EF4-FFF2-40B4-BE49-F238E27FC236}">
                <a16:creationId xmlns:a16="http://schemas.microsoft.com/office/drawing/2014/main" id="{F601F194-EDDC-425E-AFA1-A7AB153AB07F}"/>
              </a:ext>
            </a:extLst>
          </p:cNvPr>
          <p:cNvSpPr/>
          <p:nvPr/>
        </p:nvSpPr>
        <p:spPr>
          <a:xfrm rot="5400000">
            <a:off x="4994227" y="3752506"/>
            <a:ext cx="4544769" cy="123112"/>
          </a:xfrm>
          <a:prstGeom prst="rect">
            <a:avLst/>
          </a:prstGeom>
          <a:gradFill flip="none" rotWithShape="1">
            <a:gsLst>
              <a:gs pos="50000">
                <a:srgbClr val="FFCC00"/>
              </a:gs>
              <a:gs pos="0">
                <a:srgbClr val="66B512"/>
              </a:gs>
              <a:gs pos="100000">
                <a:schemeClr val="tx2"/>
              </a:gs>
            </a:gsLst>
            <a:lin ang="0" scaled="1"/>
            <a:tileRect/>
          </a:gradFill>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GB" sz="2400" err="1">
              <a:solidFill>
                <a:schemeClr val="tx1"/>
              </a:solidFill>
            </a:endParaRPr>
          </a:p>
        </p:txBody>
      </p:sp>
      <p:sp>
        <p:nvSpPr>
          <p:cNvPr id="31" name="TextBox 30">
            <a:extLst>
              <a:ext uri="{FF2B5EF4-FFF2-40B4-BE49-F238E27FC236}">
                <a16:creationId xmlns:a16="http://schemas.microsoft.com/office/drawing/2014/main" id="{1937EF46-CDEE-4B2F-85B5-E88B664564B9}"/>
              </a:ext>
            </a:extLst>
          </p:cNvPr>
          <p:cNvSpPr txBox="1"/>
          <p:nvPr/>
        </p:nvSpPr>
        <p:spPr bwMode="gray">
          <a:xfrm>
            <a:off x="6281328" y="2018447"/>
            <a:ext cx="737935" cy="430887"/>
          </a:xfrm>
          <a:prstGeom prst="rect">
            <a:avLst/>
          </a:prstGeom>
          <a:noFill/>
        </p:spPr>
        <p:txBody>
          <a:bodyPr vert="horz" wrap="square" lIns="0" tIns="0" rIns="0" bIns="0" rtlCol="0" anchor="t">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sz="1400" i="1">
                <a:solidFill>
                  <a:schemeClr val="tx1"/>
                </a:solidFill>
              </a:rPr>
              <a:t>Positive + neutral</a:t>
            </a:r>
          </a:p>
        </p:txBody>
      </p:sp>
      <p:sp>
        <p:nvSpPr>
          <p:cNvPr id="32" name="TextBox 31">
            <a:extLst>
              <a:ext uri="{FF2B5EF4-FFF2-40B4-BE49-F238E27FC236}">
                <a16:creationId xmlns:a16="http://schemas.microsoft.com/office/drawing/2014/main" id="{D8A8EED2-248B-40A5-BC34-46A97C2BACE8}"/>
              </a:ext>
            </a:extLst>
          </p:cNvPr>
          <p:cNvSpPr txBox="1"/>
          <p:nvPr/>
        </p:nvSpPr>
        <p:spPr bwMode="gray">
          <a:xfrm>
            <a:off x="7509868" y="2710707"/>
            <a:ext cx="737935" cy="430887"/>
          </a:xfrm>
          <a:prstGeom prst="rect">
            <a:avLst/>
          </a:prstGeom>
          <a:noFill/>
        </p:spPr>
        <p:txBody>
          <a:bodyPr vert="horz" wrap="square" lIns="0" tIns="0" rIns="0" bIns="0" rtlCol="0" anchor="ctr">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sz="1400" i="1">
                <a:solidFill>
                  <a:schemeClr val="tx1"/>
                </a:solidFill>
              </a:rPr>
              <a:t>only neutral</a:t>
            </a:r>
          </a:p>
        </p:txBody>
      </p:sp>
      <p:sp>
        <p:nvSpPr>
          <p:cNvPr id="34" name="TextBox 33">
            <a:extLst>
              <a:ext uri="{FF2B5EF4-FFF2-40B4-BE49-F238E27FC236}">
                <a16:creationId xmlns:a16="http://schemas.microsoft.com/office/drawing/2014/main" id="{3CABFA2F-9C40-49EE-90E0-DCEDB737C317}"/>
              </a:ext>
            </a:extLst>
          </p:cNvPr>
          <p:cNvSpPr txBox="1"/>
          <p:nvPr/>
        </p:nvSpPr>
        <p:spPr bwMode="gray">
          <a:xfrm>
            <a:off x="6356821" y="4842901"/>
            <a:ext cx="737935" cy="646331"/>
          </a:xfrm>
          <a:prstGeom prst="rect">
            <a:avLst/>
          </a:prstGeom>
          <a:noFill/>
        </p:spPr>
        <p:txBody>
          <a:bodyPr vert="horz" wrap="square" lIns="0" tIns="0" rIns="0" bIns="0" rtlCol="0" anchor="t">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sz="1400" i="1">
                <a:solidFill>
                  <a:schemeClr val="tx1"/>
                </a:solidFill>
              </a:rPr>
              <a:t>Only negative + neutral </a:t>
            </a:r>
          </a:p>
        </p:txBody>
      </p:sp>
      <p:sp>
        <p:nvSpPr>
          <p:cNvPr id="35" name="TextBox 34">
            <a:extLst>
              <a:ext uri="{FF2B5EF4-FFF2-40B4-BE49-F238E27FC236}">
                <a16:creationId xmlns:a16="http://schemas.microsoft.com/office/drawing/2014/main" id="{011B1A54-F65E-4753-87F9-9DE5D82AD309}"/>
              </a:ext>
            </a:extLst>
          </p:cNvPr>
          <p:cNvSpPr txBox="1"/>
          <p:nvPr/>
        </p:nvSpPr>
        <p:spPr bwMode="gray">
          <a:xfrm>
            <a:off x="7509868" y="1630295"/>
            <a:ext cx="737935" cy="430887"/>
          </a:xfrm>
          <a:prstGeom prst="rect">
            <a:avLst/>
          </a:prstGeom>
          <a:noFill/>
        </p:spPr>
        <p:txBody>
          <a:bodyPr vert="horz" wrap="square" lIns="0" tIns="0" rIns="0" bIns="0" rtlCol="0" anchor="t">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sz="1400" i="1">
                <a:solidFill>
                  <a:schemeClr val="tx1"/>
                </a:solidFill>
              </a:rPr>
              <a:t>Only positive </a:t>
            </a:r>
          </a:p>
        </p:txBody>
      </p:sp>
      <p:sp>
        <p:nvSpPr>
          <p:cNvPr id="36" name="TextBox 35">
            <a:extLst>
              <a:ext uri="{FF2B5EF4-FFF2-40B4-BE49-F238E27FC236}">
                <a16:creationId xmlns:a16="http://schemas.microsoft.com/office/drawing/2014/main" id="{CBCA8B67-6DF8-461E-92C8-CC82683EDFE6}"/>
              </a:ext>
            </a:extLst>
          </p:cNvPr>
          <p:cNvSpPr txBox="1"/>
          <p:nvPr/>
        </p:nvSpPr>
        <p:spPr bwMode="gray">
          <a:xfrm>
            <a:off x="7401015" y="4048877"/>
            <a:ext cx="737935" cy="646331"/>
          </a:xfrm>
          <a:prstGeom prst="rect">
            <a:avLst/>
          </a:prstGeom>
          <a:noFill/>
        </p:spPr>
        <p:txBody>
          <a:bodyPr vert="horz" wrap="square" lIns="0" tIns="0" rIns="0" bIns="0" rtlCol="0" anchor="ctr">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sz="1400" i="1">
                <a:solidFill>
                  <a:schemeClr val="tx1"/>
                </a:solidFill>
              </a:rPr>
              <a:t>Positive + negative </a:t>
            </a:r>
          </a:p>
        </p:txBody>
      </p:sp>
      <p:sp>
        <p:nvSpPr>
          <p:cNvPr id="37" name="TextBox 36">
            <a:extLst>
              <a:ext uri="{FF2B5EF4-FFF2-40B4-BE49-F238E27FC236}">
                <a16:creationId xmlns:a16="http://schemas.microsoft.com/office/drawing/2014/main" id="{E068B321-1C2A-44BE-9497-27FFF7EE8141}"/>
              </a:ext>
            </a:extLst>
          </p:cNvPr>
          <p:cNvSpPr txBox="1"/>
          <p:nvPr/>
        </p:nvSpPr>
        <p:spPr bwMode="gray">
          <a:xfrm>
            <a:off x="7509868" y="5596179"/>
            <a:ext cx="737935" cy="430887"/>
          </a:xfrm>
          <a:prstGeom prst="rect">
            <a:avLst/>
          </a:prstGeom>
          <a:noFill/>
        </p:spPr>
        <p:txBody>
          <a:bodyPr vert="horz" wrap="square" lIns="0" tIns="0" rIns="0" bIns="0" rtlCol="0" anchor="b">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sz="1400" i="1">
                <a:solidFill>
                  <a:schemeClr val="tx1"/>
                </a:solidFill>
              </a:rPr>
              <a:t>Negative only </a:t>
            </a:r>
          </a:p>
        </p:txBody>
      </p:sp>
      <p:sp>
        <p:nvSpPr>
          <p:cNvPr id="39" name="TextBox 38">
            <a:extLst>
              <a:ext uri="{FF2B5EF4-FFF2-40B4-BE49-F238E27FC236}">
                <a16:creationId xmlns:a16="http://schemas.microsoft.com/office/drawing/2014/main" id="{43E42E8B-0AB5-4711-B78E-D47BBB5ABBA7}"/>
              </a:ext>
            </a:extLst>
          </p:cNvPr>
          <p:cNvSpPr txBox="1"/>
          <p:nvPr/>
        </p:nvSpPr>
        <p:spPr bwMode="gray">
          <a:xfrm>
            <a:off x="6275892" y="3089891"/>
            <a:ext cx="737935" cy="861774"/>
          </a:xfrm>
          <a:prstGeom prst="rect">
            <a:avLst/>
          </a:prstGeom>
          <a:noFill/>
        </p:spPr>
        <p:txBody>
          <a:bodyPr vert="horz" wrap="square" lIns="0" tIns="0" rIns="0" bIns="0" rtlCol="0" anchor="ctr">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4"/>
              </a:buBlip>
              <a:defRPr>
                <a:solidFill>
                  <a:schemeClr val="accent1"/>
                </a:solidFill>
              </a:defRPr>
            </a:lvl2pPr>
            <a:lvl3pPr marL="539946" lvl="2" indent="-269973" defTabSz="914309">
              <a:spcBef>
                <a:spcPts val="300"/>
              </a:spcBef>
              <a:spcAft>
                <a:spcPts val="600"/>
              </a:spcAft>
              <a:buFontTx/>
              <a:buBlip>
                <a:blip r:embed="rId5"/>
              </a:buBlip>
              <a:defRPr>
                <a:solidFill>
                  <a:schemeClr val="accent1"/>
                </a:solidFill>
              </a:defRPr>
            </a:lvl3pPr>
            <a:lvl4pPr marL="809919" lvl="3" indent="-269973" defTabSz="914309">
              <a:spcBef>
                <a:spcPts val="300"/>
              </a:spcBef>
              <a:spcAft>
                <a:spcPts val="600"/>
              </a:spcAft>
              <a:buFontTx/>
              <a:buBlip>
                <a:blip r:embed="rId6"/>
              </a:buBlip>
              <a:defRPr>
                <a:solidFill>
                  <a:schemeClr val="accent1"/>
                </a:solidFill>
              </a:defRPr>
            </a:lvl4pPr>
            <a:lvl5pPr marL="1079892" lvl="4" indent="-269973" defTabSz="914309">
              <a:spcBef>
                <a:spcPts val="300"/>
              </a:spcBef>
              <a:spcAft>
                <a:spcPts val="600"/>
              </a:spcAft>
              <a:buFontTx/>
              <a:buBlip>
                <a:blip r:embed="rId7"/>
              </a:buBlip>
              <a:defRPr>
                <a:solidFill>
                  <a:schemeClr val="accent1"/>
                </a:solidFill>
              </a:defRPr>
            </a:lvl5pPr>
            <a:lvl6pPr marL="1079892" indent="-269973" defTabSz="914309">
              <a:spcBef>
                <a:spcPts val="300"/>
              </a:spcBef>
              <a:spcAft>
                <a:spcPts val="600"/>
              </a:spcAft>
              <a:buFontTx/>
              <a:buBlip>
                <a:blip r:embed="rId7"/>
              </a:buBlip>
            </a:lvl6pPr>
            <a:lvl7pPr marL="1079892" indent="-269973" defTabSz="914309">
              <a:spcBef>
                <a:spcPts val="300"/>
              </a:spcBef>
              <a:spcAft>
                <a:spcPts val="600"/>
              </a:spcAft>
              <a:buFontTx/>
              <a:buBlip>
                <a:blip r:embed="rId7"/>
              </a:buBlip>
            </a:lvl7pPr>
            <a:lvl8pPr marL="1079892" indent="-269973" defTabSz="914309">
              <a:spcBef>
                <a:spcPts val="300"/>
              </a:spcBef>
              <a:spcAft>
                <a:spcPts val="600"/>
              </a:spcAft>
              <a:buFontTx/>
              <a:buBlip>
                <a:blip r:embed="rId7"/>
              </a:buBlip>
            </a:lvl8pPr>
            <a:lvl9pPr marL="1079892" indent="-269973" defTabSz="914309">
              <a:spcBef>
                <a:spcPts val="300"/>
              </a:spcBef>
              <a:spcAft>
                <a:spcPts val="600"/>
              </a:spcAft>
              <a:buFontTx/>
              <a:buBlip>
                <a:blip r:embed="rId7"/>
              </a:buBlip>
            </a:lvl9pPr>
          </a:lstStyle>
          <a:p>
            <a:r>
              <a:rPr lang="en-GB" sz="1400" i="1">
                <a:solidFill>
                  <a:schemeClr val="tx1"/>
                </a:solidFill>
              </a:rPr>
              <a:t>Positive + neutral + negative </a:t>
            </a:r>
          </a:p>
        </p:txBody>
      </p:sp>
      <p:pic>
        <p:nvPicPr>
          <p:cNvPr id="13" name="Picture 12">
            <a:extLst>
              <a:ext uri="{FF2B5EF4-FFF2-40B4-BE49-F238E27FC236}">
                <a16:creationId xmlns:a16="http://schemas.microsoft.com/office/drawing/2014/main" id="{682E22C5-09F6-4739-BBD1-95F8C84BD290}"/>
              </a:ext>
            </a:extLst>
          </p:cNvPr>
          <p:cNvPicPr>
            <a:picLocks noChangeAspect="1"/>
          </p:cNvPicPr>
          <p:nvPr/>
        </p:nvPicPr>
        <p:blipFill>
          <a:blip r:embed="rId8"/>
          <a:stretch>
            <a:fillRect/>
          </a:stretch>
        </p:blipFill>
        <p:spPr>
          <a:xfrm>
            <a:off x="10125220" y="1015082"/>
            <a:ext cx="1943371" cy="819264"/>
          </a:xfrm>
          <a:prstGeom prst="rect">
            <a:avLst/>
          </a:prstGeom>
        </p:spPr>
      </p:pic>
      <p:sp>
        <p:nvSpPr>
          <p:cNvPr id="40" name="文本框 63">
            <a:extLst>
              <a:ext uri="{FF2B5EF4-FFF2-40B4-BE49-F238E27FC236}">
                <a16:creationId xmlns:a16="http://schemas.microsoft.com/office/drawing/2014/main" id="{1B23CF91-E47B-408E-9A2E-483A150D5C1E}"/>
              </a:ext>
            </a:extLst>
          </p:cNvPr>
          <p:cNvSpPr txBox="1"/>
          <p:nvPr/>
        </p:nvSpPr>
        <p:spPr>
          <a:xfrm>
            <a:off x="8721306" y="1806109"/>
            <a:ext cx="2869490" cy="584775"/>
          </a:xfrm>
          <a:prstGeom prst="rect">
            <a:avLst/>
          </a:prstGeom>
          <a:noFill/>
        </p:spPr>
        <p:txBody>
          <a:bodyPr wrap="square" rtlCol="0">
            <a:spAutoFit/>
          </a:bodyPr>
          <a:lstStyle/>
          <a:p>
            <a:pPr fontAlgn="base">
              <a:spcBef>
                <a:spcPct val="0"/>
              </a:spcBef>
              <a:spcAft>
                <a:spcPct val="0"/>
              </a:spcAft>
            </a:pPr>
            <a:r>
              <a:rPr lang="zh-CN" altLang="en-US" sz="1600" b="1">
                <a:latin typeface="微软雅黑" panose="020B0503020204020204" pitchFamily="34" charset="-122"/>
                <a:ea typeface="微软雅黑" panose="020B0503020204020204" pitchFamily="34" charset="-122"/>
              </a:rPr>
              <a:t>行动路线</a:t>
            </a:r>
            <a:r>
              <a:rPr lang="zh-CN" altLang="en-US" sz="1600">
                <a:latin typeface="微软雅黑" panose="020B0503020204020204" pitchFamily="34" charset="-122"/>
                <a:ea typeface="微软雅黑" panose="020B0503020204020204" pitchFamily="34" charset="-122"/>
              </a:rPr>
              <a:t>：引导</a:t>
            </a:r>
            <a:r>
              <a:rPr lang="zh-CN" altLang="en-US" sz="1600" b="1">
                <a:latin typeface="微软雅黑" pitchFamily="34" charset="-122"/>
                <a:ea typeface="微软雅黑" pitchFamily="34" charset="-122"/>
              </a:rPr>
              <a:t>中立</a:t>
            </a:r>
            <a:r>
              <a:rPr lang="en-US" altLang="zh-CN" sz="1600" b="1">
                <a:latin typeface="微软雅黑" pitchFamily="34" charset="-122"/>
                <a:ea typeface="微软雅黑" pitchFamily="34" charset="-122"/>
              </a:rPr>
              <a:t>KOL</a:t>
            </a:r>
            <a:r>
              <a:rPr lang="zh-CN" altLang="en-US" sz="1600">
                <a:latin typeface="微软雅黑" pitchFamily="34" charset="-122"/>
                <a:ea typeface="微软雅黑" pitchFamily="34" charset="-122"/>
              </a:rPr>
              <a:t>转向，加强</a:t>
            </a:r>
            <a:r>
              <a:rPr lang="zh-CN" altLang="en-US" sz="1600" b="1">
                <a:latin typeface="微软雅黑" pitchFamily="34" charset="-122"/>
                <a:ea typeface="微软雅黑" pitchFamily="34" charset="-122"/>
              </a:rPr>
              <a:t>正向</a:t>
            </a:r>
            <a:r>
              <a:rPr lang="en-US" altLang="zh-CN" sz="1600" b="1">
                <a:latin typeface="微软雅黑" pitchFamily="34" charset="-122"/>
                <a:ea typeface="微软雅黑" pitchFamily="34" charset="-122"/>
              </a:rPr>
              <a:t>KOL</a:t>
            </a:r>
            <a:r>
              <a:rPr lang="zh-CN" altLang="en-US" sz="1600">
                <a:latin typeface="微软雅黑" pitchFamily="34" charset="-122"/>
                <a:ea typeface="微软雅黑" pitchFamily="34" charset="-122"/>
              </a:rPr>
              <a:t>发声引导舆论</a:t>
            </a:r>
          </a:p>
        </p:txBody>
      </p:sp>
      <p:sp>
        <p:nvSpPr>
          <p:cNvPr id="43" name="文本框 60">
            <a:extLst>
              <a:ext uri="{FF2B5EF4-FFF2-40B4-BE49-F238E27FC236}">
                <a16:creationId xmlns:a16="http://schemas.microsoft.com/office/drawing/2014/main" id="{08DC80B5-31D7-4631-A8C4-6C77B002FC99}"/>
              </a:ext>
            </a:extLst>
          </p:cNvPr>
          <p:cNvSpPr txBox="1"/>
          <p:nvPr/>
        </p:nvSpPr>
        <p:spPr>
          <a:xfrm>
            <a:off x="14435009" y="3854134"/>
            <a:ext cx="312906" cy="369332"/>
          </a:xfrm>
          <a:prstGeom prst="rect">
            <a:avLst/>
          </a:prstGeom>
          <a:solidFill>
            <a:srgbClr val="70AD47">
              <a:lumMod val="40000"/>
              <a:lumOff val="60000"/>
            </a:srgbClr>
          </a:solid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a:ln>
                  <a:noFill/>
                </a:ln>
                <a:solidFill>
                  <a:prstClr val="black"/>
                </a:solidFill>
                <a:effectLst/>
                <a:uLnTx/>
                <a:uFillTx/>
                <a:ea typeface="宋体" panose="02010600030101010101" pitchFamily="2" charset="-122"/>
              </a:rPr>
              <a:t>6</a:t>
            </a:r>
            <a:endParaRPr kumimoji="0" lang="zh-CN" altLang="en-US" sz="1800" b="0" i="0" u="none" strike="noStrike" kern="0" cap="none" spc="0" normalizeH="0" baseline="0" noProof="0">
              <a:ln>
                <a:noFill/>
              </a:ln>
              <a:solidFill>
                <a:prstClr val="black"/>
              </a:solidFill>
              <a:effectLst/>
              <a:uLnTx/>
              <a:uFillTx/>
              <a:ea typeface="宋体" panose="02010600030101010101" pitchFamily="2" charset="-122"/>
            </a:endParaRPr>
          </a:p>
        </p:txBody>
      </p:sp>
      <p:sp>
        <p:nvSpPr>
          <p:cNvPr id="44" name="文本框 9">
            <a:extLst>
              <a:ext uri="{FF2B5EF4-FFF2-40B4-BE49-F238E27FC236}">
                <a16:creationId xmlns:a16="http://schemas.microsoft.com/office/drawing/2014/main" id="{A3E0FE64-14AD-4F70-A8B7-9C6D7CCEE478}"/>
              </a:ext>
            </a:extLst>
          </p:cNvPr>
          <p:cNvSpPr txBox="1"/>
          <p:nvPr/>
        </p:nvSpPr>
        <p:spPr>
          <a:xfrm>
            <a:off x="10308125" y="3228810"/>
            <a:ext cx="723275" cy="954107"/>
          </a:xfrm>
          <a:prstGeom prst="rect">
            <a:avLst/>
          </a:prstGeom>
          <a:noFill/>
        </p:spPr>
        <p:txBody>
          <a:bodyPr wrap="none" rtlCol="0">
            <a:spAutoFit/>
          </a:bodyPr>
          <a:lstStyle/>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汪芳</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许予明</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孔令秋</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唐熠达</a:t>
            </a:r>
            <a:endParaRPr lang="en-US" altLang="zh-CN" sz="1400">
              <a:latin typeface="微软雅黑" panose="020B0503020204020204" pitchFamily="34" charset="-122"/>
              <a:ea typeface="微软雅黑" panose="020B0503020204020204" pitchFamily="34" charset="-122"/>
            </a:endParaRPr>
          </a:p>
        </p:txBody>
      </p:sp>
      <p:sp>
        <p:nvSpPr>
          <p:cNvPr id="45" name="文本框 66">
            <a:extLst>
              <a:ext uri="{FF2B5EF4-FFF2-40B4-BE49-F238E27FC236}">
                <a16:creationId xmlns:a16="http://schemas.microsoft.com/office/drawing/2014/main" id="{DB0477A4-C0B3-47BC-B03A-6458359425CA}"/>
              </a:ext>
            </a:extLst>
          </p:cNvPr>
          <p:cNvSpPr txBox="1"/>
          <p:nvPr/>
        </p:nvSpPr>
        <p:spPr>
          <a:xfrm>
            <a:off x="9265399" y="3202832"/>
            <a:ext cx="723275" cy="1384995"/>
          </a:xfrm>
          <a:prstGeom prst="rect">
            <a:avLst/>
          </a:prstGeom>
          <a:noFill/>
        </p:spPr>
        <p:txBody>
          <a:bodyPr wrap="none" rtlCol="0">
            <a:spAutoFit/>
          </a:bodyPr>
          <a:lstStyle/>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丁荣晶</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葛均波</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候静波</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马长生</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ja-JP" altLang="en-US" sz="1400">
                <a:latin typeface="微软雅黑" panose="020B0503020204020204" pitchFamily="34" charset="-122"/>
                <a:ea typeface="微软雅黑" panose="020B0503020204020204" pitchFamily="34" charset="-122"/>
              </a:rPr>
              <a:t>冀连梅</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endParaRPr lang="en-US" altLang="zh-CN" sz="1400">
              <a:ea typeface="宋体" panose="02010600030101010101" pitchFamily="2" charset="-122"/>
            </a:endParaRPr>
          </a:p>
        </p:txBody>
      </p:sp>
      <p:sp>
        <p:nvSpPr>
          <p:cNvPr id="47" name="文本框 68">
            <a:extLst>
              <a:ext uri="{FF2B5EF4-FFF2-40B4-BE49-F238E27FC236}">
                <a16:creationId xmlns:a16="http://schemas.microsoft.com/office/drawing/2014/main" id="{5C400F80-F10A-44CB-A4CF-E3E98CB97A68}"/>
              </a:ext>
            </a:extLst>
          </p:cNvPr>
          <p:cNvSpPr txBox="1"/>
          <p:nvPr/>
        </p:nvSpPr>
        <p:spPr>
          <a:xfrm>
            <a:off x="9260952" y="2772279"/>
            <a:ext cx="723275" cy="307777"/>
          </a:xfrm>
          <a:prstGeom prst="rect">
            <a:avLst/>
          </a:prstGeom>
          <a:noFill/>
        </p:spPr>
        <p:txBody>
          <a:bodyPr wrap="none" rtlCol="0">
            <a:spAutoFit/>
          </a:bodyPr>
          <a:lstStyle/>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郭艺芳</a:t>
            </a:r>
            <a:endParaRPr lang="en-US" altLang="zh-CN" sz="1400">
              <a:ea typeface="宋体" panose="02010600030101010101" pitchFamily="2" charset="-122"/>
            </a:endParaRPr>
          </a:p>
        </p:txBody>
      </p:sp>
      <p:sp>
        <p:nvSpPr>
          <p:cNvPr id="48" name="文本框 69">
            <a:extLst>
              <a:ext uri="{FF2B5EF4-FFF2-40B4-BE49-F238E27FC236}">
                <a16:creationId xmlns:a16="http://schemas.microsoft.com/office/drawing/2014/main" id="{6CFFFA45-BBD8-4FA7-A27D-4B38E4C5F5E4}"/>
              </a:ext>
            </a:extLst>
          </p:cNvPr>
          <p:cNvSpPr txBox="1"/>
          <p:nvPr/>
        </p:nvSpPr>
        <p:spPr>
          <a:xfrm>
            <a:off x="9301669" y="4795818"/>
            <a:ext cx="723275" cy="1600438"/>
          </a:xfrm>
          <a:prstGeom prst="rect">
            <a:avLst/>
          </a:prstGeom>
          <a:noFill/>
        </p:spPr>
        <p:txBody>
          <a:bodyPr wrap="none" rtlCol="0">
            <a:spAutoFit/>
          </a:bodyPr>
          <a:lstStyle/>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许俊堂</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李小鹰</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刘健</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孙艺红</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r>
              <a:rPr lang="zh-CN" altLang="en-US" sz="1400">
                <a:latin typeface="微软雅黑" panose="020B0503020204020204" pitchFamily="34" charset="-122"/>
                <a:ea typeface="微软雅黑" panose="020B0503020204020204" pitchFamily="34" charset="-122"/>
              </a:rPr>
              <a:t>杨进刚</a:t>
            </a:r>
            <a:endParaRPr lang="en-US" altLang="zh-CN" sz="1400">
              <a:latin typeface="微软雅黑" panose="020B0503020204020204" pitchFamily="34" charset="-122"/>
              <a:ea typeface="微软雅黑" panose="020B0503020204020204" pitchFamily="34" charset="-122"/>
            </a:endParaRPr>
          </a:p>
          <a:p>
            <a:pPr fontAlgn="base">
              <a:spcBef>
                <a:spcPct val="0"/>
              </a:spcBef>
              <a:spcAft>
                <a:spcPct val="0"/>
              </a:spcAft>
            </a:pPr>
            <a:endParaRPr lang="en-US" altLang="zh-CN" sz="1400">
              <a:ea typeface="宋体" panose="02010600030101010101" pitchFamily="2" charset="-122"/>
            </a:endParaRPr>
          </a:p>
          <a:p>
            <a:pPr fontAlgn="base">
              <a:spcBef>
                <a:spcPct val="0"/>
              </a:spcBef>
              <a:spcAft>
                <a:spcPct val="0"/>
              </a:spcAft>
            </a:pPr>
            <a:endParaRPr lang="en-US" altLang="zh-CN" sz="1400">
              <a:ea typeface="宋体" panose="02010600030101010101" pitchFamily="2" charset="-122"/>
            </a:endParaRPr>
          </a:p>
        </p:txBody>
      </p:sp>
      <p:cxnSp>
        <p:nvCxnSpPr>
          <p:cNvPr id="55" name="Straight Connector 54">
            <a:extLst>
              <a:ext uri="{FF2B5EF4-FFF2-40B4-BE49-F238E27FC236}">
                <a16:creationId xmlns:a16="http://schemas.microsoft.com/office/drawing/2014/main" id="{EA4924BB-54C3-4DFC-87E9-10CEBE3862B8}"/>
              </a:ext>
            </a:extLst>
          </p:cNvPr>
          <p:cNvCxnSpPr/>
          <p:nvPr/>
        </p:nvCxnSpPr>
        <p:spPr bwMode="gray">
          <a:xfrm flipV="1">
            <a:off x="9298984" y="3134533"/>
            <a:ext cx="2061274"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C6C4970-B150-41A7-990D-15924BE8F20E}"/>
              </a:ext>
            </a:extLst>
          </p:cNvPr>
          <p:cNvCxnSpPr/>
          <p:nvPr/>
        </p:nvCxnSpPr>
        <p:spPr bwMode="gray">
          <a:xfrm flipV="1">
            <a:off x="9277488" y="4587827"/>
            <a:ext cx="2061274"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4EFA73CF-55F1-48B1-B822-5D5D08EDCD74}"/>
              </a:ext>
            </a:extLst>
          </p:cNvPr>
          <p:cNvSpPr/>
          <p:nvPr/>
        </p:nvSpPr>
        <p:spPr bwMode="gray">
          <a:xfrm>
            <a:off x="7013827" y="3642102"/>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sp>
        <p:nvSpPr>
          <p:cNvPr id="58" name="Oval 57">
            <a:extLst>
              <a:ext uri="{FF2B5EF4-FFF2-40B4-BE49-F238E27FC236}">
                <a16:creationId xmlns:a16="http://schemas.microsoft.com/office/drawing/2014/main" id="{300A4899-895C-4EA3-A941-AC7C1FA9817A}"/>
              </a:ext>
            </a:extLst>
          </p:cNvPr>
          <p:cNvSpPr/>
          <p:nvPr/>
        </p:nvSpPr>
        <p:spPr bwMode="gray">
          <a:xfrm>
            <a:off x="8127123" y="2895599"/>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sp>
        <p:nvSpPr>
          <p:cNvPr id="59" name="Oval 58">
            <a:extLst>
              <a:ext uri="{FF2B5EF4-FFF2-40B4-BE49-F238E27FC236}">
                <a16:creationId xmlns:a16="http://schemas.microsoft.com/office/drawing/2014/main" id="{1142F0CA-756D-489B-A990-C9FE23183E8B}"/>
              </a:ext>
            </a:extLst>
          </p:cNvPr>
          <p:cNvSpPr/>
          <p:nvPr/>
        </p:nvSpPr>
        <p:spPr bwMode="gray">
          <a:xfrm>
            <a:off x="6946745" y="1993339"/>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3</a:t>
            </a:r>
          </a:p>
        </p:txBody>
      </p:sp>
      <p:sp>
        <p:nvSpPr>
          <p:cNvPr id="60" name="Oval 59">
            <a:extLst>
              <a:ext uri="{FF2B5EF4-FFF2-40B4-BE49-F238E27FC236}">
                <a16:creationId xmlns:a16="http://schemas.microsoft.com/office/drawing/2014/main" id="{14F8665B-69EB-4757-B702-195698053747}"/>
              </a:ext>
            </a:extLst>
          </p:cNvPr>
          <p:cNvSpPr/>
          <p:nvPr/>
        </p:nvSpPr>
        <p:spPr bwMode="gray">
          <a:xfrm>
            <a:off x="9007112" y="2799185"/>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sp>
        <p:nvSpPr>
          <p:cNvPr id="61" name="Oval 60">
            <a:extLst>
              <a:ext uri="{FF2B5EF4-FFF2-40B4-BE49-F238E27FC236}">
                <a16:creationId xmlns:a16="http://schemas.microsoft.com/office/drawing/2014/main" id="{6E677409-CE89-40F8-B33C-6EEC35DFAC71}"/>
              </a:ext>
            </a:extLst>
          </p:cNvPr>
          <p:cNvSpPr/>
          <p:nvPr/>
        </p:nvSpPr>
        <p:spPr bwMode="gray">
          <a:xfrm>
            <a:off x="9008930" y="3247885"/>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sp>
        <p:nvSpPr>
          <p:cNvPr id="62" name="Oval 61">
            <a:extLst>
              <a:ext uri="{FF2B5EF4-FFF2-40B4-BE49-F238E27FC236}">
                <a16:creationId xmlns:a16="http://schemas.microsoft.com/office/drawing/2014/main" id="{2DC70041-3571-4619-A97E-A11FA20CD7F7}"/>
              </a:ext>
            </a:extLst>
          </p:cNvPr>
          <p:cNvSpPr/>
          <p:nvPr/>
        </p:nvSpPr>
        <p:spPr bwMode="gray">
          <a:xfrm>
            <a:off x="9031988" y="4761989"/>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3</a:t>
            </a:r>
          </a:p>
        </p:txBody>
      </p:sp>
      <p:grpSp>
        <p:nvGrpSpPr>
          <p:cNvPr id="64" name="DoubleChevron3 16">
            <a:extLst>
              <a:ext uri="{FF2B5EF4-FFF2-40B4-BE49-F238E27FC236}">
                <a16:creationId xmlns:a16="http://schemas.microsoft.com/office/drawing/2014/main" id="{F7A3336B-7ADC-4680-B3FB-B13F1761E08D}"/>
              </a:ext>
            </a:extLst>
          </p:cNvPr>
          <p:cNvGrpSpPr/>
          <p:nvPr>
            <p:custDataLst>
              <p:tags r:id="rId1"/>
            </p:custDataLst>
          </p:nvPr>
        </p:nvGrpSpPr>
        <p:grpSpPr>
          <a:xfrm>
            <a:off x="5163492" y="1660007"/>
            <a:ext cx="450850" cy="508000"/>
            <a:chOff x="1270000" y="1270000"/>
            <a:chExt cx="450850" cy="508000"/>
          </a:xfrm>
        </p:grpSpPr>
        <p:sp>
          <p:nvSpPr>
            <p:cNvPr id="65" name="ChevronA1">
              <a:extLst>
                <a:ext uri="{FF2B5EF4-FFF2-40B4-BE49-F238E27FC236}">
                  <a16:creationId xmlns:a16="http://schemas.microsoft.com/office/drawing/2014/main" id="{6EAEEE0E-D5B2-4336-8790-DC37D6C09B7B}"/>
                </a:ext>
              </a:extLst>
            </p:cNvPr>
            <p:cNvSpPr>
              <a:spLocks noChangeAspect="1"/>
            </p:cNvSpPr>
            <p:nvPr/>
          </p:nvSpPr>
          <p:spPr bwMode="gray">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2000" b="0" i="0" u="none" baseline="0">
                <a:solidFill>
                  <a:srgbClr val="FFFFFF"/>
                </a:solidFill>
                <a:latin typeface="Arial"/>
              </a:endParaRPr>
            </a:p>
          </p:txBody>
        </p:sp>
        <p:sp>
          <p:nvSpPr>
            <p:cNvPr id="66" name="ChevronB1">
              <a:extLst>
                <a:ext uri="{FF2B5EF4-FFF2-40B4-BE49-F238E27FC236}">
                  <a16:creationId xmlns:a16="http://schemas.microsoft.com/office/drawing/2014/main" id="{75840EBA-7018-4B60-99CA-F74610B8427B}"/>
                </a:ext>
              </a:extLst>
            </p:cNvPr>
            <p:cNvSpPr>
              <a:spLocks noChangeAspect="1"/>
            </p:cNvSpPr>
            <p:nvPr/>
          </p:nvSpPr>
          <p:spPr bwMode="gray">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2000" b="0" i="0" u="none" baseline="0">
                <a:solidFill>
                  <a:srgbClr val="FFFFFF"/>
                </a:solidFill>
                <a:latin typeface="Arial"/>
              </a:endParaRPr>
            </a:p>
          </p:txBody>
        </p:sp>
      </p:grpSp>
      <p:graphicFrame>
        <p:nvGraphicFramePr>
          <p:cNvPr id="67" name="Table 2">
            <a:extLst>
              <a:ext uri="{FF2B5EF4-FFF2-40B4-BE49-F238E27FC236}">
                <a16:creationId xmlns:a16="http://schemas.microsoft.com/office/drawing/2014/main" id="{6AF0CFFA-C703-47CE-8EB6-CF3BA2947ACC}"/>
              </a:ext>
            </a:extLst>
          </p:cNvPr>
          <p:cNvGraphicFramePr>
            <a:graphicFrameLocks noGrp="1"/>
          </p:cNvGraphicFramePr>
          <p:nvPr>
            <p:extLst>
              <p:ext uri="{D42A27DB-BD31-4B8C-83A1-F6EECF244321}">
                <p14:modId xmlns:p14="http://schemas.microsoft.com/office/powerpoint/2010/main" val="3989129917"/>
              </p:ext>
            </p:extLst>
          </p:nvPr>
        </p:nvGraphicFramePr>
        <p:xfrm>
          <a:off x="-1" y="3987"/>
          <a:ext cx="12190412" cy="370840"/>
        </p:xfrm>
        <a:graphic>
          <a:graphicData uri="http://schemas.openxmlformats.org/drawingml/2006/table">
            <a:tbl>
              <a:tblPr firstRow="1" bandRow="1">
                <a:tableStyleId>{5C22544A-7EE6-4342-B048-85BDC9FD1C3A}</a:tableStyleId>
              </a:tblPr>
              <a:tblGrid>
                <a:gridCol w="3047603">
                  <a:extLst>
                    <a:ext uri="{9D8B030D-6E8A-4147-A177-3AD203B41FA5}">
                      <a16:colId xmlns:a16="http://schemas.microsoft.com/office/drawing/2014/main" val="4293867470"/>
                    </a:ext>
                  </a:extLst>
                </a:gridCol>
                <a:gridCol w="3047603">
                  <a:extLst>
                    <a:ext uri="{9D8B030D-6E8A-4147-A177-3AD203B41FA5}">
                      <a16:colId xmlns:a16="http://schemas.microsoft.com/office/drawing/2014/main" val="2122758113"/>
                    </a:ext>
                  </a:extLst>
                </a:gridCol>
                <a:gridCol w="3047603">
                  <a:extLst>
                    <a:ext uri="{9D8B030D-6E8A-4147-A177-3AD203B41FA5}">
                      <a16:colId xmlns:a16="http://schemas.microsoft.com/office/drawing/2014/main" val="3843830614"/>
                    </a:ext>
                  </a:extLst>
                </a:gridCol>
                <a:gridCol w="3047603">
                  <a:extLst>
                    <a:ext uri="{9D8B030D-6E8A-4147-A177-3AD203B41FA5}">
                      <a16:colId xmlns:a16="http://schemas.microsoft.com/office/drawing/2014/main" val="3292150729"/>
                    </a:ext>
                  </a:extLst>
                </a:gridCol>
              </a:tblGrid>
              <a:tr h="370840">
                <a:tc>
                  <a:txBody>
                    <a:bodyPr/>
                    <a:lstStyle/>
                    <a:p>
                      <a:pPr algn="ctr"/>
                      <a:r>
                        <a:rPr lang="en-US"/>
                        <a:t>Case 1</a:t>
                      </a:r>
                    </a:p>
                  </a:txBody>
                  <a:tcPr>
                    <a:solidFill>
                      <a:schemeClr val="bg2">
                        <a:lumMod val="20000"/>
                        <a:lumOff val="80000"/>
                      </a:schemeClr>
                    </a:solidFill>
                  </a:tcPr>
                </a:tc>
                <a:tc>
                  <a:txBody>
                    <a:bodyPr/>
                    <a:lstStyle/>
                    <a:p>
                      <a:pPr algn="ctr"/>
                      <a:r>
                        <a:rPr lang="en-US"/>
                        <a:t>Case 2</a:t>
                      </a:r>
                    </a:p>
                  </a:txBody>
                  <a:tcPr>
                    <a:solidFill>
                      <a:schemeClr val="bg2">
                        <a:lumMod val="20000"/>
                        <a:lumOff val="80000"/>
                      </a:schemeClr>
                    </a:solidFill>
                  </a:tcPr>
                </a:tc>
                <a:tc>
                  <a:txBody>
                    <a:bodyPr/>
                    <a:lstStyle/>
                    <a:p>
                      <a:pPr algn="ctr"/>
                      <a:r>
                        <a:rPr lang="en-US"/>
                        <a:t>Case 3</a:t>
                      </a:r>
                    </a:p>
                  </a:txBody>
                  <a:tcPr>
                    <a:solidFill>
                      <a:schemeClr val="bg2">
                        <a:lumMod val="20000"/>
                        <a:lumOff val="80000"/>
                      </a:schemeClr>
                    </a:solidFill>
                  </a:tcPr>
                </a:tc>
                <a:tc>
                  <a:txBody>
                    <a:bodyPr/>
                    <a:lstStyle/>
                    <a:p>
                      <a:pPr algn="ctr"/>
                      <a:r>
                        <a:rPr lang="en-US"/>
                        <a:t>Case 4</a:t>
                      </a:r>
                    </a:p>
                  </a:txBody>
                  <a:tcPr>
                    <a:solidFill>
                      <a:schemeClr val="bg2"/>
                    </a:solidFill>
                  </a:tcPr>
                </a:tc>
                <a:extLst>
                  <a:ext uri="{0D108BD9-81ED-4DB2-BD59-A6C34878D82A}">
                    <a16:rowId xmlns:a16="http://schemas.microsoft.com/office/drawing/2014/main" val="2152829518"/>
                  </a:ext>
                </a:extLst>
              </a:tr>
            </a:tbl>
          </a:graphicData>
        </a:graphic>
      </p:graphicFrame>
    </p:spTree>
    <p:extLst>
      <p:ext uri="{BB962C8B-B14F-4D97-AF65-F5344CB8AC3E}">
        <p14:creationId xmlns:p14="http://schemas.microsoft.com/office/powerpoint/2010/main" val="252041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Untertitel 12">
            <a:extLst>
              <a:ext uri="{FF2B5EF4-FFF2-40B4-BE49-F238E27FC236}">
                <a16:creationId xmlns:a16="http://schemas.microsoft.com/office/drawing/2014/main" id="{9583DAFA-66B1-49EB-991B-211847A6ED4C}"/>
              </a:ext>
            </a:extLst>
          </p:cNvPr>
          <p:cNvSpPr>
            <a:spLocks noGrp="1"/>
          </p:cNvSpPr>
          <p:nvPr>
            <p:ph type="subTitle" idx="1"/>
          </p:nvPr>
        </p:nvSpPr>
        <p:spPr/>
        <p:txBody>
          <a:bodyPr/>
          <a:lstStyle/>
          <a:p>
            <a:endParaRPr lang="en-US"/>
          </a:p>
        </p:txBody>
      </p:sp>
      <p:sp>
        <p:nvSpPr>
          <p:cNvPr id="2" name="Footer Placeholder 1"/>
          <p:cNvSpPr>
            <a:spLocks noGrp="1"/>
          </p:cNvSpPr>
          <p:nvPr>
            <p:ph type="ftr" sz="quarter" idx="11"/>
          </p:nvPr>
        </p:nvSpPr>
        <p:spPr/>
        <p:txBody>
          <a:bodyPr/>
          <a:lstStyle/>
          <a:p>
            <a:r>
              <a:rPr lang="en-US"/>
              <a:t>/// Advanced Analytics and Digital Transformation /// NLP session /// March 2022</a:t>
            </a:r>
          </a:p>
        </p:txBody>
      </p:sp>
      <p:sp>
        <p:nvSpPr>
          <p:cNvPr id="3" name="Slide Number Placeholder 2"/>
          <p:cNvSpPr>
            <a:spLocks noGrp="1"/>
          </p:cNvSpPr>
          <p:nvPr>
            <p:ph type="sldNum" sz="quarter" idx="12"/>
          </p:nvPr>
        </p:nvSpPr>
        <p:spPr/>
        <p:txBody>
          <a:bodyPr/>
          <a:lstStyle/>
          <a:p>
            <a:fld id="{EEAD9179-7A6B-4268-BEB2-F3B8EB06115B}" type="slidenum">
              <a:rPr lang="en-US" smtClean="0"/>
              <a:pPr/>
              <a:t>28</a:t>
            </a:fld>
            <a:endParaRPr lang="en-US"/>
          </a:p>
        </p:txBody>
      </p:sp>
      <p:sp>
        <p:nvSpPr>
          <p:cNvPr id="8" name="Titel 7"/>
          <p:cNvSpPr>
            <a:spLocks noGrp="1"/>
          </p:cNvSpPr>
          <p:nvPr>
            <p:ph type="ctrTitle"/>
          </p:nvPr>
        </p:nvSpPr>
        <p:spPr/>
        <p:txBody>
          <a:bodyPr/>
          <a:lstStyle/>
          <a:p>
            <a:r>
              <a:rPr lang="en-US"/>
              <a:t>Thank you!</a:t>
            </a:r>
          </a:p>
        </p:txBody>
      </p:sp>
      <p:sp>
        <p:nvSpPr>
          <p:cNvPr id="10" name="Textplatzhalter 9"/>
          <p:cNvSpPr>
            <a:spLocks noGrp="1"/>
          </p:cNvSpPr>
          <p:nvPr>
            <p:ph type="body" sz="quarter" idx="13"/>
          </p:nvPr>
        </p:nvSpPr>
        <p:spPr/>
        <p:txBody>
          <a:bodyPr/>
          <a:lstStyle/>
          <a:p>
            <a:r>
              <a:rPr lang="en-US"/>
              <a:t>Bye-Bye</a:t>
            </a:r>
          </a:p>
        </p:txBody>
      </p:sp>
      <p:pic>
        <p:nvPicPr>
          <p:cNvPr id="19" name="Picture Placeholder 18" descr="A picture containing hydrant&#10;&#10;Description automatically generated">
            <a:extLst>
              <a:ext uri="{FF2B5EF4-FFF2-40B4-BE49-F238E27FC236}">
                <a16:creationId xmlns:a16="http://schemas.microsoft.com/office/drawing/2014/main" id="{0B8FF130-BB5A-44E3-937F-07A79B8AEC89}"/>
              </a:ext>
            </a:extLst>
          </p:cNvPr>
          <p:cNvPicPr>
            <a:picLocks noGrp="1" noChangeAspect="1"/>
          </p:cNvPicPr>
          <p:nvPr>
            <p:ph type="pic" sz="quarter" idx="14"/>
          </p:nvPr>
        </p:nvPicPr>
        <p:blipFill>
          <a:blip r:embed="rId3"/>
          <a:srcRect l="3146" r="3146"/>
          <a:stretch>
            <a:fillRect/>
          </a:stretch>
        </p:blipFill>
        <p:spPr/>
      </p:pic>
    </p:spTree>
    <p:extLst>
      <p:ext uri="{BB962C8B-B14F-4D97-AF65-F5344CB8AC3E}">
        <p14:creationId xmlns:p14="http://schemas.microsoft.com/office/powerpoint/2010/main" val="155642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890FFB-2F18-4EA5-AC54-53C712175F36}"/>
              </a:ext>
            </a:extLst>
          </p:cNvPr>
          <p:cNvSpPr>
            <a:spLocks noGrp="1"/>
          </p:cNvSpPr>
          <p:nvPr>
            <p:ph type="title"/>
          </p:nvPr>
        </p:nvSpPr>
        <p:spPr/>
        <p:txBody>
          <a:bodyPr/>
          <a:lstStyle/>
          <a:p>
            <a:r>
              <a:rPr lang="en-US"/>
              <a:t>Hermione enables better decision making through faster retrieval of relevant medical evidence</a:t>
            </a:r>
          </a:p>
        </p:txBody>
      </p:sp>
      <p:sp>
        <p:nvSpPr>
          <p:cNvPr id="4" name="Footer Placeholder 3">
            <a:extLst>
              <a:ext uri="{FF2B5EF4-FFF2-40B4-BE49-F238E27FC236}">
                <a16:creationId xmlns:a16="http://schemas.microsoft.com/office/drawing/2014/main" id="{842BC1F1-30E3-47CB-9A5E-9CA5E0E69F20}"/>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6705A212-9D6D-4218-B4D5-27BA64DCD96D}"/>
              </a:ext>
            </a:extLst>
          </p:cNvPr>
          <p:cNvSpPr>
            <a:spLocks noGrp="1"/>
          </p:cNvSpPr>
          <p:nvPr>
            <p:ph type="sldNum" sz="quarter" idx="12"/>
          </p:nvPr>
        </p:nvSpPr>
        <p:spPr/>
        <p:txBody>
          <a:bodyPr/>
          <a:lstStyle/>
          <a:p>
            <a:fld id="{EEAD9179-7A6B-4268-BEB2-F3B8EB06115B}" type="slidenum">
              <a:rPr lang="en-US" smtClean="0"/>
              <a:pPr/>
              <a:t>29</a:t>
            </a:fld>
            <a:endParaRPr lang="en-US"/>
          </a:p>
        </p:txBody>
      </p:sp>
      <p:sp>
        <p:nvSpPr>
          <p:cNvPr id="22" name="TextBox 21">
            <a:extLst>
              <a:ext uri="{FF2B5EF4-FFF2-40B4-BE49-F238E27FC236}">
                <a16:creationId xmlns:a16="http://schemas.microsoft.com/office/drawing/2014/main" id="{F64F210A-3CA9-409F-B5BE-38E58E892911}"/>
              </a:ext>
            </a:extLst>
          </p:cNvPr>
          <p:cNvSpPr txBox="1"/>
          <p:nvPr/>
        </p:nvSpPr>
        <p:spPr bwMode="gray">
          <a:xfrm>
            <a:off x="987248" y="1488098"/>
            <a:ext cx="4968785"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Project overview </a:t>
            </a:r>
          </a:p>
        </p:txBody>
      </p:sp>
      <p:cxnSp>
        <p:nvCxnSpPr>
          <p:cNvPr id="23" name="Straight Connector 22">
            <a:extLst>
              <a:ext uri="{FF2B5EF4-FFF2-40B4-BE49-F238E27FC236}">
                <a16:creationId xmlns:a16="http://schemas.microsoft.com/office/drawing/2014/main" id="{B4905DD2-5819-4B51-922A-FFB6F53677F2}"/>
              </a:ext>
            </a:extLst>
          </p:cNvPr>
          <p:cNvCxnSpPr>
            <a:cxnSpLocks/>
          </p:cNvCxnSpPr>
          <p:nvPr/>
        </p:nvCxnSpPr>
        <p:spPr bwMode="gray">
          <a:xfrm>
            <a:off x="6326582" y="1923173"/>
            <a:ext cx="0" cy="456171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FB5D2EB-215E-415A-AFC0-1309323D6075}"/>
              </a:ext>
            </a:extLst>
          </p:cNvPr>
          <p:cNvSpPr txBox="1"/>
          <p:nvPr/>
        </p:nvSpPr>
        <p:spPr bwMode="gray">
          <a:xfrm>
            <a:off x="6596147" y="1488098"/>
            <a:ext cx="5000638"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Business benefits</a:t>
            </a:r>
          </a:p>
        </p:txBody>
      </p:sp>
      <p:cxnSp>
        <p:nvCxnSpPr>
          <p:cNvPr id="25" name="Straight Connector 24">
            <a:extLst>
              <a:ext uri="{FF2B5EF4-FFF2-40B4-BE49-F238E27FC236}">
                <a16:creationId xmlns:a16="http://schemas.microsoft.com/office/drawing/2014/main" id="{27B50151-B11C-4C05-979D-8E9B04F75EC8}"/>
              </a:ext>
            </a:extLst>
          </p:cNvPr>
          <p:cNvCxnSpPr>
            <a:cxnSpLocks/>
          </p:cNvCxnSpPr>
          <p:nvPr/>
        </p:nvCxnSpPr>
        <p:spPr bwMode="gray">
          <a:xfrm>
            <a:off x="6595512" y="1765097"/>
            <a:ext cx="500151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3A39073-D408-45AD-8648-C9249A8412E0}"/>
              </a:ext>
            </a:extLst>
          </p:cNvPr>
          <p:cNvCxnSpPr>
            <a:cxnSpLocks/>
          </p:cNvCxnSpPr>
          <p:nvPr/>
        </p:nvCxnSpPr>
        <p:spPr bwMode="gray">
          <a:xfrm>
            <a:off x="981821" y="1765097"/>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58D0C92-2B41-4B01-ACD8-BB22CA9FF23D}"/>
              </a:ext>
            </a:extLst>
          </p:cNvPr>
          <p:cNvSpPr txBox="1"/>
          <p:nvPr/>
        </p:nvSpPr>
        <p:spPr bwMode="gray">
          <a:xfrm>
            <a:off x="981821" y="1923173"/>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Challenge </a:t>
            </a:r>
            <a:endParaRPr lang="en-GB" b="1" i="1">
              <a:solidFill>
                <a:schemeClr val="accent2"/>
              </a:solidFill>
            </a:endParaRPr>
          </a:p>
        </p:txBody>
      </p:sp>
      <p:sp>
        <p:nvSpPr>
          <p:cNvPr id="29" name="TextBox 28">
            <a:extLst>
              <a:ext uri="{FF2B5EF4-FFF2-40B4-BE49-F238E27FC236}">
                <a16:creationId xmlns:a16="http://schemas.microsoft.com/office/drawing/2014/main" id="{F84F2A05-A16D-48D9-B8CE-4091AABB8EF7}"/>
              </a:ext>
            </a:extLst>
          </p:cNvPr>
          <p:cNvSpPr txBox="1"/>
          <p:nvPr/>
        </p:nvSpPr>
        <p:spPr bwMode="gray">
          <a:xfrm>
            <a:off x="6595512" y="1924965"/>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efficiency gains and insight generation</a:t>
            </a:r>
            <a:endParaRPr lang="en-GB" b="1" i="1">
              <a:solidFill>
                <a:schemeClr val="accent2"/>
              </a:solidFill>
            </a:endParaRPr>
          </a:p>
        </p:txBody>
      </p:sp>
      <p:sp>
        <p:nvSpPr>
          <p:cNvPr id="30" name="TextBox 29">
            <a:extLst>
              <a:ext uri="{FF2B5EF4-FFF2-40B4-BE49-F238E27FC236}">
                <a16:creationId xmlns:a16="http://schemas.microsoft.com/office/drawing/2014/main" id="{B5BBEB12-A7A7-4D98-8214-4F88FF54FDA9}"/>
              </a:ext>
            </a:extLst>
          </p:cNvPr>
          <p:cNvSpPr txBox="1">
            <a:spLocks/>
          </p:cNvSpPr>
          <p:nvPr/>
        </p:nvSpPr>
        <p:spPr>
          <a:xfrm>
            <a:off x="981821" y="2369511"/>
            <a:ext cx="5113382" cy="136960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400">
                <a:solidFill>
                  <a:srgbClr val="002060"/>
                </a:solidFill>
              </a:rPr>
              <a:t>The unstructured form of </a:t>
            </a:r>
            <a:r>
              <a:rPr lang="en-US" altLang="zh-CN" sz="1400">
                <a:solidFill>
                  <a:srgbClr val="002060"/>
                </a:solidFill>
              </a:rPr>
              <a:t>p</a:t>
            </a:r>
            <a:r>
              <a:rPr lang="en-US" sz="1400">
                <a:solidFill>
                  <a:srgbClr val="002060"/>
                </a:solidFill>
              </a:rPr>
              <a:t>harma scientific literature and its exponential growth significantly </a:t>
            </a:r>
          </a:p>
          <a:p>
            <a:pPr marL="171450" indent="-171450">
              <a:buFont typeface="Arial" panose="020B0604020202020204" pitchFamily="34" charset="0"/>
              <a:buChar char="•"/>
            </a:pPr>
            <a:r>
              <a:rPr lang="en-US" sz="1400">
                <a:solidFill>
                  <a:srgbClr val="002060"/>
                </a:solidFill>
              </a:rPr>
              <a:t>Currently our TA experts spend up to 30-50% their time in low value-add tasks, like search, selection and review of papers not directly relevant and cannot easily search internal observational study reports </a:t>
            </a:r>
          </a:p>
        </p:txBody>
      </p:sp>
      <p:sp>
        <p:nvSpPr>
          <p:cNvPr id="31" name="TextBox 30">
            <a:extLst>
              <a:ext uri="{FF2B5EF4-FFF2-40B4-BE49-F238E27FC236}">
                <a16:creationId xmlns:a16="http://schemas.microsoft.com/office/drawing/2014/main" id="{880150E9-D950-48C0-8E11-E49775B7138F}"/>
              </a:ext>
            </a:extLst>
          </p:cNvPr>
          <p:cNvSpPr txBox="1">
            <a:spLocks/>
          </p:cNvSpPr>
          <p:nvPr/>
        </p:nvSpPr>
        <p:spPr>
          <a:xfrm>
            <a:off x="6595512" y="2369511"/>
            <a:ext cx="5000638" cy="130805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GB" sz="1400">
                <a:solidFill>
                  <a:srgbClr val="002060"/>
                </a:solidFill>
              </a:rPr>
              <a:t>Can be repeatedly used and leveraged across org</a:t>
            </a:r>
          </a:p>
          <a:p>
            <a:pPr marL="285750" indent="-285750">
              <a:buFont typeface="Arial" panose="020B0604020202020204" pitchFamily="34" charset="0"/>
              <a:buChar char="•"/>
            </a:pPr>
            <a:r>
              <a:rPr lang="en-GB" sz="1400">
                <a:solidFill>
                  <a:srgbClr val="002060"/>
                </a:solidFill>
              </a:rPr>
              <a:t>Easier and easier to mobilise and deliver impact </a:t>
            </a:r>
          </a:p>
          <a:p>
            <a:pPr marL="285750" indent="-285750">
              <a:buFont typeface="Arial" panose="020B0604020202020204" pitchFamily="34" charset="0"/>
              <a:buChar char="•"/>
            </a:pPr>
            <a:r>
              <a:rPr lang="en-GB" sz="1400">
                <a:solidFill>
                  <a:srgbClr val="002060"/>
                </a:solidFill>
              </a:rPr>
              <a:t>Improvement of capabilities as experience increases</a:t>
            </a:r>
          </a:p>
          <a:p>
            <a:pPr marL="285750" indent="-285750">
              <a:buFont typeface="Arial" panose="020B0604020202020204" pitchFamily="34" charset="0"/>
              <a:buChar char="•"/>
            </a:pPr>
            <a:r>
              <a:rPr lang="en-GB" sz="1400">
                <a:solidFill>
                  <a:srgbClr val="002060"/>
                </a:solidFill>
              </a:rPr>
              <a:t>Focus on delivering high momentum and pace as well as cost effective</a:t>
            </a:r>
            <a:endParaRPr lang="en-US" sz="1400">
              <a:solidFill>
                <a:srgbClr val="002060"/>
              </a:solidFill>
            </a:endParaRPr>
          </a:p>
        </p:txBody>
      </p:sp>
      <p:sp>
        <p:nvSpPr>
          <p:cNvPr id="19" name="TextBox 18">
            <a:extLst>
              <a:ext uri="{FF2B5EF4-FFF2-40B4-BE49-F238E27FC236}">
                <a16:creationId xmlns:a16="http://schemas.microsoft.com/office/drawing/2014/main" id="{3EDD6993-48A1-4552-BA05-B72C22A720BD}"/>
              </a:ext>
            </a:extLst>
          </p:cNvPr>
          <p:cNvSpPr txBox="1"/>
          <p:nvPr/>
        </p:nvSpPr>
        <p:spPr bwMode="gray">
          <a:xfrm>
            <a:off x="1029731" y="3868172"/>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Solution </a:t>
            </a:r>
            <a:endParaRPr lang="en-GB" b="1" i="1">
              <a:solidFill>
                <a:schemeClr val="accent2"/>
              </a:solidFill>
            </a:endParaRPr>
          </a:p>
        </p:txBody>
      </p:sp>
      <p:sp>
        <p:nvSpPr>
          <p:cNvPr id="20" name="TextBox 19">
            <a:extLst>
              <a:ext uri="{FF2B5EF4-FFF2-40B4-BE49-F238E27FC236}">
                <a16:creationId xmlns:a16="http://schemas.microsoft.com/office/drawing/2014/main" id="{AD06BBC1-A14A-46F8-BE29-E4679B12662E}"/>
              </a:ext>
            </a:extLst>
          </p:cNvPr>
          <p:cNvSpPr txBox="1">
            <a:spLocks/>
          </p:cNvSpPr>
          <p:nvPr/>
        </p:nvSpPr>
        <p:spPr>
          <a:xfrm>
            <a:off x="1005776" y="4252892"/>
            <a:ext cx="5113382" cy="238526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US" sz="1400">
                <a:solidFill>
                  <a:srgbClr val="002060"/>
                </a:solidFill>
              </a:rPr>
              <a:t>Hermione increases the speed and effectiveness of decision-making for our TA experts by:</a:t>
            </a:r>
          </a:p>
          <a:p>
            <a:pPr marL="171450" lvl="1" indent="-171450">
              <a:spcBef>
                <a:spcPts val="300"/>
              </a:spcBef>
              <a:buFont typeface="Arial" panose="020B0604020202020204" pitchFamily="34" charset="0"/>
              <a:buChar char="•"/>
            </a:pPr>
            <a:r>
              <a:rPr lang="en-US" sz="1400">
                <a:solidFill>
                  <a:srgbClr val="002060"/>
                </a:solidFill>
              </a:rPr>
              <a:t>leveraging existing infrastructure (e.g. Hubble) and offering additional medical search criteria not available on standard search platforms (Google Scholar, Microsoft Academic, </a:t>
            </a:r>
            <a:r>
              <a:rPr lang="en-US" sz="1400" err="1">
                <a:solidFill>
                  <a:srgbClr val="002060"/>
                </a:solidFill>
              </a:rPr>
              <a:t>Pubmed</a:t>
            </a:r>
            <a:r>
              <a:rPr lang="en-US" sz="1400">
                <a:solidFill>
                  <a:srgbClr val="002060"/>
                </a:solidFill>
              </a:rPr>
              <a:t>, etc.) to retrieve quickly a limited amount of relevant biomedical scientific literature</a:t>
            </a:r>
          </a:p>
          <a:p>
            <a:pPr marL="171450" lvl="1" indent="-171450">
              <a:spcBef>
                <a:spcPts val="300"/>
              </a:spcBef>
              <a:buFont typeface="Arial" panose="020B0604020202020204" pitchFamily="34" charset="0"/>
              <a:buChar char="•"/>
            </a:pPr>
            <a:r>
              <a:rPr lang="en-US" sz="1400">
                <a:solidFill>
                  <a:srgbClr val="002060"/>
                </a:solidFill>
              </a:rPr>
              <a:t>extending the breadth of research simultaneously to internal data sources (observational study reports @ShareDoc)</a:t>
            </a:r>
          </a:p>
          <a:p>
            <a:pPr marL="171450" indent="-171450">
              <a:buFont typeface="Arial" panose="020B0604020202020204" pitchFamily="34" charset="0"/>
              <a:buChar char="•"/>
            </a:pPr>
            <a:endParaRPr lang="en-GB" sz="1400">
              <a:solidFill>
                <a:srgbClr val="002060"/>
              </a:solidFill>
            </a:endParaRPr>
          </a:p>
        </p:txBody>
      </p:sp>
      <p:sp>
        <p:nvSpPr>
          <p:cNvPr id="21" name="Rectangle 5">
            <a:extLst>
              <a:ext uri="{FF2B5EF4-FFF2-40B4-BE49-F238E27FC236}">
                <a16:creationId xmlns:a16="http://schemas.microsoft.com/office/drawing/2014/main" id="{694789BC-78E7-4089-9186-A5D567786AB1}"/>
              </a:ext>
            </a:extLst>
          </p:cNvPr>
          <p:cNvSpPr/>
          <p:nvPr/>
        </p:nvSpPr>
        <p:spPr bwMode="gray">
          <a:xfrm>
            <a:off x="1089434" y="4558731"/>
            <a:ext cx="2136888" cy="934385"/>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DE" sz="1800" b="0" i="0" u="none" baseline="0">
                <a:solidFill>
                  <a:srgbClr val="FFFFFF"/>
                </a:solidFill>
                <a:latin typeface="Arial" panose="020B0604020202020204" pitchFamily="34" charset="0"/>
              </a:rPr>
              <a:t>Don’t make me search, help me find</a:t>
            </a:r>
          </a:p>
        </p:txBody>
      </p:sp>
      <p:sp>
        <p:nvSpPr>
          <p:cNvPr id="33" name="Rectangle 8">
            <a:extLst>
              <a:ext uri="{FF2B5EF4-FFF2-40B4-BE49-F238E27FC236}">
                <a16:creationId xmlns:a16="http://schemas.microsoft.com/office/drawing/2014/main" id="{51057996-F15A-49FD-9522-BCC5291B2748}"/>
              </a:ext>
            </a:extLst>
          </p:cNvPr>
          <p:cNvSpPr/>
          <p:nvPr/>
        </p:nvSpPr>
        <p:spPr bwMode="gray">
          <a:xfrm>
            <a:off x="3452596" y="4548856"/>
            <a:ext cx="2594697" cy="934385"/>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Don’t make me read, extract/summarize takeaways for me</a:t>
            </a:r>
          </a:p>
        </p:txBody>
      </p:sp>
      <p:sp>
        <p:nvSpPr>
          <p:cNvPr id="34" name="TextBox 33">
            <a:extLst>
              <a:ext uri="{FF2B5EF4-FFF2-40B4-BE49-F238E27FC236}">
                <a16:creationId xmlns:a16="http://schemas.microsoft.com/office/drawing/2014/main" id="{D297EA69-F4AE-4F52-81F4-0C66BE7497B0}"/>
              </a:ext>
            </a:extLst>
          </p:cNvPr>
          <p:cNvSpPr txBox="1">
            <a:spLocks/>
          </p:cNvSpPr>
          <p:nvPr/>
        </p:nvSpPr>
        <p:spPr>
          <a:xfrm>
            <a:off x="6627929" y="4309574"/>
            <a:ext cx="5000638" cy="189282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a:solidFill>
                  <a:srgbClr val="002060"/>
                </a:solidFill>
              </a:rPr>
              <a:t>What is the incidence of &lt;disease X&gt; in &lt;population&gt;?</a:t>
            </a:r>
          </a:p>
          <a:p>
            <a:pPr marL="285750" indent="-285750">
              <a:buFont typeface="Arial" panose="020B0604020202020204" pitchFamily="34" charset="0"/>
              <a:buChar char="•"/>
            </a:pPr>
            <a:r>
              <a:rPr lang="en-US" sz="1400">
                <a:solidFill>
                  <a:srgbClr val="002060"/>
                </a:solidFill>
              </a:rPr>
              <a:t>What's prevalence of &lt;disease X&gt; in &lt;population&gt; // by geography, gender, age?” </a:t>
            </a:r>
          </a:p>
          <a:p>
            <a:pPr marL="285750" indent="-285750">
              <a:buFont typeface="Arial" panose="020B0604020202020204" pitchFamily="34" charset="0"/>
              <a:buChar char="•"/>
            </a:pPr>
            <a:r>
              <a:rPr lang="en-US" sz="1400">
                <a:solidFill>
                  <a:srgbClr val="002060"/>
                </a:solidFill>
              </a:rPr>
              <a:t>What study did we conduct on &lt;indication&gt;?</a:t>
            </a:r>
          </a:p>
          <a:p>
            <a:pPr marL="285750" indent="-285750">
              <a:buFont typeface="Arial" panose="020B0604020202020204" pitchFamily="34" charset="0"/>
              <a:buChar char="•"/>
            </a:pPr>
            <a:r>
              <a:rPr lang="en-US" sz="1400">
                <a:solidFill>
                  <a:srgbClr val="002060"/>
                </a:solidFill>
              </a:rPr>
              <a:t>What are symptoms of &lt;disease x&gt;?</a:t>
            </a:r>
          </a:p>
          <a:p>
            <a:pPr marL="285750" indent="-285750">
              <a:buFont typeface="Arial" panose="020B0604020202020204" pitchFamily="34" charset="0"/>
              <a:buChar char="•"/>
            </a:pPr>
            <a:r>
              <a:rPr lang="en-US" sz="1400">
                <a:solidFill>
                  <a:srgbClr val="002060"/>
                </a:solidFill>
              </a:rPr>
              <a:t>Is &lt;drug X&gt; more effective than &lt;drug X&gt; on &lt;population&gt;?</a:t>
            </a:r>
          </a:p>
          <a:p>
            <a:pPr marL="285750" indent="-285750">
              <a:buFont typeface="Arial" panose="020B0604020202020204" pitchFamily="34" charset="0"/>
              <a:buChar char="•"/>
            </a:pPr>
            <a:r>
              <a:rPr lang="en-US" sz="1400">
                <a:solidFill>
                  <a:srgbClr val="002060"/>
                </a:solidFill>
              </a:rPr>
              <a:t>Is &lt;disease x&gt; rare?</a:t>
            </a:r>
          </a:p>
        </p:txBody>
      </p:sp>
      <p:sp>
        <p:nvSpPr>
          <p:cNvPr id="35" name="TextBox 34">
            <a:extLst>
              <a:ext uri="{FF2B5EF4-FFF2-40B4-BE49-F238E27FC236}">
                <a16:creationId xmlns:a16="http://schemas.microsoft.com/office/drawing/2014/main" id="{439F3654-7E1B-4DA1-B4B5-FC41063151A5}"/>
              </a:ext>
            </a:extLst>
          </p:cNvPr>
          <p:cNvSpPr txBox="1"/>
          <p:nvPr/>
        </p:nvSpPr>
        <p:spPr bwMode="gray">
          <a:xfrm>
            <a:off x="6605872" y="3894041"/>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examples </a:t>
            </a:r>
            <a:endParaRPr lang="en-GB" b="1" i="1">
              <a:solidFill>
                <a:schemeClr val="accent2"/>
              </a:solidFill>
            </a:endParaRPr>
          </a:p>
        </p:txBody>
      </p:sp>
    </p:spTree>
    <p:extLst>
      <p:ext uri="{BB962C8B-B14F-4D97-AF65-F5344CB8AC3E}">
        <p14:creationId xmlns:p14="http://schemas.microsoft.com/office/powerpoint/2010/main" val="4049348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ppt_x"/>
                                          </p:val>
                                        </p:tav>
                                        <p:tav tm="100000">
                                          <p:val>
                                            <p:strVal val="#ppt_x"/>
                                          </p:val>
                                        </p:tav>
                                      </p:tavLst>
                                    </p:anim>
                                    <p:anim calcmode="lin" valueType="num">
                                      <p:cBhvr additive="base">
                                        <p:cTn id="8" dur="500" fill="hold"/>
                                        <p:tgtEl>
                                          <p:spTgt spid="2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3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6A48C11-C42F-4314-93AF-69A7F56A0DDD}"/>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BAA740AD-1D82-42B7-A5A7-8D70AE2E9AFD}"/>
              </a:ext>
            </a:extLst>
          </p:cNvPr>
          <p:cNvSpPr>
            <a:spLocks noGrp="1"/>
          </p:cNvSpPr>
          <p:nvPr>
            <p:ph type="sldNum" sz="quarter" idx="12"/>
          </p:nvPr>
        </p:nvSpPr>
        <p:spPr/>
        <p:txBody>
          <a:bodyPr/>
          <a:lstStyle/>
          <a:p>
            <a:fld id="{EEAD9179-7A6B-4268-BEB2-F3B8EB06115B}" type="slidenum">
              <a:rPr lang="en-US" smtClean="0"/>
              <a:pPr/>
              <a:t>3</a:t>
            </a:fld>
            <a:endParaRPr lang="en-US"/>
          </a:p>
        </p:txBody>
      </p:sp>
      <p:pic>
        <p:nvPicPr>
          <p:cNvPr id="9" name="Picture 8">
            <a:extLst>
              <a:ext uri="{FF2B5EF4-FFF2-40B4-BE49-F238E27FC236}">
                <a16:creationId xmlns:a16="http://schemas.microsoft.com/office/drawing/2014/main" id="{44C7C7CB-58D8-4174-9213-D87A42D0F016}"/>
              </a:ext>
            </a:extLst>
          </p:cNvPr>
          <p:cNvPicPr>
            <a:picLocks noChangeAspect="1"/>
          </p:cNvPicPr>
          <p:nvPr/>
        </p:nvPicPr>
        <p:blipFill rotWithShape="1">
          <a:blip r:embed="rId3"/>
          <a:srcRect l="31239"/>
          <a:stretch/>
        </p:blipFill>
        <p:spPr>
          <a:xfrm>
            <a:off x="830417" y="1926357"/>
            <a:ext cx="7270953" cy="4544059"/>
          </a:xfrm>
          <a:prstGeom prst="rect">
            <a:avLst/>
          </a:prstGeom>
        </p:spPr>
      </p:pic>
      <p:grpSp>
        <p:nvGrpSpPr>
          <p:cNvPr id="6" name="Group 5">
            <a:extLst>
              <a:ext uri="{FF2B5EF4-FFF2-40B4-BE49-F238E27FC236}">
                <a16:creationId xmlns:a16="http://schemas.microsoft.com/office/drawing/2014/main" id="{144AE72E-BA0E-4A98-B2E8-D43845E076EF}"/>
              </a:ext>
            </a:extLst>
          </p:cNvPr>
          <p:cNvGrpSpPr/>
          <p:nvPr/>
        </p:nvGrpSpPr>
        <p:grpSpPr>
          <a:xfrm>
            <a:off x="325463" y="2476314"/>
            <a:ext cx="3108960" cy="970671"/>
            <a:chOff x="3215537" y="2379786"/>
            <a:chExt cx="3108960" cy="970671"/>
          </a:xfrm>
        </p:grpSpPr>
        <p:sp>
          <p:nvSpPr>
            <p:cNvPr id="10" name="Oval 9">
              <a:extLst>
                <a:ext uri="{FF2B5EF4-FFF2-40B4-BE49-F238E27FC236}">
                  <a16:creationId xmlns:a16="http://schemas.microsoft.com/office/drawing/2014/main" id="{93531C5A-5B04-4FCB-84E3-F509BDB27C26}"/>
                </a:ext>
              </a:extLst>
            </p:cNvPr>
            <p:cNvSpPr/>
            <p:nvPr/>
          </p:nvSpPr>
          <p:spPr bwMode="gray">
            <a:xfrm>
              <a:off x="3215537" y="2379786"/>
              <a:ext cx="3108960" cy="970671"/>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39730A0-F376-4C4C-B602-1EB2F95170AE}"/>
                </a:ext>
              </a:extLst>
            </p:cNvPr>
            <p:cNvSpPr txBox="1"/>
            <p:nvPr/>
          </p:nvSpPr>
          <p:spPr bwMode="gray">
            <a:xfrm>
              <a:off x="3932987" y="2549931"/>
              <a:ext cx="2226064" cy="659849"/>
            </a:xfrm>
            <a:prstGeom prst="rect">
              <a:avLst/>
            </a:prstGeom>
            <a:noFill/>
          </p:spPr>
          <p:txBody>
            <a:bodyPr wrap="square" lIns="0" tIns="0" rIns="0" bIns="0" rtlCol="0">
              <a:noAutofit/>
            </a:bodyPr>
            <a:lstStyle/>
            <a:p>
              <a:r>
                <a:rPr lang="en-US" sz="2400" b="1">
                  <a:solidFill>
                    <a:schemeClr val="tx2"/>
                  </a:solidFill>
                </a:rPr>
                <a:t>Unstructured data 80%</a:t>
              </a:r>
            </a:p>
            <a:p>
              <a:endParaRPr lang="en-US" sz="2400" b="1">
                <a:solidFill>
                  <a:schemeClr val="tx2"/>
                </a:solidFill>
              </a:endParaRPr>
            </a:p>
          </p:txBody>
        </p:sp>
      </p:grpSp>
      <p:pic>
        <p:nvPicPr>
          <p:cNvPr id="16" name="Picture 2" descr="brown fountain pen on notebook">
            <a:extLst>
              <a:ext uri="{FF2B5EF4-FFF2-40B4-BE49-F238E27FC236}">
                <a16:creationId xmlns:a16="http://schemas.microsoft.com/office/drawing/2014/main" id="{264FF98A-D069-4227-8E39-33FA2E50DDF8}"/>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596417" y="0"/>
            <a:ext cx="4593996"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Gleichschenkliges Dreieck 7">
            <a:extLst>
              <a:ext uri="{FF2B5EF4-FFF2-40B4-BE49-F238E27FC236}">
                <a16:creationId xmlns:a16="http://schemas.microsoft.com/office/drawing/2014/main" id="{33F0DB7F-0450-4243-B792-D280DF78FC3D}"/>
              </a:ext>
            </a:extLst>
          </p:cNvPr>
          <p:cNvSpPr/>
          <p:nvPr/>
        </p:nvSpPr>
        <p:spPr bwMode="gray">
          <a:xfrm rot="10800000">
            <a:off x="7596417" y="0"/>
            <a:ext cx="1800199" cy="6858000"/>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itle 2">
            <a:extLst>
              <a:ext uri="{FF2B5EF4-FFF2-40B4-BE49-F238E27FC236}">
                <a16:creationId xmlns:a16="http://schemas.microsoft.com/office/drawing/2014/main" id="{E68643CC-2A54-4041-A047-937C1A349DFA}"/>
              </a:ext>
            </a:extLst>
          </p:cNvPr>
          <p:cNvSpPr>
            <a:spLocks noGrp="1"/>
          </p:cNvSpPr>
          <p:nvPr>
            <p:ph type="title"/>
          </p:nvPr>
        </p:nvSpPr>
        <p:spPr>
          <a:xfrm>
            <a:off x="895966" y="405502"/>
            <a:ext cx="8069189" cy="1484897"/>
          </a:xfrm>
        </p:spPr>
        <p:txBody>
          <a:bodyPr/>
          <a:lstStyle/>
          <a:p>
            <a:r>
              <a:rPr lang="en-US" b="1"/>
              <a:t>Growth of healthcare data provides a wealth of information, of which unstructured data counts for dominant share up to 80%.</a:t>
            </a:r>
          </a:p>
        </p:txBody>
      </p:sp>
      <p:sp>
        <p:nvSpPr>
          <p:cNvPr id="18" name="TextBox 17">
            <a:extLst>
              <a:ext uri="{FF2B5EF4-FFF2-40B4-BE49-F238E27FC236}">
                <a16:creationId xmlns:a16="http://schemas.microsoft.com/office/drawing/2014/main" id="{F8303BB9-C842-4089-85D2-4C63A70EA6FF}"/>
              </a:ext>
            </a:extLst>
          </p:cNvPr>
          <p:cNvSpPr txBox="1"/>
          <p:nvPr/>
        </p:nvSpPr>
        <p:spPr bwMode="gray">
          <a:xfrm>
            <a:off x="8101370" y="4722870"/>
            <a:ext cx="2083262" cy="1352466"/>
          </a:xfrm>
          <a:prstGeom prst="rect">
            <a:avLst/>
          </a:prstGeom>
          <a:noFill/>
        </p:spPr>
        <p:txBody>
          <a:bodyPr wrap="square" lIns="0" tIns="0" rIns="0" bIns="0" rtlCol="0">
            <a:noAutofit/>
          </a:bodyPr>
          <a:lstStyle/>
          <a:p>
            <a:r>
              <a:rPr lang="en-US" sz="1600"/>
              <a:t>Global demand for data storage ~33,000 Zettabytes*, of which healthcare data is </a:t>
            </a:r>
            <a:r>
              <a:rPr lang="en-US" sz="2800" b="1">
                <a:solidFill>
                  <a:schemeClr val="accent2"/>
                </a:solidFill>
              </a:rPr>
              <a:t>8%</a:t>
            </a:r>
            <a:endParaRPr lang="en-US" sz="2800"/>
          </a:p>
        </p:txBody>
      </p:sp>
      <p:sp>
        <p:nvSpPr>
          <p:cNvPr id="19" name="TextBox 18">
            <a:extLst>
              <a:ext uri="{FF2B5EF4-FFF2-40B4-BE49-F238E27FC236}">
                <a16:creationId xmlns:a16="http://schemas.microsoft.com/office/drawing/2014/main" id="{E94898B7-5019-4061-8E83-3CC90CF04A2E}"/>
              </a:ext>
            </a:extLst>
          </p:cNvPr>
          <p:cNvSpPr txBox="1"/>
          <p:nvPr/>
        </p:nvSpPr>
        <p:spPr bwMode="gray">
          <a:xfrm>
            <a:off x="10287423" y="4524455"/>
            <a:ext cx="1800199" cy="1352466"/>
          </a:xfrm>
          <a:prstGeom prst="rect">
            <a:avLst/>
          </a:prstGeom>
          <a:noFill/>
        </p:spPr>
        <p:txBody>
          <a:bodyPr wrap="square" lIns="0" tIns="0" rIns="0" bIns="0" rtlCol="0">
            <a:noAutofit/>
          </a:bodyPr>
          <a:lstStyle/>
          <a:p>
            <a:endParaRPr lang="en-US" sz="1600"/>
          </a:p>
          <a:p>
            <a:r>
              <a:rPr lang="en-US" sz="1600"/>
              <a:t>CAGR (2018-2025)</a:t>
            </a:r>
          </a:p>
          <a:p>
            <a:r>
              <a:rPr lang="en-US" sz="1600"/>
              <a:t>Healthcare </a:t>
            </a:r>
            <a:r>
              <a:rPr lang="en-US" sz="2800" b="1">
                <a:solidFill>
                  <a:schemeClr val="accent2"/>
                </a:solidFill>
              </a:rPr>
              <a:t>40%</a:t>
            </a:r>
            <a:endParaRPr lang="en-US" sz="1600" b="1">
              <a:solidFill>
                <a:schemeClr val="accent2"/>
              </a:solidFill>
            </a:endParaRPr>
          </a:p>
          <a:p>
            <a:r>
              <a:rPr lang="en-US" sz="1600"/>
              <a:t>Non-healthcare 20%</a:t>
            </a:r>
          </a:p>
          <a:p>
            <a:endParaRPr lang="en-US" sz="1600"/>
          </a:p>
        </p:txBody>
      </p:sp>
      <p:cxnSp>
        <p:nvCxnSpPr>
          <p:cNvPr id="8" name="Straight Connector 7">
            <a:extLst>
              <a:ext uri="{FF2B5EF4-FFF2-40B4-BE49-F238E27FC236}">
                <a16:creationId xmlns:a16="http://schemas.microsoft.com/office/drawing/2014/main" id="{4CD99BD8-09B8-49CD-B2B0-092B43AD57C8}"/>
              </a:ext>
            </a:extLst>
          </p:cNvPr>
          <p:cNvCxnSpPr/>
          <p:nvPr/>
        </p:nvCxnSpPr>
        <p:spPr bwMode="gray">
          <a:xfrm>
            <a:off x="10184632" y="4722870"/>
            <a:ext cx="0" cy="155448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969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8FBD345-8D1A-43C0-A73D-1614423CEA68}"/>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F12BB4A3-22AE-4D3B-9281-4BC5396C5EAE}"/>
              </a:ext>
            </a:extLst>
          </p:cNvPr>
          <p:cNvSpPr>
            <a:spLocks noGrp="1"/>
          </p:cNvSpPr>
          <p:nvPr>
            <p:ph type="sldNum" sz="quarter" idx="12"/>
          </p:nvPr>
        </p:nvSpPr>
        <p:spPr/>
        <p:txBody>
          <a:bodyPr/>
          <a:lstStyle/>
          <a:p>
            <a:fld id="{EEAD9179-7A6B-4268-BEB2-F3B8EB06115B}" type="slidenum">
              <a:rPr lang="en-US" smtClean="0"/>
              <a:pPr/>
              <a:t>30</a:t>
            </a:fld>
            <a:endParaRPr lang="en-US"/>
          </a:p>
        </p:txBody>
      </p:sp>
      <p:pic>
        <p:nvPicPr>
          <p:cNvPr id="8" name="内容占位符 6">
            <a:extLst>
              <a:ext uri="{FF2B5EF4-FFF2-40B4-BE49-F238E27FC236}">
                <a16:creationId xmlns:a16="http://schemas.microsoft.com/office/drawing/2014/main" id="{27E48359-9148-44BF-B73F-794406C9789D}"/>
              </a:ext>
            </a:extLst>
          </p:cNvPr>
          <p:cNvPicPr>
            <a:picLocks noChangeAspect="1"/>
          </p:cNvPicPr>
          <p:nvPr/>
        </p:nvPicPr>
        <p:blipFill rotWithShape="1">
          <a:blip r:embed="rId3">
            <a:extLst>
              <a:ext uri="{28A0092B-C50C-407E-A947-70E740481C1C}">
                <a14:useLocalDpi xmlns:a14="http://schemas.microsoft.com/office/drawing/2010/main" val="0"/>
              </a:ext>
            </a:extLst>
          </a:blip>
          <a:srcRect b="8746"/>
          <a:stretch/>
        </p:blipFill>
        <p:spPr>
          <a:xfrm>
            <a:off x="357739" y="2103386"/>
            <a:ext cx="7491342" cy="3813442"/>
          </a:xfrm>
          <a:prstGeom prst="rect">
            <a:avLst/>
          </a:prstGeom>
        </p:spPr>
      </p:pic>
      <p:sp>
        <p:nvSpPr>
          <p:cNvPr id="9" name="Rectangle: Rounded Corners 8">
            <a:extLst>
              <a:ext uri="{FF2B5EF4-FFF2-40B4-BE49-F238E27FC236}">
                <a16:creationId xmlns:a16="http://schemas.microsoft.com/office/drawing/2014/main" id="{FC3250DB-E7A3-41CC-9287-9F90AA46B8A4}"/>
              </a:ext>
            </a:extLst>
          </p:cNvPr>
          <p:cNvSpPr/>
          <p:nvPr/>
        </p:nvSpPr>
        <p:spPr bwMode="gray">
          <a:xfrm>
            <a:off x="522302" y="5005952"/>
            <a:ext cx="7162216" cy="523536"/>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tx2"/>
                </a:solidFill>
              </a:rPr>
              <a:t>Nature Language Processing </a:t>
            </a:r>
          </a:p>
        </p:txBody>
      </p:sp>
      <p:sp>
        <p:nvSpPr>
          <p:cNvPr id="3" name="Title 2">
            <a:extLst>
              <a:ext uri="{FF2B5EF4-FFF2-40B4-BE49-F238E27FC236}">
                <a16:creationId xmlns:a16="http://schemas.microsoft.com/office/drawing/2014/main" id="{EBCAFA83-73D8-4B00-BD19-8A0283E21352}"/>
              </a:ext>
            </a:extLst>
          </p:cNvPr>
          <p:cNvSpPr>
            <a:spLocks noGrp="1"/>
          </p:cNvSpPr>
          <p:nvPr>
            <p:ph type="title"/>
          </p:nvPr>
        </p:nvSpPr>
        <p:spPr>
          <a:xfrm>
            <a:off x="830018" y="1050630"/>
            <a:ext cx="8640000" cy="864000"/>
          </a:xfrm>
        </p:spPr>
        <p:txBody>
          <a:bodyPr/>
          <a:lstStyle/>
          <a:p>
            <a:r>
              <a:rPr lang="en-US" sz="2800" b="1"/>
              <a:t>AI related advanced analytics accelerate business digitalization, with unparalleled computing power, rich data and advanced algorithm</a:t>
            </a:r>
            <a:endParaRPr lang="en-US" b="1"/>
          </a:p>
        </p:txBody>
      </p:sp>
      <p:sp>
        <p:nvSpPr>
          <p:cNvPr id="15" name="Gleichschenkliges Dreieck 3">
            <a:extLst>
              <a:ext uri="{FF2B5EF4-FFF2-40B4-BE49-F238E27FC236}">
                <a16:creationId xmlns:a16="http://schemas.microsoft.com/office/drawing/2014/main" id="{DFD140AA-A4EA-48D7-B1A1-5F850830C383}"/>
              </a:ext>
            </a:extLst>
          </p:cNvPr>
          <p:cNvSpPr/>
          <p:nvPr/>
        </p:nvSpPr>
        <p:spPr bwMode="gray">
          <a:xfrm>
            <a:off x="8183438" y="0"/>
            <a:ext cx="1280087" cy="6858000"/>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5">
            <a:extLst>
              <a:ext uri="{FF2B5EF4-FFF2-40B4-BE49-F238E27FC236}">
                <a16:creationId xmlns:a16="http://schemas.microsoft.com/office/drawing/2014/main" id="{65538380-1219-4DED-B0EB-FAD047FB633D}"/>
              </a:ext>
            </a:extLst>
          </p:cNvPr>
          <p:cNvSpPr/>
          <p:nvPr/>
        </p:nvSpPr>
        <p:spPr bwMode="gray">
          <a:xfrm>
            <a:off x="9463525" y="0"/>
            <a:ext cx="272688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Box 13">
            <a:extLst>
              <a:ext uri="{FF2B5EF4-FFF2-40B4-BE49-F238E27FC236}">
                <a16:creationId xmlns:a16="http://schemas.microsoft.com/office/drawing/2014/main" id="{6EE1254B-0E6F-4757-8C7D-6AB7D7B112E9}"/>
              </a:ext>
            </a:extLst>
          </p:cNvPr>
          <p:cNvSpPr txBox="1"/>
          <p:nvPr/>
        </p:nvSpPr>
        <p:spPr bwMode="gray">
          <a:xfrm>
            <a:off x="9062235" y="3128059"/>
            <a:ext cx="3037437" cy="3139321"/>
          </a:xfrm>
          <a:prstGeom prst="rect">
            <a:avLst/>
          </a:prstGeom>
          <a:noFill/>
        </p:spPr>
        <p:txBody>
          <a:bodyPr wrap="square">
            <a:spAutoFit/>
          </a:bodyPr>
          <a:lstStyle/>
          <a:p>
            <a:r>
              <a:rPr lang="en-US" b="1">
                <a:solidFill>
                  <a:schemeClr val="bg1"/>
                </a:solidFill>
              </a:rPr>
              <a:t>Natural language processing</a:t>
            </a:r>
            <a:r>
              <a:rPr lang="en-US">
                <a:solidFill>
                  <a:schemeClr val="bg1"/>
                </a:solidFill>
              </a:rPr>
              <a:t> (NLP) refers to the branch of computer science—and more specifically, the branch of artificial intelligence or AI—concerned with giving computers the ability to understand text and spoken words in much the same way human beings can.</a:t>
            </a:r>
          </a:p>
        </p:txBody>
      </p:sp>
      <p:pic>
        <p:nvPicPr>
          <p:cNvPr id="18" name="Picture 17" descr="Icon&#10;&#10;Description automatically generated">
            <a:extLst>
              <a:ext uri="{FF2B5EF4-FFF2-40B4-BE49-F238E27FC236}">
                <a16:creationId xmlns:a16="http://schemas.microsoft.com/office/drawing/2014/main" id="{6D5228F7-2CC1-424A-990B-416EC150C444}"/>
              </a:ext>
            </a:extLst>
          </p:cNvPr>
          <p:cNvPicPr>
            <a:picLocks noChangeAspect="1"/>
          </p:cNvPicPr>
          <p:nvPr/>
        </p:nvPicPr>
        <p:blipFill>
          <a:blip r:embed="rId4"/>
          <a:stretch>
            <a:fillRect/>
          </a:stretch>
        </p:blipFill>
        <p:spPr>
          <a:xfrm>
            <a:off x="9254605" y="382511"/>
            <a:ext cx="2570272" cy="2570272"/>
          </a:xfrm>
          <a:prstGeom prst="rect">
            <a:avLst/>
          </a:prstGeom>
        </p:spPr>
      </p:pic>
      <p:sp>
        <p:nvSpPr>
          <p:cNvPr id="11" name="TextBox 10">
            <a:extLst>
              <a:ext uri="{FF2B5EF4-FFF2-40B4-BE49-F238E27FC236}">
                <a16:creationId xmlns:a16="http://schemas.microsoft.com/office/drawing/2014/main" id="{9C7D521D-68AF-4454-8B85-2BB0EE6A56B1}"/>
              </a:ext>
            </a:extLst>
          </p:cNvPr>
          <p:cNvSpPr txBox="1"/>
          <p:nvPr/>
        </p:nvSpPr>
        <p:spPr bwMode="gray">
          <a:xfrm>
            <a:off x="3869850" y="2933913"/>
            <a:ext cx="3584782" cy="369332"/>
          </a:xfrm>
          <a:prstGeom prst="rect">
            <a:avLst/>
          </a:prstGeom>
          <a:noFill/>
        </p:spPr>
        <p:txBody>
          <a:bodyPr wrap="square">
            <a:spAutoFit/>
          </a:bodyPr>
          <a:lstStyle/>
          <a:p>
            <a:pPr rtl="0" eaLnBrk="1" fontAlgn="auto" hangingPunct="1">
              <a:lnSpc>
                <a:spcPct val="100000"/>
              </a:lnSpc>
              <a:spcBef>
                <a:spcPts val="0"/>
              </a:spcBef>
              <a:spcAft>
                <a:spcPts val="0"/>
              </a:spcAft>
            </a:pPr>
            <a:r>
              <a:rPr lang="en-US" b="1">
                <a:solidFill>
                  <a:schemeClr val="bg1"/>
                </a:solidFill>
                <a:latin typeface="Arial" panose="020B0604020202020204" pitchFamily="34" charset="0"/>
              </a:rPr>
              <a:t>Hashing power </a:t>
            </a:r>
            <a:r>
              <a:rPr lang="en-US" sz="1600" b="1">
                <a:solidFill>
                  <a:schemeClr val="bg1"/>
                </a:solidFill>
                <a:latin typeface="Arial" panose="020B0604020202020204" pitchFamily="34" charset="0"/>
              </a:rPr>
              <a:t>CPU and GPU</a:t>
            </a:r>
          </a:p>
        </p:txBody>
      </p:sp>
    </p:spTree>
    <p:extLst>
      <p:ext uri="{BB962C8B-B14F-4D97-AF65-F5344CB8AC3E}">
        <p14:creationId xmlns:p14="http://schemas.microsoft.com/office/powerpoint/2010/main" val="313111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Untertitel 6">
            <a:extLst>
              <a:ext uri="{FF2B5EF4-FFF2-40B4-BE49-F238E27FC236}">
                <a16:creationId xmlns:a16="http://schemas.microsoft.com/office/drawing/2014/main" id="{1A6547CC-0A0F-41D9-8932-5496D2C45E3E}"/>
              </a:ext>
            </a:extLst>
          </p:cNvPr>
          <p:cNvSpPr>
            <a:spLocks noGrp="1"/>
          </p:cNvSpPr>
          <p:nvPr>
            <p:ph type="subTitle" idx="13"/>
          </p:nvPr>
        </p:nvSpPr>
        <p:spPr>
          <a:xfrm>
            <a:off x="0" y="6310375"/>
            <a:ext cx="6295279" cy="215430"/>
          </a:xfrm>
          <a:noFill/>
        </p:spPr>
        <p:txBody>
          <a:bodyPr wrap="square" lIns="91428" tIns="45714" rIns="91428" bIns="45714">
            <a:spAutoFit/>
          </a:bodyPr>
          <a:lstStyle/>
          <a:p>
            <a:r>
              <a:rPr lang="en-US" sz="800">
                <a:solidFill>
                  <a:schemeClr val="bg1">
                    <a:lumMod val="50000"/>
                  </a:schemeClr>
                </a:solidFill>
              </a:rPr>
              <a:t>Resource: https://pages.awscloud.com/rs/112-TZM-766/images/FierceBiotech_AWS_Adverse_Events_Whitepaper_Final.pdf</a:t>
            </a:r>
          </a:p>
        </p:txBody>
      </p:sp>
      <p:sp>
        <p:nvSpPr>
          <p:cNvPr id="6" name="Titel 5">
            <a:extLst>
              <a:ext uri="{FF2B5EF4-FFF2-40B4-BE49-F238E27FC236}">
                <a16:creationId xmlns:a16="http://schemas.microsoft.com/office/drawing/2014/main" id="{FE4E94F6-DC23-4C8A-813D-50707AD66BDA}"/>
              </a:ext>
            </a:extLst>
          </p:cNvPr>
          <p:cNvSpPr>
            <a:spLocks noGrp="1"/>
          </p:cNvSpPr>
          <p:nvPr>
            <p:ph type="title"/>
          </p:nvPr>
        </p:nvSpPr>
        <p:spPr/>
        <p:txBody>
          <a:bodyPr/>
          <a:lstStyle/>
          <a:p>
            <a:r>
              <a:rPr lang="en-US" altLang="zh-CN"/>
              <a:t>Adverse event</a:t>
            </a:r>
            <a:r>
              <a:rPr lang="en-US"/>
              <a:t> monitoring# @Commerical #</a:t>
            </a:r>
            <a:endParaRPr lang="de-DE"/>
          </a:p>
        </p:txBody>
      </p:sp>
      <p:sp>
        <p:nvSpPr>
          <p:cNvPr id="4" name="Fußzeilenplatzhalter 3">
            <a:extLst>
              <a:ext uri="{FF2B5EF4-FFF2-40B4-BE49-F238E27FC236}">
                <a16:creationId xmlns:a16="http://schemas.microsoft.com/office/drawing/2014/main" id="{7DCB4262-A3C0-4DF6-9256-2973460CFF60}"/>
              </a:ext>
            </a:extLst>
          </p:cNvPr>
          <p:cNvSpPr>
            <a:spLocks noGrp="1"/>
          </p:cNvSpPr>
          <p:nvPr>
            <p:ph type="ftr" sz="quarter" idx="11"/>
          </p:nvPr>
        </p:nvSpPr>
        <p:spPr/>
        <p:txBody>
          <a:bodyPr/>
          <a:lstStyle/>
          <a:p>
            <a:r>
              <a:rPr lang="en-US"/>
              <a:t>/// Advanced Analytics and Digital Transformation /// NLP session /// March 2022</a:t>
            </a:r>
          </a:p>
        </p:txBody>
      </p:sp>
      <p:sp>
        <p:nvSpPr>
          <p:cNvPr id="5" name="Foliennummernplatzhalter 4">
            <a:extLst>
              <a:ext uri="{FF2B5EF4-FFF2-40B4-BE49-F238E27FC236}">
                <a16:creationId xmlns:a16="http://schemas.microsoft.com/office/drawing/2014/main" id="{4FE8486C-B1C4-44E4-9A7F-DF6E7FF01330}"/>
              </a:ext>
            </a:extLst>
          </p:cNvPr>
          <p:cNvSpPr>
            <a:spLocks noGrp="1"/>
          </p:cNvSpPr>
          <p:nvPr>
            <p:ph type="sldNum" sz="quarter" idx="12"/>
          </p:nvPr>
        </p:nvSpPr>
        <p:spPr/>
        <p:txBody>
          <a:bodyPr/>
          <a:lstStyle/>
          <a:p>
            <a:fld id="{EEAD9179-7A6B-4268-BEB2-F3B8EB06115B}" type="slidenum">
              <a:rPr lang="en-US" smtClean="0"/>
              <a:pPr/>
              <a:t>31</a:t>
            </a:fld>
            <a:endParaRPr lang="en-US"/>
          </a:p>
        </p:txBody>
      </p:sp>
      <p:sp>
        <p:nvSpPr>
          <p:cNvPr id="10" name="TextBox 9">
            <a:extLst>
              <a:ext uri="{FF2B5EF4-FFF2-40B4-BE49-F238E27FC236}">
                <a16:creationId xmlns:a16="http://schemas.microsoft.com/office/drawing/2014/main" id="{322B7098-0943-42DF-BBAF-783B0E7167EC}"/>
              </a:ext>
            </a:extLst>
          </p:cNvPr>
          <p:cNvSpPr txBox="1"/>
          <p:nvPr/>
        </p:nvSpPr>
        <p:spPr bwMode="gray">
          <a:xfrm>
            <a:off x="987248" y="1488098"/>
            <a:ext cx="4968785"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Project </a:t>
            </a:r>
            <a:r>
              <a:rPr lang="en-US" altLang="zh-CN" b="1">
                <a:solidFill>
                  <a:schemeClr val="accent2"/>
                </a:solidFill>
              </a:rPr>
              <a:t>background</a:t>
            </a:r>
            <a:endParaRPr lang="en-GB" b="1">
              <a:solidFill>
                <a:schemeClr val="accent2"/>
              </a:solidFill>
            </a:endParaRPr>
          </a:p>
        </p:txBody>
      </p:sp>
      <p:cxnSp>
        <p:nvCxnSpPr>
          <p:cNvPr id="11" name="Straight Connector 10">
            <a:extLst>
              <a:ext uri="{FF2B5EF4-FFF2-40B4-BE49-F238E27FC236}">
                <a16:creationId xmlns:a16="http://schemas.microsoft.com/office/drawing/2014/main" id="{9FA19D91-42B9-4E84-AEC3-363FD47B1BF6}"/>
              </a:ext>
            </a:extLst>
          </p:cNvPr>
          <p:cNvCxnSpPr>
            <a:cxnSpLocks/>
          </p:cNvCxnSpPr>
          <p:nvPr/>
        </p:nvCxnSpPr>
        <p:spPr bwMode="gray">
          <a:xfrm>
            <a:off x="981821" y="1765097"/>
            <a:ext cx="506547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A626D4E-3E5D-4C58-92B4-479E861764A8}"/>
              </a:ext>
            </a:extLst>
          </p:cNvPr>
          <p:cNvSpPr txBox="1"/>
          <p:nvPr/>
        </p:nvSpPr>
        <p:spPr bwMode="gray">
          <a:xfrm>
            <a:off x="6829201" y="5196852"/>
            <a:ext cx="5000638"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Business value </a:t>
            </a:r>
          </a:p>
        </p:txBody>
      </p:sp>
      <p:cxnSp>
        <p:nvCxnSpPr>
          <p:cNvPr id="13" name="Straight Connector 12">
            <a:extLst>
              <a:ext uri="{FF2B5EF4-FFF2-40B4-BE49-F238E27FC236}">
                <a16:creationId xmlns:a16="http://schemas.microsoft.com/office/drawing/2014/main" id="{AAB0ABA6-29C3-45EE-9811-157DB9206DEA}"/>
              </a:ext>
            </a:extLst>
          </p:cNvPr>
          <p:cNvCxnSpPr>
            <a:cxnSpLocks/>
          </p:cNvCxnSpPr>
          <p:nvPr/>
        </p:nvCxnSpPr>
        <p:spPr bwMode="gray">
          <a:xfrm>
            <a:off x="6828323" y="5473851"/>
            <a:ext cx="500151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FBB0635-6480-471D-9700-6D1FCA4C5E0D}"/>
              </a:ext>
            </a:extLst>
          </p:cNvPr>
          <p:cNvSpPr txBox="1">
            <a:spLocks/>
          </p:cNvSpPr>
          <p:nvPr/>
        </p:nvSpPr>
        <p:spPr>
          <a:xfrm>
            <a:off x="981820" y="2290548"/>
            <a:ext cx="5118809" cy="1052727"/>
          </a:xfrm>
          <a:prstGeom prst="rect">
            <a:avLst/>
          </a:prstGeom>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1" indent="-270000">
              <a:buBlip>
                <a:blip r:embed="rId2"/>
              </a:buBlip>
            </a:pPr>
            <a:r>
              <a:rPr lang="en-US" sz="1600">
                <a:solidFill>
                  <a:schemeClr val="tx1"/>
                </a:solidFill>
              </a:rPr>
              <a:t>Pharma companies need to monitor for adverse events to ensure patient safety and to remain in compliance with regulatory requirements, both in clinical trials and after a drug goes on the market.</a:t>
            </a:r>
          </a:p>
        </p:txBody>
      </p:sp>
      <p:sp>
        <p:nvSpPr>
          <p:cNvPr id="15" name="TextBox 14">
            <a:extLst>
              <a:ext uri="{FF2B5EF4-FFF2-40B4-BE49-F238E27FC236}">
                <a16:creationId xmlns:a16="http://schemas.microsoft.com/office/drawing/2014/main" id="{D0D58894-509F-40AA-916B-8AF5C68812E2}"/>
              </a:ext>
            </a:extLst>
          </p:cNvPr>
          <p:cNvSpPr txBox="1"/>
          <p:nvPr/>
        </p:nvSpPr>
        <p:spPr bwMode="gray">
          <a:xfrm>
            <a:off x="981821" y="1923173"/>
            <a:ext cx="5065472" cy="255665"/>
          </a:xfrm>
          <a:prstGeom prst="rect">
            <a:avLst/>
          </a:prstGeom>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i="1"/>
              <a:t>What is </a:t>
            </a:r>
            <a:r>
              <a:rPr lang="en-US" altLang="zh-CN" b="1" i="1"/>
              <a:t>adverse event reports</a:t>
            </a:r>
            <a:r>
              <a:rPr lang="en-GB" b="1" i="1"/>
              <a:t>?</a:t>
            </a:r>
            <a:endParaRPr lang="en-GB" b="1" i="1">
              <a:solidFill>
                <a:schemeClr val="accent2"/>
              </a:solidFill>
            </a:endParaRPr>
          </a:p>
        </p:txBody>
      </p:sp>
      <p:sp>
        <p:nvSpPr>
          <p:cNvPr id="16" name="TextBox 15">
            <a:extLst>
              <a:ext uri="{FF2B5EF4-FFF2-40B4-BE49-F238E27FC236}">
                <a16:creationId xmlns:a16="http://schemas.microsoft.com/office/drawing/2014/main" id="{BA69938A-3536-4AA3-8BA2-815B30EACF5D}"/>
              </a:ext>
            </a:extLst>
          </p:cNvPr>
          <p:cNvSpPr txBox="1"/>
          <p:nvPr/>
        </p:nvSpPr>
        <p:spPr bwMode="gray">
          <a:xfrm>
            <a:off x="981820" y="3423307"/>
            <a:ext cx="5065472" cy="255665"/>
          </a:xfrm>
          <a:prstGeom prst="rect">
            <a:avLst/>
          </a:prstGeom>
        </p:spPr>
        <p:txBody>
          <a:bodyPr vert="horz" wrap="square" lIns="0" tIns="0" rIns="0" bIns="0" rtlCol="0">
            <a:noAutofit/>
          </a:bodyPr>
          <a:lstStyle>
            <a:defPPr>
              <a:defRPr lang="de-DE"/>
            </a:defPPr>
            <a:lvl1pPr lvl="0" indent="0" defTabSz="914309">
              <a:spcBef>
                <a:spcPts val="1200"/>
              </a:spcBef>
              <a:spcAft>
                <a:spcPts val="600"/>
              </a:spcAft>
              <a:buFont typeface="Arial" panose="020B0604020202020204" pitchFamily="34" charset="0"/>
              <a:buNone/>
              <a:defRPr b="1" i="1">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a:t>Pain point?</a:t>
            </a:r>
          </a:p>
        </p:txBody>
      </p:sp>
      <p:sp>
        <p:nvSpPr>
          <p:cNvPr id="17" name="TextBox 16">
            <a:extLst>
              <a:ext uri="{FF2B5EF4-FFF2-40B4-BE49-F238E27FC236}">
                <a16:creationId xmlns:a16="http://schemas.microsoft.com/office/drawing/2014/main" id="{3921607C-F317-4940-AE2B-FFBFA11F170E}"/>
              </a:ext>
            </a:extLst>
          </p:cNvPr>
          <p:cNvSpPr txBox="1">
            <a:spLocks/>
          </p:cNvSpPr>
          <p:nvPr/>
        </p:nvSpPr>
        <p:spPr>
          <a:xfrm>
            <a:off x="976397" y="3741518"/>
            <a:ext cx="5118809" cy="267765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70000" lvl="1" indent="-270000">
              <a:spcBef>
                <a:spcPts val="300"/>
              </a:spcBef>
              <a:spcAft>
                <a:spcPts val="600"/>
              </a:spcAft>
              <a:buBlip>
                <a:blip r:embed="rId2"/>
              </a:buBlip>
            </a:pPr>
            <a:r>
              <a:rPr lang="en-US">
                <a:cs typeface="+mn-cs"/>
              </a:rPr>
              <a:t>Manual, human-centered systems cannot satisfy the rapid increase in adverse event report </a:t>
            </a:r>
            <a:r>
              <a:rPr lang="en-US" b="1">
                <a:solidFill>
                  <a:srgbClr val="00BCFF"/>
                </a:solidFill>
                <a:cs typeface="+mn-cs"/>
              </a:rPr>
              <a:t>volume</a:t>
            </a:r>
            <a:r>
              <a:rPr lang="en-US">
                <a:cs typeface="+mn-cs"/>
              </a:rPr>
              <a:t>.</a:t>
            </a:r>
          </a:p>
          <a:p>
            <a:pPr marL="540000" lvl="2" indent="-270000">
              <a:spcBef>
                <a:spcPts val="300"/>
              </a:spcBef>
              <a:spcAft>
                <a:spcPts val="600"/>
              </a:spcAft>
              <a:buBlip>
                <a:blip r:embed="rId3"/>
              </a:buBlip>
            </a:pPr>
            <a:r>
              <a:rPr lang="en-US">
                <a:cs typeface="+mn-cs"/>
              </a:rPr>
              <a:t>Users submitted 2.2 million reports to the FDA in 2019, up from less than 500,000 reports in 2009.</a:t>
            </a:r>
          </a:p>
          <a:p>
            <a:pPr marL="270000" lvl="1" indent="-270000">
              <a:spcBef>
                <a:spcPts val="300"/>
              </a:spcBef>
              <a:spcAft>
                <a:spcPts val="600"/>
              </a:spcAft>
              <a:buBlip>
                <a:blip r:embed="rId2"/>
              </a:buBlip>
            </a:pPr>
            <a:r>
              <a:rPr lang="en-US">
                <a:cs typeface="+mn-cs"/>
              </a:rPr>
              <a:t>More emerging</a:t>
            </a:r>
            <a:r>
              <a:rPr lang="en-US" b="1">
                <a:solidFill>
                  <a:srgbClr val="00BCFF"/>
                </a:solidFill>
                <a:cs typeface="+mn-cs"/>
              </a:rPr>
              <a:t> channels </a:t>
            </a:r>
            <a:r>
              <a:rPr lang="en-US">
                <a:cs typeface="+mn-cs"/>
              </a:rPr>
              <a:t>should be monitored besides traditional reporting channels.</a:t>
            </a:r>
          </a:p>
          <a:p>
            <a:pPr marL="540000" lvl="2" indent="-270000">
              <a:spcBef>
                <a:spcPts val="300"/>
              </a:spcBef>
              <a:spcAft>
                <a:spcPts val="600"/>
              </a:spcAft>
              <a:buBlip>
                <a:blip r:embed="rId3"/>
              </a:buBlip>
            </a:pPr>
            <a:r>
              <a:rPr lang="en-US">
                <a:cs typeface="+mn-cs"/>
              </a:rPr>
              <a:t>Social media, telemedicine visits, and medical chatbots</a:t>
            </a:r>
          </a:p>
          <a:p>
            <a:pPr marL="557338" lvl="2" indent="-270000">
              <a:spcBef>
                <a:spcPts val="300"/>
              </a:spcBef>
              <a:spcAft>
                <a:spcPts val="600"/>
              </a:spcAft>
              <a:buBlip>
                <a:blip r:embed="rId2"/>
              </a:buBlip>
            </a:pPr>
            <a:endParaRPr lang="en-GB">
              <a:cs typeface="+mn-cs"/>
            </a:endParaRPr>
          </a:p>
        </p:txBody>
      </p:sp>
      <p:cxnSp>
        <p:nvCxnSpPr>
          <p:cNvPr id="18" name="Straight Connector 17">
            <a:extLst>
              <a:ext uri="{FF2B5EF4-FFF2-40B4-BE49-F238E27FC236}">
                <a16:creationId xmlns:a16="http://schemas.microsoft.com/office/drawing/2014/main" id="{8C9B0EBA-6D69-4868-B599-166BDFB74F4D}"/>
              </a:ext>
            </a:extLst>
          </p:cNvPr>
          <p:cNvCxnSpPr>
            <a:cxnSpLocks/>
          </p:cNvCxnSpPr>
          <p:nvPr/>
        </p:nvCxnSpPr>
        <p:spPr bwMode="gray">
          <a:xfrm>
            <a:off x="6326582" y="1923173"/>
            <a:ext cx="0" cy="456171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Untertitel 6">
            <a:extLst>
              <a:ext uri="{FF2B5EF4-FFF2-40B4-BE49-F238E27FC236}">
                <a16:creationId xmlns:a16="http://schemas.microsoft.com/office/drawing/2014/main" id="{87EB30A2-956C-4D8A-B3CC-E80B83F52F68}"/>
              </a:ext>
            </a:extLst>
          </p:cNvPr>
          <p:cNvSpPr txBox="1">
            <a:spLocks/>
          </p:cNvSpPr>
          <p:nvPr/>
        </p:nvSpPr>
        <p:spPr bwMode="gray">
          <a:xfrm>
            <a:off x="981821" y="1138299"/>
            <a:ext cx="10798460" cy="252000"/>
          </a:xfrm>
          <a:prstGeom prst="rect">
            <a:avLst/>
          </a:prstGeom>
        </p:spPr>
        <p:txBody>
          <a:bodyPr vert="horz" lIns="0" tIns="0" rIns="0" bIns="0" rtlCol="0" anchor="t">
            <a:normAutofit fontScale="92500" lnSpcReduction="10000"/>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r>
              <a:rPr lang="en-US"/>
              <a:t>External</a:t>
            </a:r>
          </a:p>
        </p:txBody>
      </p:sp>
      <p:sp>
        <p:nvSpPr>
          <p:cNvPr id="20" name="TextBox 19">
            <a:extLst>
              <a:ext uri="{FF2B5EF4-FFF2-40B4-BE49-F238E27FC236}">
                <a16:creationId xmlns:a16="http://schemas.microsoft.com/office/drawing/2014/main" id="{02CF9AA2-046E-40F7-8C46-80F561EA2B16}"/>
              </a:ext>
            </a:extLst>
          </p:cNvPr>
          <p:cNvSpPr txBox="1"/>
          <p:nvPr/>
        </p:nvSpPr>
        <p:spPr bwMode="gray">
          <a:xfrm>
            <a:off x="6824747" y="1488099"/>
            <a:ext cx="5000638" cy="27699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b="1">
                <a:solidFill>
                  <a:schemeClr val="accent2"/>
                </a:solidFill>
              </a:rPr>
              <a:t>Technical solution</a:t>
            </a:r>
          </a:p>
        </p:txBody>
      </p:sp>
      <p:cxnSp>
        <p:nvCxnSpPr>
          <p:cNvPr id="21" name="Straight Connector 20">
            <a:extLst>
              <a:ext uri="{FF2B5EF4-FFF2-40B4-BE49-F238E27FC236}">
                <a16:creationId xmlns:a16="http://schemas.microsoft.com/office/drawing/2014/main" id="{CBD9F060-6FD3-4E54-8C56-05C876F3A63B}"/>
              </a:ext>
            </a:extLst>
          </p:cNvPr>
          <p:cNvCxnSpPr>
            <a:cxnSpLocks/>
          </p:cNvCxnSpPr>
          <p:nvPr/>
        </p:nvCxnSpPr>
        <p:spPr bwMode="gray">
          <a:xfrm>
            <a:off x="6824112" y="1765098"/>
            <a:ext cx="500151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3851D23-6239-48DE-9D8B-8DF4F59992F4}"/>
              </a:ext>
            </a:extLst>
          </p:cNvPr>
          <p:cNvSpPr txBox="1"/>
          <p:nvPr/>
        </p:nvSpPr>
        <p:spPr bwMode="gray">
          <a:xfrm>
            <a:off x="6856090" y="1843848"/>
            <a:ext cx="5065472" cy="189905"/>
          </a:xfrm>
          <a:prstGeom prst="rect">
            <a:avLst/>
          </a:prstGeom>
          <a:solidFill>
            <a:schemeClr val="bg1"/>
          </a:solidFill>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US" altLang="zh-CN" sz="1600" b="1" i="1"/>
              <a:t>Automating call centers</a:t>
            </a:r>
            <a:endParaRPr lang="en-GB" sz="1600" b="1" i="1">
              <a:solidFill>
                <a:schemeClr val="accent2"/>
              </a:solidFill>
            </a:endParaRPr>
          </a:p>
        </p:txBody>
      </p:sp>
      <p:sp>
        <p:nvSpPr>
          <p:cNvPr id="25" name="TextBox 24">
            <a:extLst>
              <a:ext uri="{FF2B5EF4-FFF2-40B4-BE49-F238E27FC236}">
                <a16:creationId xmlns:a16="http://schemas.microsoft.com/office/drawing/2014/main" id="{AAA43247-DAD2-4895-B235-64432F34BA5B}"/>
              </a:ext>
            </a:extLst>
          </p:cNvPr>
          <p:cNvSpPr txBox="1">
            <a:spLocks/>
          </p:cNvSpPr>
          <p:nvPr/>
        </p:nvSpPr>
        <p:spPr>
          <a:xfrm>
            <a:off x="6851173" y="2112623"/>
            <a:ext cx="4974212" cy="1566349"/>
          </a:xfrm>
          <a:prstGeom prst="rect">
            <a:avLst/>
          </a:prstGeom>
          <a:solidFill>
            <a:schemeClr val="bg1"/>
          </a:solidFill>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2" indent="-270000">
              <a:buBlip>
                <a:blip r:embed="rId2"/>
              </a:buBlip>
            </a:pPr>
            <a:r>
              <a:rPr lang="en-US" sz="1400">
                <a:solidFill>
                  <a:schemeClr val="tx1"/>
                </a:solidFill>
              </a:rPr>
              <a:t>Automate information capture</a:t>
            </a:r>
          </a:p>
          <a:p>
            <a:pPr marL="540000" lvl="2" indent="-270000">
              <a:buBlip>
                <a:blip r:embed="rId3"/>
              </a:buBlip>
            </a:pPr>
            <a:r>
              <a:rPr lang="en-US" sz="1400">
                <a:solidFill>
                  <a:schemeClr val="tx1"/>
                </a:solidFill>
              </a:rPr>
              <a:t>Transfer voice to text </a:t>
            </a:r>
          </a:p>
          <a:p>
            <a:pPr marL="270000" lvl="2" indent="-270000">
              <a:buBlip>
                <a:blip r:embed="rId2"/>
              </a:buBlip>
            </a:pPr>
            <a:r>
              <a:rPr lang="en-GB" sz="1400">
                <a:solidFill>
                  <a:schemeClr val="tx1"/>
                </a:solidFill>
              </a:rPr>
              <a:t>Provide quick analysis</a:t>
            </a:r>
          </a:p>
          <a:p>
            <a:pPr marL="540000" lvl="2" indent="-270000">
              <a:buBlip>
                <a:blip r:embed="rId3"/>
              </a:buBlip>
            </a:pPr>
            <a:r>
              <a:rPr lang="en-US" sz="1400">
                <a:solidFill>
                  <a:schemeClr val="tx1"/>
                </a:solidFill>
              </a:rPr>
              <a:t>extract relevant medical information  </a:t>
            </a:r>
          </a:p>
          <a:p>
            <a:pPr marL="540000" lvl="2" indent="-270000">
              <a:buBlip>
                <a:blip r:embed="rId3"/>
              </a:buBlip>
            </a:pPr>
            <a:r>
              <a:rPr lang="en-US" sz="1400">
                <a:solidFill>
                  <a:schemeClr val="tx1"/>
                </a:solidFill>
              </a:rPr>
              <a:t>flag adverse events for human experts’ follow-up</a:t>
            </a:r>
          </a:p>
          <a:p>
            <a:pPr marL="270000" lvl="2" indent="-270000">
              <a:buBlip>
                <a:blip r:embed="rId2"/>
              </a:buBlip>
            </a:pPr>
            <a:endParaRPr lang="en-GB" sz="1400">
              <a:solidFill>
                <a:schemeClr val="tx1"/>
              </a:solidFill>
            </a:endParaRPr>
          </a:p>
          <a:p>
            <a:pPr marL="540000" lvl="2" indent="-270000">
              <a:buBlip>
                <a:blip r:embed="rId3"/>
              </a:buBlip>
            </a:pPr>
            <a:endParaRPr lang="en-US" sz="1400">
              <a:solidFill>
                <a:schemeClr val="tx1"/>
              </a:solidFill>
            </a:endParaRPr>
          </a:p>
        </p:txBody>
      </p:sp>
      <p:sp>
        <p:nvSpPr>
          <p:cNvPr id="27" name="TextBox 26">
            <a:extLst>
              <a:ext uri="{FF2B5EF4-FFF2-40B4-BE49-F238E27FC236}">
                <a16:creationId xmlns:a16="http://schemas.microsoft.com/office/drawing/2014/main" id="{52153589-16F6-43C2-B34C-46EF39BCB384}"/>
              </a:ext>
            </a:extLst>
          </p:cNvPr>
          <p:cNvSpPr txBox="1"/>
          <p:nvPr/>
        </p:nvSpPr>
        <p:spPr bwMode="gray">
          <a:xfrm>
            <a:off x="6856725" y="3753254"/>
            <a:ext cx="5065472" cy="327961"/>
          </a:xfrm>
          <a:prstGeom prst="rect">
            <a:avLst/>
          </a:prstGeom>
          <a:solidFill>
            <a:schemeClr val="bg1"/>
          </a:solidFill>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sz="1600" b="1" i="1"/>
              <a:t>Widen channels</a:t>
            </a:r>
          </a:p>
        </p:txBody>
      </p:sp>
      <p:sp>
        <p:nvSpPr>
          <p:cNvPr id="29" name="TextBox 28">
            <a:extLst>
              <a:ext uri="{FF2B5EF4-FFF2-40B4-BE49-F238E27FC236}">
                <a16:creationId xmlns:a16="http://schemas.microsoft.com/office/drawing/2014/main" id="{59056781-672E-4C06-B9EE-3FAEA459FE9A}"/>
              </a:ext>
            </a:extLst>
          </p:cNvPr>
          <p:cNvSpPr txBox="1">
            <a:spLocks/>
          </p:cNvSpPr>
          <p:nvPr/>
        </p:nvSpPr>
        <p:spPr>
          <a:xfrm>
            <a:off x="6851173" y="4048924"/>
            <a:ext cx="4974212" cy="427246"/>
          </a:xfrm>
          <a:prstGeom prst="rect">
            <a:avLst/>
          </a:prstGeom>
          <a:solidFill>
            <a:schemeClr val="bg1"/>
          </a:solidFill>
        </p:spPr>
        <p:txBody>
          <a:bodyPr vert="horz" lIns="0" tIns="0" rIns="0" bIns="0" rtlCol="0" anchor="t">
            <a:noAutofit/>
          </a:bodyPr>
          <a:lstStyle>
            <a:lvl1pPr indent="0">
              <a:spcBef>
                <a:spcPts val="1200"/>
              </a:spcBef>
              <a:spcAft>
                <a:spcPts val="600"/>
              </a:spcAft>
              <a:buFont typeface="Arial" panose="020B0604020202020204" pitchFamily="34" charset="0"/>
              <a:buNone/>
              <a:defRPr>
                <a:solidFill>
                  <a:schemeClr val="accent1"/>
                </a:solidFill>
              </a:defRPr>
            </a:lvl1pPr>
            <a:lvl2pPr marL="0" indent="0">
              <a:spcBef>
                <a:spcPts val="300"/>
              </a:spcBef>
              <a:spcAft>
                <a:spcPts val="600"/>
              </a:spcAft>
              <a:buFontTx/>
              <a:buNone/>
              <a:defRPr>
                <a:solidFill>
                  <a:schemeClr val="accent1"/>
                </a:solidFill>
              </a:defRPr>
            </a:lvl2pPr>
            <a:lvl3pPr marL="0" indent="0">
              <a:spcBef>
                <a:spcPts val="300"/>
              </a:spcBef>
              <a:spcAft>
                <a:spcPts val="600"/>
              </a:spcAft>
              <a:buFontTx/>
              <a:buNone/>
              <a:defRPr>
                <a:solidFill>
                  <a:schemeClr val="accent1"/>
                </a:solidFill>
              </a:defRPr>
            </a:lvl3pPr>
            <a:lvl4pPr marL="0" indent="0">
              <a:spcBef>
                <a:spcPts val="300"/>
              </a:spcBef>
              <a:spcAft>
                <a:spcPts val="600"/>
              </a:spcAft>
              <a:buFontTx/>
              <a:buNone/>
              <a:defRPr>
                <a:solidFill>
                  <a:schemeClr val="accent1"/>
                </a:solidFill>
              </a:defRPr>
            </a:lvl4pPr>
            <a:lvl5pPr marL="0" indent="0">
              <a:spcBef>
                <a:spcPts val="300"/>
              </a:spcBef>
              <a:spcAft>
                <a:spcPts val="600"/>
              </a:spcAft>
              <a:buFontTx/>
              <a:buNone/>
              <a:defRPr>
                <a:solidFill>
                  <a:schemeClr val="accent1"/>
                </a:solidFill>
              </a:defRPr>
            </a:lvl5pPr>
            <a:lvl6pPr marL="0" indent="0">
              <a:spcBef>
                <a:spcPts val="300"/>
              </a:spcBef>
              <a:spcAft>
                <a:spcPts val="600"/>
              </a:spcAft>
              <a:buFontTx/>
              <a:buNone/>
              <a:defRPr>
                <a:solidFill>
                  <a:schemeClr val="accent1"/>
                </a:solidFill>
              </a:defRPr>
            </a:lvl6pPr>
            <a:lvl7pPr marL="0" indent="0">
              <a:spcBef>
                <a:spcPts val="300"/>
              </a:spcBef>
              <a:spcAft>
                <a:spcPts val="600"/>
              </a:spcAft>
              <a:buFontTx/>
              <a:buNone/>
              <a:defRPr>
                <a:solidFill>
                  <a:schemeClr val="accent1"/>
                </a:solidFill>
              </a:defRPr>
            </a:lvl7pPr>
            <a:lvl8pPr marL="0" indent="0">
              <a:spcBef>
                <a:spcPts val="300"/>
              </a:spcBef>
              <a:spcAft>
                <a:spcPts val="600"/>
              </a:spcAft>
              <a:buFontTx/>
              <a:buNone/>
              <a:defRPr>
                <a:solidFill>
                  <a:schemeClr val="accent1"/>
                </a:solidFill>
              </a:defRPr>
            </a:lvl8pPr>
            <a:lvl9pPr marL="0" indent="0">
              <a:spcBef>
                <a:spcPts val="300"/>
              </a:spcBef>
              <a:spcAft>
                <a:spcPts val="600"/>
              </a:spcAft>
              <a:buFontTx/>
              <a:buNone/>
              <a:defRPr>
                <a:solidFill>
                  <a:schemeClr val="accent1"/>
                </a:solidFill>
              </a:defRPr>
            </a:lvl9pPr>
          </a:lstStyle>
          <a:p>
            <a:pPr marL="270000" lvl="2" indent="-270000">
              <a:buBlip>
                <a:blip r:embed="rId2"/>
              </a:buBlip>
            </a:pPr>
            <a:r>
              <a:rPr lang="en-US" sz="1400">
                <a:solidFill>
                  <a:schemeClr val="tx1"/>
                </a:solidFill>
              </a:rPr>
              <a:t>Including medical records, handwritten physician notes, and social media posts a</a:t>
            </a:r>
          </a:p>
        </p:txBody>
      </p:sp>
      <p:sp>
        <p:nvSpPr>
          <p:cNvPr id="30" name="TextBox 29">
            <a:extLst>
              <a:ext uri="{FF2B5EF4-FFF2-40B4-BE49-F238E27FC236}">
                <a16:creationId xmlns:a16="http://schemas.microsoft.com/office/drawing/2014/main" id="{275724FF-D2FD-4A22-B9EA-1937E3158167}"/>
              </a:ext>
            </a:extLst>
          </p:cNvPr>
          <p:cNvSpPr txBox="1"/>
          <p:nvPr/>
        </p:nvSpPr>
        <p:spPr bwMode="gray">
          <a:xfrm>
            <a:off x="6856725" y="4567048"/>
            <a:ext cx="5065472" cy="586665"/>
          </a:xfrm>
          <a:prstGeom prst="rect">
            <a:avLst/>
          </a:prstGeom>
          <a:solidFill>
            <a:schemeClr val="bg1"/>
          </a:solidFill>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sz="1600" b="1" i="1"/>
              <a:t>Further: evaluate the risk and completeness of the model generated report</a:t>
            </a:r>
          </a:p>
        </p:txBody>
      </p:sp>
      <p:sp>
        <p:nvSpPr>
          <p:cNvPr id="31" name="TextBox 30">
            <a:extLst>
              <a:ext uri="{FF2B5EF4-FFF2-40B4-BE49-F238E27FC236}">
                <a16:creationId xmlns:a16="http://schemas.microsoft.com/office/drawing/2014/main" id="{3835A349-629F-4E09-8938-D848F08EC033}"/>
              </a:ext>
            </a:extLst>
          </p:cNvPr>
          <p:cNvSpPr txBox="1"/>
          <p:nvPr/>
        </p:nvSpPr>
        <p:spPr bwMode="gray">
          <a:xfrm>
            <a:off x="6829201" y="5554881"/>
            <a:ext cx="5065472" cy="229498"/>
          </a:xfrm>
          <a:prstGeom prst="rect">
            <a:avLst/>
          </a:prstGeom>
          <a:solidFill>
            <a:schemeClr val="bg1"/>
          </a:solidFill>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GB" sz="1600" b="1" i="1"/>
              <a:t>Time saving and cost saving</a:t>
            </a:r>
            <a:endParaRPr lang="en-GB" sz="1400">
              <a:solidFill>
                <a:schemeClr val="tx1"/>
              </a:solidFill>
            </a:endParaRPr>
          </a:p>
        </p:txBody>
      </p:sp>
      <p:sp>
        <p:nvSpPr>
          <p:cNvPr id="35" name="TextBox 34">
            <a:extLst>
              <a:ext uri="{FF2B5EF4-FFF2-40B4-BE49-F238E27FC236}">
                <a16:creationId xmlns:a16="http://schemas.microsoft.com/office/drawing/2014/main" id="{1E857F22-A28E-4ADD-9CCA-5CC705DDCD81}"/>
              </a:ext>
            </a:extLst>
          </p:cNvPr>
          <p:cNvSpPr txBox="1"/>
          <p:nvPr/>
        </p:nvSpPr>
        <p:spPr bwMode="gray">
          <a:xfrm>
            <a:off x="6833412" y="5784379"/>
            <a:ext cx="5172293" cy="338554"/>
          </a:xfrm>
          <a:prstGeom prst="rect">
            <a:avLst/>
          </a:prstGeom>
          <a:noFill/>
        </p:spPr>
        <p:txBody>
          <a:bodyPr wrap="square">
            <a:spAutoFit/>
          </a:bodyPr>
          <a:lstStyle/>
          <a:p>
            <a:pPr marL="270000" lvl="2" indent="-270000">
              <a:spcBef>
                <a:spcPts val="300"/>
              </a:spcBef>
              <a:spcAft>
                <a:spcPts val="600"/>
              </a:spcAft>
              <a:buBlip>
                <a:blip r:embed="rId2"/>
              </a:buBlip>
            </a:pPr>
            <a:r>
              <a:rPr lang="en-GB" sz="1400">
                <a:sym typeface="Wingdings" panose="05000000000000000000" pitchFamily="2" charset="2"/>
              </a:rPr>
              <a:t>one case processing: </a:t>
            </a:r>
            <a:r>
              <a:rPr lang="en-US" sz="1400"/>
              <a:t>from up to two hours to </a:t>
            </a:r>
            <a:r>
              <a:rPr lang="en-US" sz="1600" b="1">
                <a:solidFill>
                  <a:srgbClr val="FF3162"/>
                </a:solidFill>
              </a:rPr>
              <a:t>seconds</a:t>
            </a:r>
          </a:p>
        </p:txBody>
      </p:sp>
      <p:sp>
        <p:nvSpPr>
          <p:cNvPr id="36" name="TextBox 35">
            <a:extLst>
              <a:ext uri="{FF2B5EF4-FFF2-40B4-BE49-F238E27FC236}">
                <a16:creationId xmlns:a16="http://schemas.microsoft.com/office/drawing/2014/main" id="{CE7C024B-BB91-4155-B477-158DB520565B}"/>
              </a:ext>
            </a:extLst>
          </p:cNvPr>
          <p:cNvSpPr txBox="1"/>
          <p:nvPr/>
        </p:nvSpPr>
        <p:spPr bwMode="gray">
          <a:xfrm>
            <a:off x="6855384" y="6085418"/>
            <a:ext cx="5065472" cy="267013"/>
          </a:xfrm>
          <a:prstGeom prst="rect">
            <a:avLst/>
          </a:prstGeom>
          <a:solidFill>
            <a:schemeClr val="bg1"/>
          </a:solidFill>
        </p:spPr>
        <p:txBody>
          <a:bodyPr vert="horz" wrap="square" lIns="0" tIns="0" rIns="0" bIns="0" rtlCol="0">
            <a:no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2"/>
              </a:buBlip>
              <a:defRPr>
                <a:solidFill>
                  <a:schemeClr val="accent1"/>
                </a:solidFill>
              </a:defRPr>
            </a:lvl2pPr>
            <a:lvl3pPr marL="539946" lvl="2" indent="-269973" defTabSz="914309">
              <a:spcBef>
                <a:spcPts val="300"/>
              </a:spcBef>
              <a:spcAft>
                <a:spcPts val="600"/>
              </a:spcAft>
              <a:buFontTx/>
              <a:buBlip>
                <a:blip r:embed="rId3"/>
              </a:buBlip>
              <a:defRPr>
                <a:solidFill>
                  <a:schemeClr val="accent1"/>
                </a:solidFill>
              </a:defRPr>
            </a:lvl3pPr>
            <a:lvl4pPr marL="809919" lvl="3" indent="-269973" defTabSz="914309">
              <a:spcBef>
                <a:spcPts val="300"/>
              </a:spcBef>
              <a:spcAft>
                <a:spcPts val="600"/>
              </a:spcAft>
              <a:buFontTx/>
              <a:buBlip>
                <a:blip r:embed="rId4"/>
              </a:buBlip>
              <a:defRPr>
                <a:solidFill>
                  <a:schemeClr val="accent1"/>
                </a:solidFill>
              </a:defRPr>
            </a:lvl4pPr>
            <a:lvl5pPr marL="1079892" lvl="4" indent="-269973" defTabSz="914309">
              <a:spcBef>
                <a:spcPts val="300"/>
              </a:spcBef>
              <a:spcAft>
                <a:spcPts val="600"/>
              </a:spcAft>
              <a:buFontTx/>
              <a:buBlip>
                <a:blip r:embed="rId5"/>
              </a:buBlip>
              <a:defRPr>
                <a:solidFill>
                  <a:schemeClr val="accent1"/>
                </a:solidFill>
              </a:defRPr>
            </a:lvl5pPr>
            <a:lvl6pPr marL="1079892" indent="-269973" defTabSz="914309">
              <a:spcBef>
                <a:spcPts val="300"/>
              </a:spcBef>
              <a:spcAft>
                <a:spcPts val="600"/>
              </a:spcAft>
              <a:buFontTx/>
              <a:buBlip>
                <a:blip r:embed="rId5"/>
              </a:buBlip>
            </a:lvl6pPr>
            <a:lvl7pPr marL="1079892" indent="-269973" defTabSz="914309">
              <a:spcBef>
                <a:spcPts val="300"/>
              </a:spcBef>
              <a:spcAft>
                <a:spcPts val="600"/>
              </a:spcAft>
              <a:buFontTx/>
              <a:buBlip>
                <a:blip r:embed="rId5"/>
              </a:buBlip>
            </a:lvl7pPr>
            <a:lvl8pPr marL="1079892" indent="-269973" defTabSz="914309">
              <a:spcBef>
                <a:spcPts val="300"/>
              </a:spcBef>
              <a:spcAft>
                <a:spcPts val="600"/>
              </a:spcAft>
              <a:buFontTx/>
              <a:buBlip>
                <a:blip r:embed="rId5"/>
              </a:buBlip>
            </a:lvl8pPr>
            <a:lvl9pPr marL="1079892" indent="-269973" defTabSz="914309">
              <a:spcBef>
                <a:spcPts val="300"/>
              </a:spcBef>
              <a:spcAft>
                <a:spcPts val="600"/>
              </a:spcAft>
              <a:buFontTx/>
              <a:buBlip>
                <a:blip r:embed="rId5"/>
              </a:buBlip>
            </a:lvl9pPr>
          </a:lstStyle>
          <a:p>
            <a:r>
              <a:rPr lang="en-US" sz="1600" b="1" i="1"/>
              <a:t>Let people focusing on non-labor work</a:t>
            </a:r>
            <a:endParaRPr lang="en-GB" sz="1400">
              <a:solidFill>
                <a:schemeClr val="tx1"/>
              </a:solidFill>
            </a:endParaRPr>
          </a:p>
        </p:txBody>
      </p:sp>
    </p:spTree>
    <p:extLst>
      <p:ext uri="{BB962C8B-B14F-4D97-AF65-F5344CB8AC3E}">
        <p14:creationId xmlns:p14="http://schemas.microsoft.com/office/powerpoint/2010/main" val="62279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8FBD345-8D1A-43C0-A73D-1614423CEA68}"/>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F12BB4A3-22AE-4D3B-9281-4BC5396C5EAE}"/>
              </a:ext>
            </a:extLst>
          </p:cNvPr>
          <p:cNvSpPr>
            <a:spLocks noGrp="1"/>
          </p:cNvSpPr>
          <p:nvPr>
            <p:ph type="sldNum" sz="quarter" idx="12"/>
          </p:nvPr>
        </p:nvSpPr>
        <p:spPr/>
        <p:txBody>
          <a:bodyPr/>
          <a:lstStyle/>
          <a:p>
            <a:fld id="{EEAD9179-7A6B-4268-BEB2-F3B8EB06115B}" type="slidenum">
              <a:rPr lang="en-US" smtClean="0"/>
              <a:pPr/>
              <a:t>4</a:t>
            </a:fld>
            <a:endParaRPr lang="en-US"/>
          </a:p>
        </p:txBody>
      </p:sp>
      <p:sp>
        <p:nvSpPr>
          <p:cNvPr id="3" name="Title 2">
            <a:extLst>
              <a:ext uri="{FF2B5EF4-FFF2-40B4-BE49-F238E27FC236}">
                <a16:creationId xmlns:a16="http://schemas.microsoft.com/office/drawing/2014/main" id="{EBCAFA83-73D8-4B00-BD19-8A0283E21352}"/>
              </a:ext>
            </a:extLst>
          </p:cNvPr>
          <p:cNvSpPr>
            <a:spLocks noGrp="1"/>
          </p:cNvSpPr>
          <p:nvPr>
            <p:ph type="title"/>
          </p:nvPr>
        </p:nvSpPr>
        <p:spPr>
          <a:xfrm>
            <a:off x="830018" y="1050630"/>
            <a:ext cx="8514007" cy="864000"/>
          </a:xfrm>
        </p:spPr>
        <p:txBody>
          <a:bodyPr/>
          <a:lstStyle/>
          <a:p>
            <a:r>
              <a:rPr lang="en-US" sz="2800" b="1"/>
              <a:t>AI related advanced analytics accelerate business digitalization, with unparalleled computing power, rich data and advanced algorithm</a:t>
            </a:r>
            <a:endParaRPr lang="en-US" b="1"/>
          </a:p>
        </p:txBody>
      </p:sp>
      <p:sp>
        <p:nvSpPr>
          <p:cNvPr id="15" name="Gleichschenkliges Dreieck 3">
            <a:extLst>
              <a:ext uri="{FF2B5EF4-FFF2-40B4-BE49-F238E27FC236}">
                <a16:creationId xmlns:a16="http://schemas.microsoft.com/office/drawing/2014/main" id="{DFD140AA-A4EA-48D7-B1A1-5F850830C383}"/>
              </a:ext>
            </a:extLst>
          </p:cNvPr>
          <p:cNvSpPr/>
          <p:nvPr/>
        </p:nvSpPr>
        <p:spPr bwMode="gray">
          <a:xfrm>
            <a:off x="8183438" y="0"/>
            <a:ext cx="1280087" cy="6858000"/>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5">
            <a:extLst>
              <a:ext uri="{FF2B5EF4-FFF2-40B4-BE49-F238E27FC236}">
                <a16:creationId xmlns:a16="http://schemas.microsoft.com/office/drawing/2014/main" id="{65538380-1219-4DED-B0EB-FAD047FB633D}"/>
              </a:ext>
            </a:extLst>
          </p:cNvPr>
          <p:cNvSpPr/>
          <p:nvPr/>
        </p:nvSpPr>
        <p:spPr bwMode="gray">
          <a:xfrm>
            <a:off x="9463525" y="0"/>
            <a:ext cx="272688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Box 13">
            <a:extLst>
              <a:ext uri="{FF2B5EF4-FFF2-40B4-BE49-F238E27FC236}">
                <a16:creationId xmlns:a16="http://schemas.microsoft.com/office/drawing/2014/main" id="{6EE1254B-0E6F-4757-8C7D-6AB7D7B112E9}"/>
              </a:ext>
            </a:extLst>
          </p:cNvPr>
          <p:cNvSpPr txBox="1"/>
          <p:nvPr/>
        </p:nvSpPr>
        <p:spPr bwMode="gray">
          <a:xfrm>
            <a:off x="9062235" y="3128059"/>
            <a:ext cx="3037437" cy="3139321"/>
          </a:xfrm>
          <a:prstGeom prst="rect">
            <a:avLst/>
          </a:prstGeom>
          <a:noFill/>
        </p:spPr>
        <p:txBody>
          <a:bodyPr wrap="square">
            <a:spAutoFit/>
          </a:bodyPr>
          <a:lstStyle/>
          <a:p>
            <a:r>
              <a:rPr lang="en-US" b="1" dirty="0">
                <a:solidFill>
                  <a:schemeClr val="bg1"/>
                </a:solidFill>
              </a:rPr>
              <a:t>Natural language processing</a:t>
            </a:r>
            <a:r>
              <a:rPr lang="en-US" dirty="0">
                <a:solidFill>
                  <a:schemeClr val="bg1"/>
                </a:solidFill>
              </a:rPr>
              <a:t> (NLP) refers to the branch of computer science—and more specifically, the branch of artificial intelligence or AI—concerned with giving computers the ability to understand text and spoken words in much the same way human beings can.</a:t>
            </a:r>
          </a:p>
        </p:txBody>
      </p:sp>
      <p:pic>
        <p:nvPicPr>
          <p:cNvPr id="18" name="Picture 17" descr="Icon&#10;&#10;Description automatically generated">
            <a:extLst>
              <a:ext uri="{FF2B5EF4-FFF2-40B4-BE49-F238E27FC236}">
                <a16:creationId xmlns:a16="http://schemas.microsoft.com/office/drawing/2014/main" id="{6D5228F7-2CC1-424A-990B-416EC150C444}"/>
              </a:ext>
            </a:extLst>
          </p:cNvPr>
          <p:cNvPicPr>
            <a:picLocks noChangeAspect="1"/>
          </p:cNvPicPr>
          <p:nvPr/>
        </p:nvPicPr>
        <p:blipFill>
          <a:blip r:embed="rId4"/>
          <a:stretch>
            <a:fillRect/>
          </a:stretch>
        </p:blipFill>
        <p:spPr>
          <a:xfrm>
            <a:off x="9254605" y="382511"/>
            <a:ext cx="2570272" cy="2570272"/>
          </a:xfrm>
          <a:prstGeom prst="rect">
            <a:avLst/>
          </a:prstGeom>
        </p:spPr>
      </p:pic>
      <p:sp>
        <p:nvSpPr>
          <p:cNvPr id="44" name="Rectangle 6">
            <a:extLst>
              <a:ext uri="{FF2B5EF4-FFF2-40B4-BE49-F238E27FC236}">
                <a16:creationId xmlns:a16="http://schemas.microsoft.com/office/drawing/2014/main" id="{7A2D0707-D9F4-447A-B371-3E4E85AE04E1}"/>
              </a:ext>
            </a:extLst>
          </p:cNvPr>
          <p:cNvSpPr/>
          <p:nvPr/>
        </p:nvSpPr>
        <p:spPr bwMode="gray">
          <a:xfrm>
            <a:off x="857308" y="2559664"/>
            <a:ext cx="1996118" cy="8640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2" tIns="180000" rIns="91422" bIns="45710" rtlCol="0" anchor="ctr" anchorCtr="0"/>
          <a:lstStyle/>
          <a:p>
            <a:r>
              <a:rPr lang="en-US" sz="1600" b="1"/>
              <a:t>Sentiment analysis </a:t>
            </a:r>
          </a:p>
        </p:txBody>
      </p:sp>
      <p:sp>
        <p:nvSpPr>
          <p:cNvPr id="45" name="Rectangle 6">
            <a:extLst>
              <a:ext uri="{FF2B5EF4-FFF2-40B4-BE49-F238E27FC236}">
                <a16:creationId xmlns:a16="http://schemas.microsoft.com/office/drawing/2014/main" id="{1B7B2989-3E87-4376-8388-2A45567FE31B}"/>
              </a:ext>
            </a:extLst>
          </p:cNvPr>
          <p:cNvSpPr/>
          <p:nvPr/>
        </p:nvSpPr>
        <p:spPr bwMode="gray">
          <a:xfrm>
            <a:off x="3253428" y="2559664"/>
            <a:ext cx="1996118" cy="8640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2" tIns="180000" rIns="91422" bIns="45710" rtlCol="0" anchor="ctr" anchorCtr="0"/>
          <a:lstStyle/>
          <a:p>
            <a:r>
              <a:rPr lang="en-US" sz="1600" b="1"/>
              <a:t>Text classification </a:t>
            </a:r>
          </a:p>
        </p:txBody>
      </p:sp>
      <p:sp>
        <p:nvSpPr>
          <p:cNvPr id="46" name="Rectangle 6">
            <a:extLst>
              <a:ext uri="{FF2B5EF4-FFF2-40B4-BE49-F238E27FC236}">
                <a16:creationId xmlns:a16="http://schemas.microsoft.com/office/drawing/2014/main" id="{91043652-D3A6-4F1E-BBE5-58A811B48B18}"/>
              </a:ext>
            </a:extLst>
          </p:cNvPr>
          <p:cNvSpPr/>
          <p:nvPr/>
        </p:nvSpPr>
        <p:spPr bwMode="gray">
          <a:xfrm>
            <a:off x="5650192" y="2578426"/>
            <a:ext cx="1996118" cy="8640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2" tIns="180000" rIns="91422" bIns="45710" rtlCol="0" anchor="ctr" anchorCtr="0"/>
          <a:lstStyle/>
          <a:p>
            <a:r>
              <a:rPr lang="en-US" sz="1600" b="1"/>
              <a:t>Text extraction </a:t>
            </a:r>
          </a:p>
        </p:txBody>
      </p:sp>
      <p:sp>
        <p:nvSpPr>
          <p:cNvPr id="48" name="Rectangle 6">
            <a:extLst>
              <a:ext uri="{FF2B5EF4-FFF2-40B4-BE49-F238E27FC236}">
                <a16:creationId xmlns:a16="http://schemas.microsoft.com/office/drawing/2014/main" id="{F66DCAD1-94D8-4D67-BA9B-EB83774B2B61}"/>
              </a:ext>
            </a:extLst>
          </p:cNvPr>
          <p:cNvSpPr/>
          <p:nvPr/>
        </p:nvSpPr>
        <p:spPr bwMode="gray">
          <a:xfrm>
            <a:off x="857953" y="3579092"/>
            <a:ext cx="1996118" cy="8640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2" tIns="180000" rIns="91422" bIns="45710" rtlCol="0" anchor="ctr" anchorCtr="0"/>
          <a:lstStyle/>
          <a:p>
            <a:r>
              <a:rPr lang="en-US" sz="1600" b="1"/>
              <a:t>Chatbot and virtual assistant </a:t>
            </a:r>
          </a:p>
        </p:txBody>
      </p:sp>
      <p:sp>
        <p:nvSpPr>
          <p:cNvPr id="49" name="Rectangle 6">
            <a:extLst>
              <a:ext uri="{FF2B5EF4-FFF2-40B4-BE49-F238E27FC236}">
                <a16:creationId xmlns:a16="http://schemas.microsoft.com/office/drawing/2014/main" id="{07AC1020-D0EB-424A-8A15-58918CCBF8D9}"/>
              </a:ext>
            </a:extLst>
          </p:cNvPr>
          <p:cNvSpPr/>
          <p:nvPr/>
        </p:nvSpPr>
        <p:spPr bwMode="gray">
          <a:xfrm>
            <a:off x="3254073" y="3579092"/>
            <a:ext cx="1996118" cy="8640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2" tIns="180000" rIns="91422" bIns="45710" rtlCol="0" anchor="ctr" anchorCtr="0"/>
          <a:lstStyle/>
          <a:p>
            <a:r>
              <a:rPr lang="en-US" sz="1600" b="1"/>
              <a:t>Speech Recognition</a:t>
            </a:r>
            <a:endParaRPr lang="en-US" sz="1500" b="1">
              <a:solidFill>
                <a:srgbClr val="FFFFFF"/>
              </a:solidFill>
            </a:endParaRPr>
          </a:p>
        </p:txBody>
      </p:sp>
      <p:sp>
        <p:nvSpPr>
          <p:cNvPr id="50" name="Rectangle 6">
            <a:extLst>
              <a:ext uri="{FF2B5EF4-FFF2-40B4-BE49-F238E27FC236}">
                <a16:creationId xmlns:a16="http://schemas.microsoft.com/office/drawing/2014/main" id="{A01A4B12-421A-47E4-9949-CAE7A40A2C72}"/>
              </a:ext>
            </a:extLst>
          </p:cNvPr>
          <p:cNvSpPr/>
          <p:nvPr/>
        </p:nvSpPr>
        <p:spPr bwMode="gray">
          <a:xfrm>
            <a:off x="5650192" y="3579092"/>
            <a:ext cx="1996118" cy="8640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2" tIns="180000" rIns="91422" bIns="45710" rtlCol="0" anchor="ctr" anchorCtr="0"/>
          <a:lstStyle/>
          <a:p>
            <a:r>
              <a:rPr lang="en-US" sz="1600" b="1"/>
              <a:t>Machine translation </a:t>
            </a:r>
          </a:p>
        </p:txBody>
      </p:sp>
      <p:sp>
        <p:nvSpPr>
          <p:cNvPr id="51" name="Rectangle 6">
            <a:extLst>
              <a:ext uri="{FF2B5EF4-FFF2-40B4-BE49-F238E27FC236}">
                <a16:creationId xmlns:a16="http://schemas.microsoft.com/office/drawing/2014/main" id="{EE6F712D-953E-4444-A770-6D44003F00CF}"/>
              </a:ext>
            </a:extLst>
          </p:cNvPr>
          <p:cNvSpPr/>
          <p:nvPr/>
        </p:nvSpPr>
        <p:spPr bwMode="gray">
          <a:xfrm>
            <a:off x="875675" y="4579758"/>
            <a:ext cx="1996118" cy="8640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2" tIns="180000" rIns="91422" bIns="45710" rtlCol="0" anchor="ctr" anchorCtr="0"/>
          <a:lstStyle/>
          <a:p>
            <a:r>
              <a:rPr lang="en-US" sz="1600" b="1"/>
              <a:t>Intent identification </a:t>
            </a:r>
          </a:p>
        </p:txBody>
      </p:sp>
      <p:sp>
        <p:nvSpPr>
          <p:cNvPr id="52" name="Rectangle 6">
            <a:extLst>
              <a:ext uri="{FF2B5EF4-FFF2-40B4-BE49-F238E27FC236}">
                <a16:creationId xmlns:a16="http://schemas.microsoft.com/office/drawing/2014/main" id="{BCA277E6-116D-49F5-97AB-99BFC45C15EA}"/>
              </a:ext>
            </a:extLst>
          </p:cNvPr>
          <p:cNvSpPr/>
          <p:nvPr/>
        </p:nvSpPr>
        <p:spPr bwMode="gray">
          <a:xfrm>
            <a:off x="3271795" y="4579758"/>
            <a:ext cx="1996118" cy="8640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2" tIns="180000" rIns="91422" bIns="45710" rtlCol="0" anchor="ctr" anchorCtr="0"/>
          <a:lstStyle/>
          <a:p>
            <a:r>
              <a:rPr lang="en-US" sz="1600" b="1"/>
              <a:t>Auto-correct </a:t>
            </a:r>
          </a:p>
        </p:txBody>
      </p:sp>
      <p:sp>
        <p:nvSpPr>
          <p:cNvPr id="53" name="Rectangle 6">
            <a:extLst>
              <a:ext uri="{FF2B5EF4-FFF2-40B4-BE49-F238E27FC236}">
                <a16:creationId xmlns:a16="http://schemas.microsoft.com/office/drawing/2014/main" id="{6A43DC38-6CDE-4827-96BE-63AA6356A2FC}"/>
              </a:ext>
            </a:extLst>
          </p:cNvPr>
          <p:cNvSpPr/>
          <p:nvPr/>
        </p:nvSpPr>
        <p:spPr bwMode="gray">
          <a:xfrm>
            <a:off x="5667914" y="4579758"/>
            <a:ext cx="1996118" cy="8640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2" tIns="180000" rIns="91422" bIns="45710" rtlCol="0" anchor="ctr" anchorCtr="0"/>
          <a:lstStyle/>
          <a:p>
            <a:r>
              <a:rPr lang="en-US" sz="1600" b="1"/>
              <a:t>Customer voice and Market  intelligence </a:t>
            </a:r>
          </a:p>
        </p:txBody>
      </p:sp>
      <p:sp>
        <p:nvSpPr>
          <p:cNvPr id="54" name="SingleChevron 13">
            <a:extLst>
              <a:ext uri="{FF2B5EF4-FFF2-40B4-BE49-F238E27FC236}">
                <a16:creationId xmlns:a16="http://schemas.microsoft.com/office/drawing/2014/main" id="{553BFB4B-954C-4EC3-8DD3-35BC1DB1ABCB}"/>
              </a:ext>
            </a:extLst>
          </p:cNvPr>
          <p:cNvSpPr>
            <a:spLocks noChangeAspect="1"/>
          </p:cNvSpPr>
          <p:nvPr>
            <p:custDataLst>
              <p:tags r:id="rId1"/>
            </p:custDataLst>
          </p:nvPr>
        </p:nvSpPr>
        <p:spPr bwMode="gray">
          <a:xfrm rot="10800000">
            <a:off x="8124268" y="3685892"/>
            <a:ext cx="284550" cy="6504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300" b="0" i="0" u="none" baseline="0">
              <a:solidFill>
                <a:srgbClr val="FFFFFF"/>
              </a:solidFill>
              <a:latin typeface="Arial"/>
            </a:endParaRPr>
          </a:p>
        </p:txBody>
      </p:sp>
      <p:pic>
        <p:nvPicPr>
          <p:cNvPr id="56" name="Picture 55">
            <a:extLst>
              <a:ext uri="{FF2B5EF4-FFF2-40B4-BE49-F238E27FC236}">
                <a16:creationId xmlns:a16="http://schemas.microsoft.com/office/drawing/2014/main" id="{80E81817-4E65-414B-BC80-485D7F6E338E}"/>
              </a:ext>
            </a:extLst>
          </p:cNvPr>
          <p:cNvPicPr>
            <a:picLocks noChangeAspect="1"/>
          </p:cNvPicPr>
          <p:nvPr/>
        </p:nvPicPr>
        <p:blipFill>
          <a:blip r:embed="rId5"/>
          <a:stretch>
            <a:fillRect/>
          </a:stretch>
        </p:blipFill>
        <p:spPr>
          <a:xfrm>
            <a:off x="762411" y="2136632"/>
            <a:ext cx="7332272" cy="3519490"/>
          </a:xfrm>
          <a:prstGeom prst="rect">
            <a:avLst/>
          </a:prstGeom>
          <a:noFill/>
        </p:spPr>
      </p:pic>
      <p:pic>
        <p:nvPicPr>
          <p:cNvPr id="57" name="Picture 56" descr="Machine generated alternative text:&#10;Google &#10;what are the indications of xarelto &#10;Q All 19 News Images @ Videos &#10;About 347.000 results (0,57 seconds) &#10;Indications for XARELTO. &#10;Shopping &#10;More &#10;Settings &#10;Tools &#10;To reduce the risk of stroke and systemic embolism in patients &#10;With nonvalvular atrial fibrillation_ Treatment of deep vein &#10;thrombosis (DVT), pulmonary embolism (PE). &#10;) ) Thromboemöolic disorders • &#10;w.wv_empr.com &#10;XARELTO Dosage &amp; Rx Info I Uses, Side Effects - MPR &#10;About Featured Snippets &#10;20 &#10;Feedback ">
            <a:extLst>
              <a:ext uri="{FF2B5EF4-FFF2-40B4-BE49-F238E27FC236}">
                <a16:creationId xmlns:a16="http://schemas.microsoft.com/office/drawing/2014/main" id="{0767743A-FD82-435A-96F4-15E33A40BAD0}"/>
              </a:ext>
            </a:extLst>
          </p:cNvPr>
          <p:cNvPicPr/>
          <p:nvPr/>
        </p:nvPicPr>
        <p:blipFill>
          <a:blip r:embed="rId6">
            <a:extLst>
              <a:ext uri="{28A0092B-C50C-407E-A947-70E740481C1C}">
                <a14:useLocalDpi xmlns:a14="http://schemas.microsoft.com/office/drawing/2010/main"/>
              </a:ext>
            </a:extLst>
          </a:blip>
          <a:stretch>
            <a:fillRect/>
          </a:stretch>
        </p:blipFill>
        <p:spPr bwMode="auto">
          <a:xfrm>
            <a:off x="810628" y="2180035"/>
            <a:ext cx="7042624" cy="3516577"/>
          </a:xfrm>
          <a:prstGeom prst="rect">
            <a:avLst/>
          </a:prstGeom>
          <a:noFill/>
          <a:ln>
            <a:noFill/>
          </a:ln>
        </p:spPr>
      </p:pic>
      <p:pic>
        <p:nvPicPr>
          <p:cNvPr id="9" name="Picture 8">
            <a:extLst>
              <a:ext uri="{FF2B5EF4-FFF2-40B4-BE49-F238E27FC236}">
                <a16:creationId xmlns:a16="http://schemas.microsoft.com/office/drawing/2014/main" id="{CCAAC85F-B67C-46B5-A6AC-B444301931D6}"/>
              </a:ext>
            </a:extLst>
          </p:cNvPr>
          <p:cNvPicPr>
            <a:picLocks noChangeAspect="1"/>
          </p:cNvPicPr>
          <p:nvPr/>
        </p:nvPicPr>
        <p:blipFill>
          <a:blip r:embed="rId7"/>
          <a:stretch>
            <a:fillRect/>
          </a:stretch>
        </p:blipFill>
        <p:spPr>
          <a:xfrm>
            <a:off x="1033721" y="2119271"/>
            <a:ext cx="6197668" cy="4072572"/>
          </a:xfrm>
          <a:prstGeom prst="rect">
            <a:avLst/>
          </a:prstGeom>
        </p:spPr>
      </p:pic>
      <p:sp>
        <p:nvSpPr>
          <p:cNvPr id="10" name="Rectangle 9">
            <a:extLst>
              <a:ext uri="{FF2B5EF4-FFF2-40B4-BE49-F238E27FC236}">
                <a16:creationId xmlns:a16="http://schemas.microsoft.com/office/drawing/2014/main" id="{AB4127C1-6C67-4AC5-A7DF-56C77A491E75}"/>
              </a:ext>
            </a:extLst>
          </p:cNvPr>
          <p:cNvSpPr/>
          <p:nvPr/>
        </p:nvSpPr>
        <p:spPr bwMode="gray">
          <a:xfrm>
            <a:off x="296588" y="1914630"/>
            <a:ext cx="8020050" cy="4571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E5A4F71-C308-47AB-AC0E-8F5EFCA94EEC}"/>
              </a:ext>
            </a:extLst>
          </p:cNvPr>
          <p:cNvSpPr/>
          <p:nvPr/>
        </p:nvSpPr>
        <p:spPr bwMode="gray">
          <a:xfrm>
            <a:off x="457716" y="1958150"/>
            <a:ext cx="7666552" cy="4358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a:extLst>
              <a:ext uri="{FF2B5EF4-FFF2-40B4-BE49-F238E27FC236}">
                <a16:creationId xmlns:a16="http://schemas.microsoft.com/office/drawing/2014/main" id="{C68EDB9A-B986-4DC2-9134-B6B4A7188A60}"/>
              </a:ext>
            </a:extLst>
          </p:cNvPr>
          <p:cNvGrpSpPr/>
          <p:nvPr/>
        </p:nvGrpSpPr>
        <p:grpSpPr>
          <a:xfrm>
            <a:off x="470422" y="3053027"/>
            <a:ext cx="7386307" cy="605537"/>
            <a:chOff x="1344806" y="2327520"/>
            <a:chExt cx="8254080" cy="759960"/>
          </a:xfrm>
        </p:grpSpPr>
        <p:grpSp>
          <p:nvGrpSpPr>
            <p:cNvPr id="59" name="Group 58">
              <a:extLst>
                <a:ext uri="{FF2B5EF4-FFF2-40B4-BE49-F238E27FC236}">
                  <a16:creationId xmlns:a16="http://schemas.microsoft.com/office/drawing/2014/main" id="{49763873-6F97-4E04-91CD-95B040E87295}"/>
                </a:ext>
              </a:extLst>
            </p:cNvPr>
            <p:cNvGrpSpPr/>
            <p:nvPr/>
          </p:nvGrpSpPr>
          <p:grpSpPr>
            <a:xfrm>
              <a:off x="1344806" y="2515800"/>
              <a:ext cx="659160" cy="393480"/>
              <a:chOff x="1344806" y="2515800"/>
              <a:chExt cx="659160" cy="393480"/>
            </a:xfrm>
          </p:grpSpPr>
          <mc:AlternateContent xmlns:mc="http://schemas.openxmlformats.org/markup-compatibility/2006" xmlns:p14="http://schemas.microsoft.com/office/powerpoint/2010/main">
            <mc:Choice Requires="p14">
              <p:contentPart p14:bwMode="auto" r:id="rId8">
                <p14:nvContentPartPr>
                  <p14:cNvPr id="86" name="Ink 85">
                    <a:extLst>
                      <a:ext uri="{FF2B5EF4-FFF2-40B4-BE49-F238E27FC236}">
                        <a16:creationId xmlns:a16="http://schemas.microsoft.com/office/drawing/2014/main" id="{77A0C2D2-AC50-4DD4-8C20-0A5041F38B0B}"/>
                      </a:ext>
                    </a:extLst>
                  </p14:cNvPr>
                  <p14:cNvContentPartPr/>
                  <p14:nvPr/>
                </p14:nvContentPartPr>
                <p14:xfrm>
                  <a:off x="1453526" y="2516880"/>
                  <a:ext cx="107640" cy="369000"/>
                </p14:xfrm>
              </p:contentPart>
            </mc:Choice>
            <mc:Fallback xmlns="">
              <p:pic>
                <p:nvPicPr>
                  <p:cNvPr id="86" name="Ink 85">
                    <a:extLst>
                      <a:ext uri="{FF2B5EF4-FFF2-40B4-BE49-F238E27FC236}">
                        <a16:creationId xmlns:a16="http://schemas.microsoft.com/office/drawing/2014/main" id="{77A0C2D2-AC50-4DD4-8C20-0A5041F38B0B}"/>
                      </a:ext>
                    </a:extLst>
                  </p:cNvPr>
                  <p:cNvPicPr/>
                  <p:nvPr/>
                </p:nvPicPr>
                <p:blipFill>
                  <a:blip r:embed="rId9"/>
                  <a:stretch>
                    <a:fillRect/>
                  </a:stretch>
                </p:blipFill>
                <p:spPr>
                  <a:xfrm>
                    <a:off x="1437400" y="2498814"/>
                    <a:ext cx="139085" cy="404229"/>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87" name="Ink 86">
                    <a:extLst>
                      <a:ext uri="{FF2B5EF4-FFF2-40B4-BE49-F238E27FC236}">
                        <a16:creationId xmlns:a16="http://schemas.microsoft.com/office/drawing/2014/main" id="{F2AAC764-BDB6-4AC6-8F80-25CE2D1C5C65}"/>
                      </a:ext>
                    </a:extLst>
                  </p14:cNvPr>
                  <p14:cNvContentPartPr/>
                  <p14:nvPr/>
                </p14:nvContentPartPr>
                <p14:xfrm>
                  <a:off x="1344806" y="2515800"/>
                  <a:ext cx="293400" cy="127800"/>
                </p14:xfrm>
              </p:contentPart>
            </mc:Choice>
            <mc:Fallback xmlns="">
              <p:pic>
                <p:nvPicPr>
                  <p:cNvPr id="87" name="Ink 86">
                    <a:extLst>
                      <a:ext uri="{FF2B5EF4-FFF2-40B4-BE49-F238E27FC236}">
                        <a16:creationId xmlns:a16="http://schemas.microsoft.com/office/drawing/2014/main" id="{F2AAC764-BDB6-4AC6-8F80-25CE2D1C5C65}"/>
                      </a:ext>
                    </a:extLst>
                  </p:cNvPr>
                  <p:cNvPicPr/>
                  <p:nvPr/>
                </p:nvPicPr>
                <p:blipFill>
                  <a:blip r:embed="rId11"/>
                  <a:stretch>
                    <a:fillRect/>
                  </a:stretch>
                </p:blipFill>
                <p:spPr>
                  <a:xfrm>
                    <a:off x="1328707" y="2497736"/>
                    <a:ext cx="324793" cy="163024"/>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8" name="Ink 87">
                    <a:extLst>
                      <a:ext uri="{FF2B5EF4-FFF2-40B4-BE49-F238E27FC236}">
                        <a16:creationId xmlns:a16="http://schemas.microsoft.com/office/drawing/2014/main" id="{3CE125B4-9D49-4D17-98B5-CF513577AE98}"/>
                      </a:ext>
                    </a:extLst>
                  </p14:cNvPr>
                  <p14:cNvContentPartPr/>
                  <p14:nvPr/>
                </p14:nvContentPartPr>
                <p14:xfrm>
                  <a:off x="1659806" y="2516520"/>
                  <a:ext cx="140760" cy="392760"/>
                </p14:xfrm>
              </p:contentPart>
            </mc:Choice>
            <mc:Fallback xmlns="">
              <p:pic>
                <p:nvPicPr>
                  <p:cNvPr id="88" name="Ink 87">
                    <a:extLst>
                      <a:ext uri="{FF2B5EF4-FFF2-40B4-BE49-F238E27FC236}">
                        <a16:creationId xmlns:a16="http://schemas.microsoft.com/office/drawing/2014/main" id="{3CE125B4-9D49-4D17-98B5-CF513577AE98}"/>
                      </a:ext>
                    </a:extLst>
                  </p:cNvPr>
                  <p:cNvPicPr/>
                  <p:nvPr/>
                </p:nvPicPr>
                <p:blipFill>
                  <a:blip r:embed="rId13"/>
                  <a:stretch>
                    <a:fillRect/>
                  </a:stretch>
                </p:blipFill>
                <p:spPr>
                  <a:xfrm>
                    <a:off x="1643719" y="2498462"/>
                    <a:ext cx="172129" cy="427973"/>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89" name="Ink 88">
                    <a:extLst>
                      <a:ext uri="{FF2B5EF4-FFF2-40B4-BE49-F238E27FC236}">
                        <a16:creationId xmlns:a16="http://schemas.microsoft.com/office/drawing/2014/main" id="{05D4678D-7F21-4A4C-9DE5-020EFF7CCC07}"/>
                      </a:ext>
                    </a:extLst>
                  </p14:cNvPr>
                  <p14:cNvContentPartPr/>
                  <p14:nvPr/>
                </p14:nvContentPartPr>
                <p14:xfrm>
                  <a:off x="1870406" y="2676720"/>
                  <a:ext cx="133560" cy="163800"/>
                </p14:xfrm>
              </p:contentPart>
            </mc:Choice>
            <mc:Fallback xmlns="">
              <p:pic>
                <p:nvPicPr>
                  <p:cNvPr id="89" name="Ink 88">
                    <a:extLst>
                      <a:ext uri="{FF2B5EF4-FFF2-40B4-BE49-F238E27FC236}">
                        <a16:creationId xmlns:a16="http://schemas.microsoft.com/office/drawing/2014/main" id="{05D4678D-7F21-4A4C-9DE5-020EFF7CCC07}"/>
                      </a:ext>
                    </a:extLst>
                  </p:cNvPr>
                  <p:cNvPicPr/>
                  <p:nvPr/>
                </p:nvPicPr>
                <p:blipFill>
                  <a:blip r:embed="rId15"/>
                  <a:stretch>
                    <a:fillRect/>
                  </a:stretch>
                </p:blipFill>
                <p:spPr>
                  <a:xfrm>
                    <a:off x="1854314" y="2658670"/>
                    <a:ext cx="164939" cy="198997"/>
                  </a:xfrm>
                  <a:prstGeom prst="rect">
                    <a:avLst/>
                  </a:prstGeom>
                </p:spPr>
              </p:pic>
            </mc:Fallback>
          </mc:AlternateContent>
        </p:grpSp>
        <p:grpSp>
          <p:nvGrpSpPr>
            <p:cNvPr id="60" name="Group 59">
              <a:extLst>
                <a:ext uri="{FF2B5EF4-FFF2-40B4-BE49-F238E27FC236}">
                  <a16:creationId xmlns:a16="http://schemas.microsoft.com/office/drawing/2014/main" id="{3629D0F7-87AA-4172-83B0-3346C9269A4E}"/>
                </a:ext>
              </a:extLst>
            </p:cNvPr>
            <p:cNvGrpSpPr/>
            <p:nvPr/>
          </p:nvGrpSpPr>
          <p:grpSpPr>
            <a:xfrm>
              <a:off x="2291966" y="2413200"/>
              <a:ext cx="1426320" cy="451800"/>
              <a:chOff x="2291966" y="2413200"/>
              <a:chExt cx="1426320" cy="451800"/>
            </a:xfrm>
          </p:grpSpPr>
          <mc:AlternateContent xmlns:mc="http://schemas.openxmlformats.org/markup-compatibility/2006" xmlns:p14="http://schemas.microsoft.com/office/powerpoint/2010/main">
            <mc:Choice Requires="p14">
              <p:contentPart p14:bwMode="auto" r:id="rId16">
                <p14:nvContentPartPr>
                  <p14:cNvPr id="76" name="Ink 75">
                    <a:extLst>
                      <a:ext uri="{FF2B5EF4-FFF2-40B4-BE49-F238E27FC236}">
                        <a16:creationId xmlns:a16="http://schemas.microsoft.com/office/drawing/2014/main" id="{333C21E1-9576-43B8-84C6-B4238A4A2E6A}"/>
                      </a:ext>
                    </a:extLst>
                  </p14:cNvPr>
                  <p14:cNvContentPartPr/>
                  <p14:nvPr/>
                </p14:nvContentPartPr>
                <p14:xfrm>
                  <a:off x="2291966" y="2677440"/>
                  <a:ext cx="99000" cy="187560"/>
                </p14:xfrm>
              </p:contentPart>
            </mc:Choice>
            <mc:Fallback xmlns="">
              <p:pic>
                <p:nvPicPr>
                  <p:cNvPr id="76" name="Ink 75">
                    <a:extLst>
                      <a:ext uri="{FF2B5EF4-FFF2-40B4-BE49-F238E27FC236}">
                        <a16:creationId xmlns:a16="http://schemas.microsoft.com/office/drawing/2014/main" id="{333C21E1-9576-43B8-84C6-B4238A4A2E6A}"/>
                      </a:ext>
                    </a:extLst>
                  </p:cNvPr>
                  <p:cNvPicPr/>
                  <p:nvPr/>
                </p:nvPicPr>
                <p:blipFill>
                  <a:blip r:embed="rId17"/>
                  <a:stretch>
                    <a:fillRect/>
                  </a:stretch>
                </p:blipFill>
                <p:spPr>
                  <a:xfrm>
                    <a:off x="2275868" y="2659405"/>
                    <a:ext cx="130390" cy="222728"/>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77" name="Ink 76">
                    <a:extLst>
                      <a:ext uri="{FF2B5EF4-FFF2-40B4-BE49-F238E27FC236}">
                        <a16:creationId xmlns:a16="http://schemas.microsoft.com/office/drawing/2014/main" id="{1F63A1B8-4F84-4BC8-9297-29A3E5410EC0}"/>
                      </a:ext>
                    </a:extLst>
                  </p14:cNvPr>
                  <p14:cNvContentPartPr/>
                  <p14:nvPr/>
                </p14:nvContentPartPr>
                <p14:xfrm>
                  <a:off x="2440646" y="2471160"/>
                  <a:ext cx="49680" cy="217080"/>
                </p14:xfrm>
              </p:contentPart>
            </mc:Choice>
            <mc:Fallback xmlns="">
              <p:pic>
                <p:nvPicPr>
                  <p:cNvPr id="77" name="Ink 76">
                    <a:extLst>
                      <a:ext uri="{FF2B5EF4-FFF2-40B4-BE49-F238E27FC236}">
                        <a16:creationId xmlns:a16="http://schemas.microsoft.com/office/drawing/2014/main" id="{1F63A1B8-4F84-4BC8-9297-29A3E5410EC0}"/>
                      </a:ext>
                    </a:extLst>
                  </p:cNvPr>
                  <p:cNvPicPr/>
                  <p:nvPr/>
                </p:nvPicPr>
                <p:blipFill>
                  <a:blip r:embed="rId19"/>
                  <a:stretch>
                    <a:fillRect/>
                  </a:stretch>
                </p:blipFill>
                <p:spPr>
                  <a:xfrm>
                    <a:off x="2424620" y="2453108"/>
                    <a:ext cx="80930" cy="252282"/>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78" name="Ink 77">
                    <a:extLst>
                      <a:ext uri="{FF2B5EF4-FFF2-40B4-BE49-F238E27FC236}">
                        <a16:creationId xmlns:a16="http://schemas.microsoft.com/office/drawing/2014/main" id="{03C592D0-7120-4837-9812-480EE8146634}"/>
                      </a:ext>
                    </a:extLst>
                  </p14:cNvPr>
                  <p14:cNvContentPartPr/>
                  <p14:nvPr/>
                </p14:nvContentPartPr>
                <p14:xfrm>
                  <a:off x="2295206" y="2488440"/>
                  <a:ext cx="287640" cy="33840"/>
                </p14:xfrm>
              </p:contentPart>
            </mc:Choice>
            <mc:Fallback xmlns="">
              <p:pic>
                <p:nvPicPr>
                  <p:cNvPr id="78" name="Ink 77">
                    <a:extLst>
                      <a:ext uri="{FF2B5EF4-FFF2-40B4-BE49-F238E27FC236}">
                        <a16:creationId xmlns:a16="http://schemas.microsoft.com/office/drawing/2014/main" id="{03C592D0-7120-4837-9812-480EE8146634}"/>
                      </a:ext>
                    </a:extLst>
                  </p:cNvPr>
                  <p:cNvPicPr/>
                  <p:nvPr/>
                </p:nvPicPr>
                <p:blipFill>
                  <a:blip r:embed="rId21"/>
                  <a:stretch>
                    <a:fillRect/>
                  </a:stretch>
                </p:blipFill>
                <p:spPr>
                  <a:xfrm>
                    <a:off x="2279114" y="2470392"/>
                    <a:ext cx="319019" cy="69034"/>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79" name="Ink 78">
                    <a:extLst>
                      <a:ext uri="{FF2B5EF4-FFF2-40B4-BE49-F238E27FC236}">
                        <a16:creationId xmlns:a16="http://schemas.microsoft.com/office/drawing/2014/main" id="{592B6E7C-D73A-4846-A6C9-884B2297A28C}"/>
                      </a:ext>
                    </a:extLst>
                  </p14:cNvPr>
                  <p14:cNvContentPartPr/>
                  <p14:nvPr/>
                </p14:nvContentPartPr>
                <p14:xfrm>
                  <a:off x="2616686" y="2614800"/>
                  <a:ext cx="136440" cy="161280"/>
                </p14:xfrm>
              </p:contentPart>
            </mc:Choice>
            <mc:Fallback xmlns="">
              <p:pic>
                <p:nvPicPr>
                  <p:cNvPr id="79" name="Ink 78">
                    <a:extLst>
                      <a:ext uri="{FF2B5EF4-FFF2-40B4-BE49-F238E27FC236}">
                        <a16:creationId xmlns:a16="http://schemas.microsoft.com/office/drawing/2014/main" id="{592B6E7C-D73A-4846-A6C9-884B2297A28C}"/>
                      </a:ext>
                    </a:extLst>
                  </p:cNvPr>
                  <p:cNvPicPr/>
                  <p:nvPr/>
                </p:nvPicPr>
                <p:blipFill>
                  <a:blip r:embed="rId23"/>
                  <a:stretch>
                    <a:fillRect/>
                  </a:stretch>
                </p:blipFill>
                <p:spPr>
                  <a:xfrm>
                    <a:off x="2600587" y="2596729"/>
                    <a:ext cx="167833" cy="196518"/>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80" name="Ink 79">
                    <a:extLst>
                      <a:ext uri="{FF2B5EF4-FFF2-40B4-BE49-F238E27FC236}">
                        <a16:creationId xmlns:a16="http://schemas.microsoft.com/office/drawing/2014/main" id="{E79F5790-696D-40E9-97C8-B2C8D10D90DC}"/>
                      </a:ext>
                    </a:extLst>
                  </p14:cNvPr>
                  <p14:cNvContentPartPr/>
                  <p14:nvPr/>
                </p14:nvContentPartPr>
                <p14:xfrm>
                  <a:off x="2832686" y="2413200"/>
                  <a:ext cx="149040" cy="376560"/>
                </p14:xfrm>
              </p:contentPart>
            </mc:Choice>
            <mc:Fallback xmlns="">
              <p:pic>
                <p:nvPicPr>
                  <p:cNvPr id="80" name="Ink 79">
                    <a:extLst>
                      <a:ext uri="{FF2B5EF4-FFF2-40B4-BE49-F238E27FC236}">
                        <a16:creationId xmlns:a16="http://schemas.microsoft.com/office/drawing/2014/main" id="{E79F5790-696D-40E9-97C8-B2C8D10D90DC}"/>
                      </a:ext>
                    </a:extLst>
                  </p:cNvPr>
                  <p:cNvPicPr/>
                  <p:nvPr/>
                </p:nvPicPr>
                <p:blipFill>
                  <a:blip r:embed="rId25"/>
                  <a:stretch>
                    <a:fillRect/>
                  </a:stretch>
                </p:blipFill>
                <p:spPr>
                  <a:xfrm>
                    <a:off x="2816574" y="2395140"/>
                    <a:ext cx="180459" cy="411778"/>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81" name="Ink 80">
                    <a:extLst>
                      <a:ext uri="{FF2B5EF4-FFF2-40B4-BE49-F238E27FC236}">
                        <a16:creationId xmlns:a16="http://schemas.microsoft.com/office/drawing/2014/main" id="{ECC5245A-713A-4F5E-81BE-73CAE17369D1}"/>
                      </a:ext>
                    </a:extLst>
                  </p14:cNvPr>
                  <p14:cNvContentPartPr/>
                  <p14:nvPr/>
                </p14:nvContentPartPr>
                <p14:xfrm>
                  <a:off x="3078566" y="2586000"/>
                  <a:ext cx="92880" cy="217440"/>
                </p14:xfrm>
              </p:contentPart>
            </mc:Choice>
            <mc:Fallback xmlns="">
              <p:pic>
                <p:nvPicPr>
                  <p:cNvPr id="81" name="Ink 80">
                    <a:extLst>
                      <a:ext uri="{FF2B5EF4-FFF2-40B4-BE49-F238E27FC236}">
                        <a16:creationId xmlns:a16="http://schemas.microsoft.com/office/drawing/2014/main" id="{ECC5245A-713A-4F5E-81BE-73CAE17369D1}"/>
                      </a:ext>
                    </a:extLst>
                  </p:cNvPr>
                  <p:cNvPicPr/>
                  <p:nvPr/>
                </p:nvPicPr>
                <p:blipFill>
                  <a:blip r:embed="rId27"/>
                  <a:stretch>
                    <a:fillRect/>
                  </a:stretch>
                </p:blipFill>
                <p:spPr>
                  <a:xfrm>
                    <a:off x="3062483" y="2567918"/>
                    <a:ext cx="124242" cy="252701"/>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82" name="Ink 81">
                    <a:extLst>
                      <a:ext uri="{FF2B5EF4-FFF2-40B4-BE49-F238E27FC236}">
                        <a16:creationId xmlns:a16="http://schemas.microsoft.com/office/drawing/2014/main" id="{CA5DE5E0-306A-413D-9295-1198EFBC86CA}"/>
                      </a:ext>
                    </a:extLst>
                  </p14:cNvPr>
                  <p14:cNvContentPartPr/>
                  <p14:nvPr/>
                </p14:nvContentPartPr>
                <p14:xfrm>
                  <a:off x="3293126" y="2679240"/>
                  <a:ext cx="119880" cy="166320"/>
                </p14:xfrm>
              </p:contentPart>
            </mc:Choice>
            <mc:Fallback xmlns="">
              <p:pic>
                <p:nvPicPr>
                  <p:cNvPr id="82" name="Ink 81">
                    <a:extLst>
                      <a:ext uri="{FF2B5EF4-FFF2-40B4-BE49-F238E27FC236}">
                        <a16:creationId xmlns:a16="http://schemas.microsoft.com/office/drawing/2014/main" id="{CA5DE5E0-306A-413D-9295-1198EFBC86CA}"/>
                      </a:ext>
                    </a:extLst>
                  </p:cNvPr>
                  <p:cNvPicPr/>
                  <p:nvPr/>
                </p:nvPicPr>
                <p:blipFill>
                  <a:blip r:embed="rId29"/>
                  <a:stretch>
                    <a:fillRect/>
                  </a:stretch>
                </p:blipFill>
                <p:spPr>
                  <a:xfrm>
                    <a:off x="3277035" y="2661162"/>
                    <a:ext cx="151258" cy="201573"/>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83" name="Ink 82">
                    <a:extLst>
                      <a:ext uri="{FF2B5EF4-FFF2-40B4-BE49-F238E27FC236}">
                        <a16:creationId xmlns:a16="http://schemas.microsoft.com/office/drawing/2014/main" id="{8718688B-FC31-4715-9109-17457E497433}"/>
                      </a:ext>
                    </a:extLst>
                  </p14:cNvPr>
                  <p14:cNvContentPartPr/>
                  <p14:nvPr/>
                </p14:nvContentPartPr>
                <p14:xfrm>
                  <a:off x="3437486" y="2467560"/>
                  <a:ext cx="65160" cy="331920"/>
                </p14:xfrm>
              </p:contentPart>
            </mc:Choice>
            <mc:Fallback xmlns="">
              <p:pic>
                <p:nvPicPr>
                  <p:cNvPr id="83" name="Ink 82">
                    <a:extLst>
                      <a:ext uri="{FF2B5EF4-FFF2-40B4-BE49-F238E27FC236}">
                        <a16:creationId xmlns:a16="http://schemas.microsoft.com/office/drawing/2014/main" id="{8718688B-FC31-4715-9109-17457E497433}"/>
                      </a:ext>
                    </a:extLst>
                  </p:cNvPr>
                  <p:cNvPicPr/>
                  <p:nvPr/>
                </p:nvPicPr>
                <p:blipFill>
                  <a:blip r:embed="rId31"/>
                  <a:stretch>
                    <a:fillRect/>
                  </a:stretch>
                </p:blipFill>
                <p:spPr>
                  <a:xfrm>
                    <a:off x="3421297" y="2449496"/>
                    <a:ext cx="96728" cy="367144"/>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84" name="Ink 83">
                    <a:extLst>
                      <a:ext uri="{FF2B5EF4-FFF2-40B4-BE49-F238E27FC236}">
                        <a16:creationId xmlns:a16="http://schemas.microsoft.com/office/drawing/2014/main" id="{47F103A3-993E-43B3-B6B6-77DE0288B71F}"/>
                      </a:ext>
                    </a:extLst>
                  </p14:cNvPr>
                  <p14:cNvContentPartPr/>
                  <p14:nvPr/>
                </p14:nvContentPartPr>
                <p14:xfrm>
                  <a:off x="3293126" y="2478720"/>
                  <a:ext cx="305640" cy="72000"/>
                </p14:xfrm>
              </p:contentPart>
            </mc:Choice>
            <mc:Fallback xmlns="">
              <p:pic>
                <p:nvPicPr>
                  <p:cNvPr id="84" name="Ink 83">
                    <a:extLst>
                      <a:ext uri="{FF2B5EF4-FFF2-40B4-BE49-F238E27FC236}">
                        <a16:creationId xmlns:a16="http://schemas.microsoft.com/office/drawing/2014/main" id="{47F103A3-993E-43B3-B6B6-77DE0288B71F}"/>
                      </a:ext>
                    </a:extLst>
                  </p:cNvPr>
                  <p:cNvPicPr/>
                  <p:nvPr/>
                </p:nvPicPr>
                <p:blipFill>
                  <a:blip r:embed="rId33"/>
                  <a:stretch>
                    <a:fillRect/>
                  </a:stretch>
                </p:blipFill>
                <p:spPr>
                  <a:xfrm>
                    <a:off x="3277018" y="2460720"/>
                    <a:ext cx="337050" cy="10710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85" name="Ink 84">
                    <a:extLst>
                      <a:ext uri="{FF2B5EF4-FFF2-40B4-BE49-F238E27FC236}">
                        <a16:creationId xmlns:a16="http://schemas.microsoft.com/office/drawing/2014/main" id="{DC34C388-B60F-4820-B6D8-0A53EF1DB07D}"/>
                      </a:ext>
                    </a:extLst>
                  </p14:cNvPr>
                  <p14:cNvContentPartPr/>
                  <p14:nvPr/>
                </p14:nvContentPartPr>
                <p14:xfrm>
                  <a:off x="3612086" y="2617320"/>
                  <a:ext cx="106200" cy="218160"/>
                </p14:xfrm>
              </p:contentPart>
            </mc:Choice>
            <mc:Fallback xmlns="">
              <p:pic>
                <p:nvPicPr>
                  <p:cNvPr id="85" name="Ink 84">
                    <a:extLst>
                      <a:ext uri="{FF2B5EF4-FFF2-40B4-BE49-F238E27FC236}">
                        <a16:creationId xmlns:a16="http://schemas.microsoft.com/office/drawing/2014/main" id="{DC34C388-B60F-4820-B6D8-0A53EF1DB07D}"/>
                      </a:ext>
                    </a:extLst>
                  </p:cNvPr>
                  <p:cNvPicPr/>
                  <p:nvPr/>
                </p:nvPicPr>
                <p:blipFill>
                  <a:blip r:embed="rId35"/>
                  <a:stretch>
                    <a:fillRect/>
                  </a:stretch>
                </p:blipFill>
                <p:spPr>
                  <a:xfrm>
                    <a:off x="3595995" y="2599253"/>
                    <a:ext cx="137577" cy="253391"/>
                  </a:xfrm>
                  <a:prstGeom prst="rect">
                    <a:avLst/>
                  </a:prstGeom>
                </p:spPr>
              </p:pic>
            </mc:Fallback>
          </mc:AlternateContent>
        </p:grpSp>
        <p:grpSp>
          <p:nvGrpSpPr>
            <p:cNvPr id="61" name="Group 60">
              <a:extLst>
                <a:ext uri="{FF2B5EF4-FFF2-40B4-BE49-F238E27FC236}">
                  <a16:creationId xmlns:a16="http://schemas.microsoft.com/office/drawing/2014/main" id="{D049027F-51FB-44B7-9D07-90DDB57A2739}"/>
                </a:ext>
              </a:extLst>
            </p:cNvPr>
            <p:cNvGrpSpPr/>
            <p:nvPr/>
          </p:nvGrpSpPr>
          <p:grpSpPr>
            <a:xfrm>
              <a:off x="4388606" y="2327520"/>
              <a:ext cx="1272600" cy="759960"/>
              <a:chOff x="4388606" y="2327520"/>
              <a:chExt cx="1272600" cy="759960"/>
            </a:xfrm>
          </p:grpSpPr>
          <mc:AlternateContent xmlns:mc="http://schemas.openxmlformats.org/markup-compatibility/2006" xmlns:p14="http://schemas.microsoft.com/office/powerpoint/2010/main">
            <mc:Choice Requires="p14">
              <p:contentPart p14:bwMode="auto" r:id="rId36">
                <p14:nvContentPartPr>
                  <p14:cNvPr id="70" name="Ink 69">
                    <a:extLst>
                      <a:ext uri="{FF2B5EF4-FFF2-40B4-BE49-F238E27FC236}">
                        <a16:creationId xmlns:a16="http://schemas.microsoft.com/office/drawing/2014/main" id="{A907326D-E051-406B-8A52-03692B155C65}"/>
                      </a:ext>
                    </a:extLst>
                  </p14:cNvPr>
                  <p14:cNvContentPartPr/>
                  <p14:nvPr/>
                </p14:nvContentPartPr>
                <p14:xfrm>
                  <a:off x="4388606" y="2656920"/>
                  <a:ext cx="119160" cy="185040"/>
                </p14:xfrm>
              </p:contentPart>
            </mc:Choice>
            <mc:Fallback xmlns="">
              <p:pic>
                <p:nvPicPr>
                  <p:cNvPr id="70" name="Ink 69">
                    <a:extLst>
                      <a:ext uri="{FF2B5EF4-FFF2-40B4-BE49-F238E27FC236}">
                        <a16:creationId xmlns:a16="http://schemas.microsoft.com/office/drawing/2014/main" id="{A907326D-E051-406B-8A52-03692B155C65}"/>
                      </a:ext>
                    </a:extLst>
                  </p:cNvPr>
                  <p:cNvPicPr/>
                  <p:nvPr/>
                </p:nvPicPr>
                <p:blipFill>
                  <a:blip r:embed="rId37"/>
                  <a:stretch>
                    <a:fillRect/>
                  </a:stretch>
                </p:blipFill>
                <p:spPr>
                  <a:xfrm>
                    <a:off x="4372558" y="2638867"/>
                    <a:ext cx="150455" cy="220243"/>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71" name="Ink 70">
                    <a:extLst>
                      <a:ext uri="{FF2B5EF4-FFF2-40B4-BE49-F238E27FC236}">
                        <a16:creationId xmlns:a16="http://schemas.microsoft.com/office/drawing/2014/main" id="{46ED17FC-0FEB-41D7-8E0D-4FE3F1A6B329}"/>
                      </a:ext>
                    </a:extLst>
                  </p14:cNvPr>
                  <p14:cNvContentPartPr/>
                  <p14:nvPr/>
                </p14:nvContentPartPr>
                <p14:xfrm>
                  <a:off x="4560326" y="2633160"/>
                  <a:ext cx="157680" cy="454320"/>
                </p14:xfrm>
              </p:contentPart>
            </mc:Choice>
            <mc:Fallback xmlns="">
              <p:pic>
                <p:nvPicPr>
                  <p:cNvPr id="71" name="Ink 70">
                    <a:extLst>
                      <a:ext uri="{FF2B5EF4-FFF2-40B4-BE49-F238E27FC236}">
                        <a16:creationId xmlns:a16="http://schemas.microsoft.com/office/drawing/2014/main" id="{46ED17FC-0FEB-41D7-8E0D-4FE3F1A6B329}"/>
                      </a:ext>
                    </a:extLst>
                  </p:cNvPr>
                  <p:cNvPicPr/>
                  <p:nvPr/>
                </p:nvPicPr>
                <p:blipFill>
                  <a:blip r:embed="rId39"/>
                  <a:stretch>
                    <a:fillRect/>
                  </a:stretch>
                </p:blipFill>
                <p:spPr>
                  <a:xfrm>
                    <a:off x="4544277" y="2615096"/>
                    <a:ext cx="188975" cy="489546"/>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72" name="Ink 71">
                    <a:extLst>
                      <a:ext uri="{FF2B5EF4-FFF2-40B4-BE49-F238E27FC236}">
                        <a16:creationId xmlns:a16="http://schemas.microsoft.com/office/drawing/2014/main" id="{B4E9429D-A54C-41DC-B0F5-DFC0E63717BF}"/>
                      </a:ext>
                    </a:extLst>
                  </p14:cNvPr>
                  <p14:cNvContentPartPr/>
                  <p14:nvPr/>
                </p14:nvContentPartPr>
                <p14:xfrm>
                  <a:off x="4797566" y="2588880"/>
                  <a:ext cx="92520" cy="275400"/>
                </p14:xfrm>
              </p:contentPart>
            </mc:Choice>
            <mc:Fallback xmlns="">
              <p:pic>
                <p:nvPicPr>
                  <p:cNvPr id="72" name="Ink 71">
                    <a:extLst>
                      <a:ext uri="{FF2B5EF4-FFF2-40B4-BE49-F238E27FC236}">
                        <a16:creationId xmlns:a16="http://schemas.microsoft.com/office/drawing/2014/main" id="{B4E9429D-A54C-41DC-B0F5-DFC0E63717BF}"/>
                      </a:ext>
                    </a:extLst>
                  </p:cNvPr>
                  <p:cNvPicPr/>
                  <p:nvPr/>
                </p:nvPicPr>
                <p:blipFill>
                  <a:blip r:embed="rId41"/>
                  <a:stretch>
                    <a:fillRect/>
                  </a:stretch>
                </p:blipFill>
                <p:spPr>
                  <a:xfrm>
                    <a:off x="4781476" y="2570821"/>
                    <a:ext cx="123896" cy="310615"/>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73" name="Ink 72">
                    <a:extLst>
                      <a:ext uri="{FF2B5EF4-FFF2-40B4-BE49-F238E27FC236}">
                        <a16:creationId xmlns:a16="http://schemas.microsoft.com/office/drawing/2014/main" id="{690ABE5F-5900-4D8F-B8BB-2083A3AB266C}"/>
                      </a:ext>
                    </a:extLst>
                  </p14:cNvPr>
                  <p14:cNvContentPartPr/>
                  <p14:nvPr/>
                </p14:nvContentPartPr>
                <p14:xfrm>
                  <a:off x="5011766" y="2676000"/>
                  <a:ext cx="176400" cy="165600"/>
                </p14:xfrm>
              </p:contentPart>
            </mc:Choice>
            <mc:Fallback xmlns="">
              <p:pic>
                <p:nvPicPr>
                  <p:cNvPr id="73" name="Ink 72">
                    <a:extLst>
                      <a:ext uri="{FF2B5EF4-FFF2-40B4-BE49-F238E27FC236}">
                        <a16:creationId xmlns:a16="http://schemas.microsoft.com/office/drawing/2014/main" id="{690ABE5F-5900-4D8F-B8BB-2083A3AB266C}"/>
                      </a:ext>
                    </a:extLst>
                  </p:cNvPr>
                  <p:cNvPicPr/>
                  <p:nvPr/>
                </p:nvPicPr>
                <p:blipFill>
                  <a:blip r:embed="rId43"/>
                  <a:stretch>
                    <a:fillRect/>
                  </a:stretch>
                </p:blipFill>
                <p:spPr>
                  <a:xfrm>
                    <a:off x="4995656" y="2657902"/>
                    <a:ext cx="207814" cy="200892"/>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74" name="Ink 73">
                    <a:extLst>
                      <a:ext uri="{FF2B5EF4-FFF2-40B4-BE49-F238E27FC236}">
                        <a16:creationId xmlns:a16="http://schemas.microsoft.com/office/drawing/2014/main" id="{26DE78AC-33AD-4B5C-A70A-3D92C3A7D3F6}"/>
                      </a:ext>
                    </a:extLst>
                  </p14:cNvPr>
                  <p14:cNvContentPartPr/>
                  <p14:nvPr/>
                </p14:nvContentPartPr>
                <p14:xfrm>
                  <a:off x="5236766" y="2608680"/>
                  <a:ext cx="145440" cy="195480"/>
                </p14:xfrm>
              </p:contentPart>
            </mc:Choice>
            <mc:Fallback xmlns="">
              <p:pic>
                <p:nvPicPr>
                  <p:cNvPr id="74" name="Ink 73">
                    <a:extLst>
                      <a:ext uri="{FF2B5EF4-FFF2-40B4-BE49-F238E27FC236}">
                        <a16:creationId xmlns:a16="http://schemas.microsoft.com/office/drawing/2014/main" id="{26DE78AC-33AD-4B5C-A70A-3D92C3A7D3F6}"/>
                      </a:ext>
                    </a:extLst>
                  </p:cNvPr>
                  <p:cNvPicPr/>
                  <p:nvPr/>
                </p:nvPicPr>
                <p:blipFill>
                  <a:blip r:embed="rId45"/>
                  <a:stretch>
                    <a:fillRect/>
                  </a:stretch>
                </p:blipFill>
                <p:spPr>
                  <a:xfrm>
                    <a:off x="5220695" y="2590580"/>
                    <a:ext cx="176778" cy="230775"/>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75" name="Ink 74">
                    <a:extLst>
                      <a:ext uri="{FF2B5EF4-FFF2-40B4-BE49-F238E27FC236}">
                        <a16:creationId xmlns:a16="http://schemas.microsoft.com/office/drawing/2014/main" id="{47656DB1-67B2-440A-B6F4-E5ECB8E98ABB}"/>
                      </a:ext>
                    </a:extLst>
                  </p14:cNvPr>
                  <p14:cNvContentPartPr/>
                  <p14:nvPr/>
                </p14:nvContentPartPr>
                <p14:xfrm>
                  <a:off x="5457806" y="2327520"/>
                  <a:ext cx="203400" cy="444600"/>
                </p14:xfrm>
              </p:contentPart>
            </mc:Choice>
            <mc:Fallback xmlns="">
              <p:pic>
                <p:nvPicPr>
                  <p:cNvPr id="75" name="Ink 74">
                    <a:extLst>
                      <a:ext uri="{FF2B5EF4-FFF2-40B4-BE49-F238E27FC236}">
                        <a16:creationId xmlns:a16="http://schemas.microsoft.com/office/drawing/2014/main" id="{47656DB1-67B2-440A-B6F4-E5ECB8E98ABB}"/>
                      </a:ext>
                    </a:extLst>
                  </p:cNvPr>
                  <p:cNvPicPr/>
                  <p:nvPr/>
                </p:nvPicPr>
                <p:blipFill>
                  <a:blip r:embed="rId47"/>
                  <a:stretch>
                    <a:fillRect/>
                  </a:stretch>
                </p:blipFill>
                <p:spPr>
                  <a:xfrm>
                    <a:off x="5441727" y="2309447"/>
                    <a:ext cx="234754" cy="479843"/>
                  </a:xfrm>
                  <a:prstGeom prst="rect">
                    <a:avLst/>
                  </a:prstGeom>
                </p:spPr>
              </p:pic>
            </mc:Fallback>
          </mc:AlternateContent>
        </p:grpSp>
        <p:grpSp>
          <p:nvGrpSpPr>
            <p:cNvPr id="62" name="Group 61">
              <a:extLst>
                <a:ext uri="{FF2B5EF4-FFF2-40B4-BE49-F238E27FC236}">
                  <a16:creationId xmlns:a16="http://schemas.microsoft.com/office/drawing/2014/main" id="{34F6A029-3AB5-4958-AEF5-004EE354FED0}"/>
                </a:ext>
              </a:extLst>
            </p:cNvPr>
            <p:cNvGrpSpPr/>
            <p:nvPr/>
          </p:nvGrpSpPr>
          <p:grpSpPr>
            <a:xfrm>
              <a:off x="6083126" y="2380440"/>
              <a:ext cx="1078200" cy="503280"/>
              <a:chOff x="6083126" y="2380440"/>
              <a:chExt cx="1078200" cy="503280"/>
            </a:xfrm>
          </p:grpSpPr>
          <mc:AlternateContent xmlns:mc="http://schemas.openxmlformats.org/markup-compatibility/2006" xmlns:p14="http://schemas.microsoft.com/office/powerpoint/2010/main">
            <mc:Choice Requires="p14">
              <p:contentPart p14:bwMode="auto" r:id="rId48">
                <p14:nvContentPartPr>
                  <p14:cNvPr id="64" name="Ink 63">
                    <a:extLst>
                      <a:ext uri="{FF2B5EF4-FFF2-40B4-BE49-F238E27FC236}">
                        <a16:creationId xmlns:a16="http://schemas.microsoft.com/office/drawing/2014/main" id="{6D35C5C4-31DD-42A8-8278-EB12C975655F}"/>
                      </a:ext>
                    </a:extLst>
                  </p14:cNvPr>
                  <p14:cNvContentPartPr/>
                  <p14:nvPr/>
                </p14:nvContentPartPr>
                <p14:xfrm>
                  <a:off x="6204086" y="2501040"/>
                  <a:ext cx="52560" cy="382680"/>
                </p14:xfrm>
              </p:contentPart>
            </mc:Choice>
            <mc:Fallback xmlns="">
              <p:pic>
                <p:nvPicPr>
                  <p:cNvPr id="64" name="Ink 63">
                    <a:extLst>
                      <a:ext uri="{FF2B5EF4-FFF2-40B4-BE49-F238E27FC236}">
                        <a16:creationId xmlns:a16="http://schemas.microsoft.com/office/drawing/2014/main" id="{6D35C5C4-31DD-42A8-8278-EB12C975655F}"/>
                      </a:ext>
                    </a:extLst>
                  </p:cNvPr>
                  <p:cNvPicPr/>
                  <p:nvPr/>
                </p:nvPicPr>
                <p:blipFill>
                  <a:blip r:embed="rId49"/>
                  <a:stretch>
                    <a:fillRect/>
                  </a:stretch>
                </p:blipFill>
                <p:spPr>
                  <a:xfrm>
                    <a:off x="6188037" y="2482968"/>
                    <a:ext cx="83855" cy="417921"/>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5" name="Ink 64">
                    <a:extLst>
                      <a:ext uri="{FF2B5EF4-FFF2-40B4-BE49-F238E27FC236}">
                        <a16:creationId xmlns:a16="http://schemas.microsoft.com/office/drawing/2014/main" id="{C8C75A54-B71F-48E6-BDF7-A00285D5839D}"/>
                      </a:ext>
                    </a:extLst>
                  </p14:cNvPr>
                  <p14:cNvContentPartPr/>
                  <p14:nvPr/>
                </p14:nvContentPartPr>
                <p14:xfrm>
                  <a:off x="6083126" y="2380440"/>
                  <a:ext cx="425160" cy="458640"/>
                </p14:xfrm>
              </p:contentPart>
            </mc:Choice>
            <mc:Fallback xmlns="">
              <p:pic>
                <p:nvPicPr>
                  <p:cNvPr id="65" name="Ink 64">
                    <a:extLst>
                      <a:ext uri="{FF2B5EF4-FFF2-40B4-BE49-F238E27FC236}">
                        <a16:creationId xmlns:a16="http://schemas.microsoft.com/office/drawing/2014/main" id="{C8C75A54-B71F-48E6-BDF7-A00285D5839D}"/>
                      </a:ext>
                    </a:extLst>
                  </p:cNvPr>
                  <p:cNvPicPr/>
                  <p:nvPr/>
                </p:nvPicPr>
                <p:blipFill>
                  <a:blip r:embed="rId51"/>
                  <a:stretch>
                    <a:fillRect/>
                  </a:stretch>
                </p:blipFill>
                <p:spPr>
                  <a:xfrm>
                    <a:off x="6067037" y="2362383"/>
                    <a:ext cx="456534" cy="493851"/>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112C6FA-9F48-4093-BDE1-E2B4E7897B6A}"/>
                      </a:ext>
                    </a:extLst>
                  </p14:cNvPr>
                  <p14:cNvContentPartPr/>
                  <p14:nvPr/>
                </p14:nvContentPartPr>
                <p14:xfrm>
                  <a:off x="6579206" y="2573760"/>
                  <a:ext cx="135000" cy="216360"/>
                </p14:xfrm>
              </p:contentPart>
            </mc:Choice>
            <mc:Fallback xmlns="">
              <p:pic>
                <p:nvPicPr>
                  <p:cNvPr id="66" name="Ink 65">
                    <a:extLst>
                      <a:ext uri="{FF2B5EF4-FFF2-40B4-BE49-F238E27FC236}">
                        <a16:creationId xmlns:a16="http://schemas.microsoft.com/office/drawing/2014/main" id="{6112C6FA-9F48-4093-BDE1-E2B4E7897B6A}"/>
                      </a:ext>
                    </a:extLst>
                  </p:cNvPr>
                  <p:cNvPicPr/>
                  <p:nvPr/>
                </p:nvPicPr>
                <p:blipFill>
                  <a:blip r:embed="rId53"/>
                  <a:stretch>
                    <a:fillRect/>
                  </a:stretch>
                </p:blipFill>
                <p:spPr>
                  <a:xfrm>
                    <a:off x="6563135" y="2555730"/>
                    <a:ext cx="166339" cy="251519"/>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8ECFF826-941A-4B5A-90D4-B5E6AC7F0D1E}"/>
                      </a:ext>
                    </a:extLst>
                  </p14:cNvPr>
                  <p14:cNvContentPartPr/>
                  <p14:nvPr/>
                </p14:nvContentPartPr>
                <p14:xfrm>
                  <a:off x="6843446" y="2692560"/>
                  <a:ext cx="33480" cy="148680"/>
                </p14:xfrm>
              </p:contentPart>
            </mc:Choice>
            <mc:Fallback xmlns="">
              <p:pic>
                <p:nvPicPr>
                  <p:cNvPr id="67" name="Ink 66">
                    <a:extLst>
                      <a:ext uri="{FF2B5EF4-FFF2-40B4-BE49-F238E27FC236}">
                        <a16:creationId xmlns:a16="http://schemas.microsoft.com/office/drawing/2014/main" id="{8ECFF826-941A-4B5A-90D4-B5E6AC7F0D1E}"/>
                      </a:ext>
                    </a:extLst>
                  </p:cNvPr>
                  <p:cNvPicPr/>
                  <p:nvPr/>
                </p:nvPicPr>
                <p:blipFill>
                  <a:blip r:embed="rId55"/>
                  <a:stretch>
                    <a:fillRect/>
                  </a:stretch>
                </p:blipFill>
                <p:spPr>
                  <a:xfrm>
                    <a:off x="6827311" y="2674483"/>
                    <a:ext cx="64943" cy="183929"/>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BBBE68B8-F303-48AF-B2C1-45D1A47904AA}"/>
                      </a:ext>
                    </a:extLst>
                  </p14:cNvPr>
                  <p14:cNvContentPartPr/>
                  <p14:nvPr/>
                </p14:nvContentPartPr>
                <p14:xfrm>
                  <a:off x="6818606" y="2536680"/>
                  <a:ext cx="14040" cy="3960"/>
                </p14:xfrm>
              </p:contentPart>
            </mc:Choice>
            <mc:Fallback xmlns="">
              <p:pic>
                <p:nvPicPr>
                  <p:cNvPr id="68" name="Ink 67">
                    <a:extLst>
                      <a:ext uri="{FF2B5EF4-FFF2-40B4-BE49-F238E27FC236}">
                        <a16:creationId xmlns:a16="http://schemas.microsoft.com/office/drawing/2014/main" id="{BBBE68B8-F303-48AF-B2C1-45D1A47904AA}"/>
                      </a:ext>
                    </a:extLst>
                  </p:cNvPr>
                  <p:cNvPicPr/>
                  <p:nvPr/>
                </p:nvPicPr>
                <p:blipFill>
                  <a:blip r:embed="rId57"/>
                  <a:stretch>
                    <a:fillRect/>
                  </a:stretch>
                </p:blipFill>
                <p:spPr>
                  <a:xfrm>
                    <a:off x="6803006" y="2519080"/>
                    <a:ext cx="44460" cy="3828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69" name="Ink 68">
                    <a:extLst>
                      <a:ext uri="{FF2B5EF4-FFF2-40B4-BE49-F238E27FC236}">
                        <a16:creationId xmlns:a16="http://schemas.microsoft.com/office/drawing/2014/main" id="{9173236F-C5A2-48D7-BDA3-6FC24A6EE08D}"/>
                      </a:ext>
                    </a:extLst>
                  </p14:cNvPr>
                  <p14:cNvContentPartPr/>
                  <p14:nvPr/>
                </p14:nvContentPartPr>
                <p14:xfrm>
                  <a:off x="6943886" y="2652960"/>
                  <a:ext cx="217440" cy="154080"/>
                </p14:xfrm>
              </p:contentPart>
            </mc:Choice>
            <mc:Fallback xmlns="">
              <p:pic>
                <p:nvPicPr>
                  <p:cNvPr id="69" name="Ink 68">
                    <a:extLst>
                      <a:ext uri="{FF2B5EF4-FFF2-40B4-BE49-F238E27FC236}">
                        <a16:creationId xmlns:a16="http://schemas.microsoft.com/office/drawing/2014/main" id="{9173236F-C5A2-48D7-BDA3-6FC24A6EE08D}"/>
                      </a:ext>
                    </a:extLst>
                  </p:cNvPr>
                  <p:cNvPicPr/>
                  <p:nvPr/>
                </p:nvPicPr>
                <p:blipFill>
                  <a:blip r:embed="rId59"/>
                  <a:stretch>
                    <a:fillRect/>
                  </a:stretch>
                </p:blipFill>
                <p:spPr>
                  <a:xfrm>
                    <a:off x="6927809" y="2634886"/>
                    <a:ext cx="248790" cy="189324"/>
                  </a:xfrm>
                  <a:prstGeom prst="rect">
                    <a:avLst/>
                  </a:prstGeom>
                </p:spPr>
              </p:pic>
            </mc:Fallback>
          </mc:AlternateContent>
        </p:grpSp>
        <mc:AlternateContent xmlns:mc="http://schemas.openxmlformats.org/markup-compatibility/2006" xmlns:p14="http://schemas.microsoft.com/office/powerpoint/2010/main">
          <mc:Choice Requires="p14">
            <p:contentPart p14:bwMode="auto" r:id="rId60">
              <p14:nvContentPartPr>
                <p14:cNvPr id="63" name="Ink 62">
                  <a:extLst>
                    <a:ext uri="{FF2B5EF4-FFF2-40B4-BE49-F238E27FC236}">
                      <a16:creationId xmlns:a16="http://schemas.microsoft.com/office/drawing/2014/main" id="{93837010-D088-4A45-8D6E-0E76C11E2383}"/>
                    </a:ext>
                  </a:extLst>
                </p14:cNvPr>
                <p14:cNvContentPartPr/>
                <p14:nvPr/>
              </p14:nvContentPartPr>
              <p14:xfrm>
                <a:off x="7675046" y="2955720"/>
                <a:ext cx="1923840" cy="38520"/>
              </p14:xfrm>
            </p:contentPart>
          </mc:Choice>
          <mc:Fallback xmlns="">
            <p:pic>
              <p:nvPicPr>
                <p:cNvPr id="63" name="Ink 62">
                  <a:extLst>
                    <a:ext uri="{FF2B5EF4-FFF2-40B4-BE49-F238E27FC236}">
                      <a16:creationId xmlns:a16="http://schemas.microsoft.com/office/drawing/2014/main" id="{93837010-D088-4A45-8D6E-0E76C11E2383}"/>
                    </a:ext>
                  </a:extLst>
                </p:cNvPr>
                <p:cNvPicPr/>
                <p:nvPr/>
              </p:nvPicPr>
              <p:blipFill>
                <a:blip r:embed="rId61"/>
                <a:stretch>
                  <a:fillRect/>
                </a:stretch>
              </p:blipFill>
              <p:spPr>
                <a:xfrm>
                  <a:off x="7658954" y="2937593"/>
                  <a:ext cx="1955220" cy="73868"/>
                </a:xfrm>
                <a:prstGeom prst="rect">
                  <a:avLst/>
                </a:prstGeom>
              </p:spPr>
            </p:pic>
          </mc:Fallback>
        </mc:AlternateContent>
      </p:grpSp>
      <p:grpSp>
        <p:nvGrpSpPr>
          <p:cNvPr id="90" name="Group 89">
            <a:extLst>
              <a:ext uri="{FF2B5EF4-FFF2-40B4-BE49-F238E27FC236}">
                <a16:creationId xmlns:a16="http://schemas.microsoft.com/office/drawing/2014/main" id="{5C0C7890-4453-421B-86CD-7513D0F547B6}"/>
              </a:ext>
            </a:extLst>
          </p:cNvPr>
          <p:cNvGrpSpPr/>
          <p:nvPr/>
        </p:nvGrpSpPr>
        <p:grpSpPr>
          <a:xfrm>
            <a:off x="6335948" y="4228946"/>
            <a:ext cx="984960" cy="392400"/>
            <a:chOff x="9364886" y="1990920"/>
            <a:chExt cx="984960" cy="392400"/>
          </a:xfrm>
        </p:grpSpPr>
        <mc:AlternateContent xmlns:mc="http://schemas.openxmlformats.org/markup-compatibility/2006" xmlns:p14="http://schemas.microsoft.com/office/powerpoint/2010/main">
          <mc:Choice Requires="p14">
            <p:contentPart p14:bwMode="auto" r:id="rId62">
              <p14:nvContentPartPr>
                <p14:cNvPr id="91" name="Ink 90">
                  <a:extLst>
                    <a:ext uri="{FF2B5EF4-FFF2-40B4-BE49-F238E27FC236}">
                      <a16:creationId xmlns:a16="http://schemas.microsoft.com/office/drawing/2014/main" id="{CDDD902A-8854-4CC6-A91E-B36A6316BD69}"/>
                    </a:ext>
                  </a:extLst>
                </p14:cNvPr>
                <p14:cNvContentPartPr/>
                <p14:nvPr/>
              </p14:nvContentPartPr>
              <p14:xfrm>
                <a:off x="9364886" y="1994880"/>
                <a:ext cx="201240" cy="343440"/>
              </p14:xfrm>
            </p:contentPart>
          </mc:Choice>
          <mc:Fallback xmlns="">
            <p:pic>
              <p:nvPicPr>
                <p:cNvPr id="91" name="Ink 90">
                  <a:extLst>
                    <a:ext uri="{FF2B5EF4-FFF2-40B4-BE49-F238E27FC236}">
                      <a16:creationId xmlns:a16="http://schemas.microsoft.com/office/drawing/2014/main" id="{CDDD902A-8854-4CC6-A91E-B36A6316BD69}"/>
                    </a:ext>
                  </a:extLst>
                </p:cNvPr>
                <p:cNvPicPr/>
                <p:nvPr/>
              </p:nvPicPr>
              <p:blipFill>
                <a:blip r:embed="rId63"/>
                <a:stretch>
                  <a:fillRect/>
                </a:stretch>
              </p:blipFill>
              <p:spPr>
                <a:xfrm>
                  <a:off x="9355886" y="1985880"/>
                  <a:ext cx="218880" cy="3610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92" name="Ink 91">
                  <a:extLst>
                    <a:ext uri="{FF2B5EF4-FFF2-40B4-BE49-F238E27FC236}">
                      <a16:creationId xmlns:a16="http://schemas.microsoft.com/office/drawing/2014/main" id="{B0D2BCFD-F7DA-4C48-96BB-B26085DB96C5}"/>
                    </a:ext>
                  </a:extLst>
                </p14:cNvPr>
                <p14:cNvContentPartPr/>
                <p14:nvPr/>
              </p14:nvContentPartPr>
              <p14:xfrm>
                <a:off x="9658646" y="2259480"/>
                <a:ext cx="75240" cy="101160"/>
              </p14:xfrm>
            </p:contentPart>
          </mc:Choice>
          <mc:Fallback xmlns="">
            <p:pic>
              <p:nvPicPr>
                <p:cNvPr id="92" name="Ink 91">
                  <a:extLst>
                    <a:ext uri="{FF2B5EF4-FFF2-40B4-BE49-F238E27FC236}">
                      <a16:creationId xmlns:a16="http://schemas.microsoft.com/office/drawing/2014/main" id="{B0D2BCFD-F7DA-4C48-96BB-B26085DB96C5}"/>
                    </a:ext>
                  </a:extLst>
                </p:cNvPr>
                <p:cNvPicPr/>
                <p:nvPr/>
              </p:nvPicPr>
              <p:blipFill>
                <a:blip r:embed="rId65"/>
                <a:stretch>
                  <a:fillRect/>
                </a:stretch>
              </p:blipFill>
              <p:spPr>
                <a:xfrm>
                  <a:off x="9649603" y="2250480"/>
                  <a:ext cx="92965" cy="11880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93" name="Ink 92">
                  <a:extLst>
                    <a:ext uri="{FF2B5EF4-FFF2-40B4-BE49-F238E27FC236}">
                      <a16:creationId xmlns:a16="http://schemas.microsoft.com/office/drawing/2014/main" id="{CE2B22D8-7027-4E8A-B739-3EF2AEB7C88D}"/>
                    </a:ext>
                  </a:extLst>
                </p14:cNvPr>
                <p14:cNvContentPartPr/>
                <p14:nvPr/>
              </p14:nvContentPartPr>
              <p14:xfrm>
                <a:off x="9815966" y="2246160"/>
                <a:ext cx="95400" cy="109440"/>
              </p14:xfrm>
            </p:contentPart>
          </mc:Choice>
          <mc:Fallback xmlns="">
            <p:pic>
              <p:nvPicPr>
                <p:cNvPr id="93" name="Ink 92">
                  <a:extLst>
                    <a:ext uri="{FF2B5EF4-FFF2-40B4-BE49-F238E27FC236}">
                      <a16:creationId xmlns:a16="http://schemas.microsoft.com/office/drawing/2014/main" id="{CE2B22D8-7027-4E8A-B739-3EF2AEB7C88D}"/>
                    </a:ext>
                  </a:extLst>
                </p:cNvPr>
                <p:cNvPicPr/>
                <p:nvPr/>
              </p:nvPicPr>
              <p:blipFill>
                <a:blip r:embed="rId67"/>
                <a:stretch>
                  <a:fillRect/>
                </a:stretch>
              </p:blipFill>
              <p:spPr>
                <a:xfrm>
                  <a:off x="9806932" y="2237160"/>
                  <a:ext cx="113107" cy="12708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94" name="Ink 93">
                  <a:extLst>
                    <a:ext uri="{FF2B5EF4-FFF2-40B4-BE49-F238E27FC236}">
                      <a16:creationId xmlns:a16="http://schemas.microsoft.com/office/drawing/2014/main" id="{26D582F7-9347-477D-8D2B-53659139E056}"/>
                    </a:ext>
                  </a:extLst>
                </p14:cNvPr>
                <p14:cNvContentPartPr/>
                <p14:nvPr/>
              </p14:nvContentPartPr>
              <p14:xfrm>
                <a:off x="9985166" y="1990920"/>
                <a:ext cx="195480" cy="315720"/>
              </p14:xfrm>
            </p:contentPart>
          </mc:Choice>
          <mc:Fallback xmlns="">
            <p:pic>
              <p:nvPicPr>
                <p:cNvPr id="94" name="Ink 93">
                  <a:extLst>
                    <a:ext uri="{FF2B5EF4-FFF2-40B4-BE49-F238E27FC236}">
                      <a16:creationId xmlns:a16="http://schemas.microsoft.com/office/drawing/2014/main" id="{26D582F7-9347-477D-8D2B-53659139E056}"/>
                    </a:ext>
                  </a:extLst>
                </p:cNvPr>
                <p:cNvPicPr/>
                <p:nvPr/>
              </p:nvPicPr>
              <p:blipFill>
                <a:blip r:embed="rId69"/>
                <a:stretch>
                  <a:fillRect/>
                </a:stretch>
              </p:blipFill>
              <p:spPr>
                <a:xfrm>
                  <a:off x="9976183" y="1981920"/>
                  <a:ext cx="213088" cy="33336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95" name="Ink 94">
                  <a:extLst>
                    <a:ext uri="{FF2B5EF4-FFF2-40B4-BE49-F238E27FC236}">
                      <a16:creationId xmlns:a16="http://schemas.microsoft.com/office/drawing/2014/main" id="{7CB4B773-BE7D-44F4-9202-715D7560CF28}"/>
                    </a:ext>
                  </a:extLst>
                </p14:cNvPr>
                <p14:cNvContentPartPr/>
                <p14:nvPr/>
              </p14:nvContentPartPr>
              <p14:xfrm>
                <a:off x="10078766" y="2208720"/>
                <a:ext cx="118440" cy="99360"/>
              </p14:xfrm>
            </p:contentPart>
          </mc:Choice>
          <mc:Fallback xmlns="">
            <p:pic>
              <p:nvPicPr>
                <p:cNvPr id="95" name="Ink 94">
                  <a:extLst>
                    <a:ext uri="{FF2B5EF4-FFF2-40B4-BE49-F238E27FC236}">
                      <a16:creationId xmlns:a16="http://schemas.microsoft.com/office/drawing/2014/main" id="{7CB4B773-BE7D-44F4-9202-715D7560CF28}"/>
                    </a:ext>
                  </a:extLst>
                </p:cNvPr>
                <p:cNvPicPr/>
                <p:nvPr/>
              </p:nvPicPr>
              <p:blipFill>
                <a:blip r:embed="rId71"/>
                <a:stretch>
                  <a:fillRect/>
                </a:stretch>
              </p:blipFill>
              <p:spPr>
                <a:xfrm>
                  <a:off x="10069793" y="2199720"/>
                  <a:ext cx="136027" cy="11700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96" name="Ink 95">
                  <a:extLst>
                    <a:ext uri="{FF2B5EF4-FFF2-40B4-BE49-F238E27FC236}">
                      <a16:creationId xmlns:a16="http://schemas.microsoft.com/office/drawing/2014/main" id="{3CD0255D-559B-483E-953E-93DE46C3B862}"/>
                    </a:ext>
                  </a:extLst>
                </p14:cNvPr>
                <p14:cNvContentPartPr/>
                <p14:nvPr/>
              </p14:nvContentPartPr>
              <p14:xfrm>
                <a:off x="10239326" y="2190720"/>
                <a:ext cx="110520" cy="192600"/>
              </p14:xfrm>
            </p:contentPart>
          </mc:Choice>
          <mc:Fallback xmlns="">
            <p:pic>
              <p:nvPicPr>
                <p:cNvPr id="96" name="Ink 95">
                  <a:extLst>
                    <a:ext uri="{FF2B5EF4-FFF2-40B4-BE49-F238E27FC236}">
                      <a16:creationId xmlns:a16="http://schemas.microsoft.com/office/drawing/2014/main" id="{3CD0255D-559B-483E-953E-93DE46C3B862}"/>
                    </a:ext>
                  </a:extLst>
                </p:cNvPr>
                <p:cNvPicPr/>
                <p:nvPr/>
              </p:nvPicPr>
              <p:blipFill>
                <a:blip r:embed="rId73"/>
                <a:stretch>
                  <a:fillRect/>
                </a:stretch>
              </p:blipFill>
              <p:spPr>
                <a:xfrm>
                  <a:off x="10230297" y="2181720"/>
                  <a:ext cx="128218" cy="210240"/>
                </a:xfrm>
                <a:prstGeom prst="rect">
                  <a:avLst/>
                </a:prstGeom>
              </p:spPr>
            </p:pic>
          </mc:Fallback>
        </mc:AlternateContent>
      </p:grpSp>
      <p:grpSp>
        <p:nvGrpSpPr>
          <p:cNvPr id="97" name="Group 96">
            <a:extLst>
              <a:ext uri="{FF2B5EF4-FFF2-40B4-BE49-F238E27FC236}">
                <a16:creationId xmlns:a16="http://schemas.microsoft.com/office/drawing/2014/main" id="{055C4991-310C-4E1C-8D54-F30314F9BDAC}"/>
              </a:ext>
            </a:extLst>
          </p:cNvPr>
          <p:cNvGrpSpPr/>
          <p:nvPr/>
        </p:nvGrpSpPr>
        <p:grpSpPr>
          <a:xfrm>
            <a:off x="6441788" y="5040126"/>
            <a:ext cx="1200960" cy="507960"/>
            <a:chOff x="9433646" y="2607240"/>
            <a:chExt cx="1200960" cy="507960"/>
          </a:xfrm>
        </p:grpSpPr>
        <mc:AlternateContent xmlns:mc="http://schemas.openxmlformats.org/markup-compatibility/2006" xmlns:p14="http://schemas.microsoft.com/office/powerpoint/2010/main">
          <mc:Choice Requires="p14">
            <p:contentPart p14:bwMode="auto" r:id="rId74">
              <p14:nvContentPartPr>
                <p14:cNvPr id="98" name="Ink 97">
                  <a:extLst>
                    <a:ext uri="{FF2B5EF4-FFF2-40B4-BE49-F238E27FC236}">
                      <a16:creationId xmlns:a16="http://schemas.microsoft.com/office/drawing/2014/main" id="{D17A936E-47FD-48F8-B604-29D1DDD6B31C}"/>
                    </a:ext>
                  </a:extLst>
                </p14:cNvPr>
                <p14:cNvContentPartPr/>
                <p14:nvPr/>
              </p14:nvContentPartPr>
              <p14:xfrm>
                <a:off x="9433646" y="2613360"/>
                <a:ext cx="29160" cy="343080"/>
              </p14:xfrm>
            </p:contentPart>
          </mc:Choice>
          <mc:Fallback xmlns="">
            <p:pic>
              <p:nvPicPr>
                <p:cNvPr id="98" name="Ink 97">
                  <a:extLst>
                    <a:ext uri="{FF2B5EF4-FFF2-40B4-BE49-F238E27FC236}">
                      <a16:creationId xmlns:a16="http://schemas.microsoft.com/office/drawing/2014/main" id="{D17A936E-47FD-48F8-B604-29D1DDD6B31C}"/>
                    </a:ext>
                  </a:extLst>
                </p:cNvPr>
                <p:cNvPicPr/>
                <p:nvPr/>
              </p:nvPicPr>
              <p:blipFill>
                <a:blip r:embed="rId75"/>
                <a:stretch>
                  <a:fillRect/>
                </a:stretch>
              </p:blipFill>
              <p:spPr>
                <a:xfrm>
                  <a:off x="9424646" y="2604360"/>
                  <a:ext cx="46800" cy="36072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99" name="Ink 98">
                  <a:extLst>
                    <a:ext uri="{FF2B5EF4-FFF2-40B4-BE49-F238E27FC236}">
                      <a16:creationId xmlns:a16="http://schemas.microsoft.com/office/drawing/2014/main" id="{FFCB1669-E019-4522-BF66-0551AA776904}"/>
                    </a:ext>
                  </a:extLst>
                </p14:cNvPr>
                <p14:cNvContentPartPr/>
                <p14:nvPr/>
              </p14:nvContentPartPr>
              <p14:xfrm>
                <a:off x="9595646" y="2738640"/>
                <a:ext cx="95760" cy="172800"/>
              </p14:xfrm>
            </p:contentPart>
          </mc:Choice>
          <mc:Fallback xmlns="">
            <p:pic>
              <p:nvPicPr>
                <p:cNvPr id="99" name="Ink 98">
                  <a:extLst>
                    <a:ext uri="{FF2B5EF4-FFF2-40B4-BE49-F238E27FC236}">
                      <a16:creationId xmlns:a16="http://schemas.microsoft.com/office/drawing/2014/main" id="{FFCB1669-E019-4522-BF66-0551AA776904}"/>
                    </a:ext>
                  </a:extLst>
                </p:cNvPr>
                <p:cNvPicPr/>
                <p:nvPr/>
              </p:nvPicPr>
              <p:blipFill>
                <a:blip r:embed="rId77"/>
                <a:stretch>
                  <a:fillRect/>
                </a:stretch>
              </p:blipFill>
              <p:spPr>
                <a:xfrm>
                  <a:off x="9586646" y="2729640"/>
                  <a:ext cx="113400" cy="19044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100" name="Ink 99">
                  <a:extLst>
                    <a:ext uri="{FF2B5EF4-FFF2-40B4-BE49-F238E27FC236}">
                      <a16:creationId xmlns:a16="http://schemas.microsoft.com/office/drawing/2014/main" id="{131315FE-0CDD-483C-A4F8-591D3D92320C}"/>
                    </a:ext>
                  </a:extLst>
                </p14:cNvPr>
                <p14:cNvContentPartPr/>
                <p14:nvPr/>
              </p14:nvContentPartPr>
              <p14:xfrm>
                <a:off x="9770606" y="2775360"/>
                <a:ext cx="111600" cy="294120"/>
              </p14:xfrm>
            </p:contentPart>
          </mc:Choice>
          <mc:Fallback xmlns="">
            <p:pic>
              <p:nvPicPr>
                <p:cNvPr id="100" name="Ink 99">
                  <a:extLst>
                    <a:ext uri="{FF2B5EF4-FFF2-40B4-BE49-F238E27FC236}">
                      <a16:creationId xmlns:a16="http://schemas.microsoft.com/office/drawing/2014/main" id="{131315FE-0CDD-483C-A4F8-591D3D92320C}"/>
                    </a:ext>
                  </a:extLst>
                </p:cNvPr>
                <p:cNvPicPr/>
                <p:nvPr/>
              </p:nvPicPr>
              <p:blipFill>
                <a:blip r:embed="rId79"/>
                <a:stretch>
                  <a:fillRect/>
                </a:stretch>
              </p:blipFill>
              <p:spPr>
                <a:xfrm>
                  <a:off x="9761577" y="2766360"/>
                  <a:ext cx="129297" cy="31176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101" name="Ink 100">
                  <a:extLst>
                    <a:ext uri="{FF2B5EF4-FFF2-40B4-BE49-F238E27FC236}">
                      <a16:creationId xmlns:a16="http://schemas.microsoft.com/office/drawing/2014/main" id="{ADF58EB3-9122-4ADD-9B8B-4F1F59B79EF6}"/>
                    </a:ext>
                  </a:extLst>
                </p14:cNvPr>
                <p14:cNvContentPartPr/>
                <p14:nvPr/>
              </p14:nvContentPartPr>
              <p14:xfrm>
                <a:off x="9980846" y="2613360"/>
                <a:ext cx="40320" cy="294840"/>
              </p14:xfrm>
            </p:contentPart>
          </mc:Choice>
          <mc:Fallback xmlns="">
            <p:pic>
              <p:nvPicPr>
                <p:cNvPr id="101" name="Ink 100">
                  <a:extLst>
                    <a:ext uri="{FF2B5EF4-FFF2-40B4-BE49-F238E27FC236}">
                      <a16:creationId xmlns:a16="http://schemas.microsoft.com/office/drawing/2014/main" id="{ADF58EB3-9122-4ADD-9B8B-4F1F59B79EF6}"/>
                    </a:ext>
                  </a:extLst>
                </p:cNvPr>
                <p:cNvPicPr/>
                <p:nvPr/>
              </p:nvPicPr>
              <p:blipFill>
                <a:blip r:embed="rId81"/>
                <a:stretch>
                  <a:fillRect/>
                </a:stretch>
              </p:blipFill>
              <p:spPr>
                <a:xfrm>
                  <a:off x="9971846" y="2604360"/>
                  <a:ext cx="57960" cy="31248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102" name="Ink 101">
                  <a:extLst>
                    <a:ext uri="{FF2B5EF4-FFF2-40B4-BE49-F238E27FC236}">
                      <a16:creationId xmlns:a16="http://schemas.microsoft.com/office/drawing/2014/main" id="{DF5739E5-BD64-464F-ADE7-61897E768492}"/>
                    </a:ext>
                  </a:extLst>
                </p14:cNvPr>
                <p14:cNvContentPartPr/>
                <p14:nvPr/>
              </p14:nvContentPartPr>
              <p14:xfrm>
                <a:off x="9854486" y="2607240"/>
                <a:ext cx="300240" cy="26280"/>
              </p14:xfrm>
            </p:contentPart>
          </mc:Choice>
          <mc:Fallback xmlns="">
            <p:pic>
              <p:nvPicPr>
                <p:cNvPr id="102" name="Ink 101">
                  <a:extLst>
                    <a:ext uri="{FF2B5EF4-FFF2-40B4-BE49-F238E27FC236}">
                      <a16:creationId xmlns:a16="http://schemas.microsoft.com/office/drawing/2014/main" id="{DF5739E5-BD64-464F-ADE7-61897E768492}"/>
                    </a:ext>
                  </a:extLst>
                </p:cNvPr>
                <p:cNvPicPr/>
                <p:nvPr/>
              </p:nvPicPr>
              <p:blipFill>
                <a:blip r:embed="rId83"/>
                <a:stretch>
                  <a:fillRect/>
                </a:stretch>
              </p:blipFill>
              <p:spPr>
                <a:xfrm>
                  <a:off x="9845475" y="2598240"/>
                  <a:ext cx="317901" cy="439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103" name="Ink 102">
                  <a:extLst>
                    <a:ext uri="{FF2B5EF4-FFF2-40B4-BE49-F238E27FC236}">
                      <a16:creationId xmlns:a16="http://schemas.microsoft.com/office/drawing/2014/main" id="{59EC7F3D-B690-447E-BD9F-98F4E24722F0}"/>
                    </a:ext>
                  </a:extLst>
                </p14:cNvPr>
                <p14:cNvContentPartPr/>
                <p14:nvPr/>
              </p14:nvContentPartPr>
              <p14:xfrm>
                <a:off x="10115486" y="2742240"/>
                <a:ext cx="99720" cy="111960"/>
              </p14:xfrm>
            </p:contentPart>
          </mc:Choice>
          <mc:Fallback xmlns="">
            <p:pic>
              <p:nvPicPr>
                <p:cNvPr id="103" name="Ink 102">
                  <a:extLst>
                    <a:ext uri="{FF2B5EF4-FFF2-40B4-BE49-F238E27FC236}">
                      <a16:creationId xmlns:a16="http://schemas.microsoft.com/office/drawing/2014/main" id="{59EC7F3D-B690-447E-BD9F-98F4E24722F0}"/>
                    </a:ext>
                  </a:extLst>
                </p:cNvPr>
                <p:cNvPicPr/>
                <p:nvPr/>
              </p:nvPicPr>
              <p:blipFill>
                <a:blip r:embed="rId85"/>
                <a:stretch>
                  <a:fillRect/>
                </a:stretch>
              </p:blipFill>
              <p:spPr>
                <a:xfrm>
                  <a:off x="10106486" y="2733211"/>
                  <a:ext cx="117360" cy="129657"/>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104" name="Ink 103">
                  <a:extLst>
                    <a:ext uri="{FF2B5EF4-FFF2-40B4-BE49-F238E27FC236}">
                      <a16:creationId xmlns:a16="http://schemas.microsoft.com/office/drawing/2014/main" id="{898F80FB-75E7-4E89-8DCA-CADD8330391E}"/>
                    </a:ext>
                  </a:extLst>
                </p14:cNvPr>
                <p14:cNvContentPartPr/>
                <p14:nvPr/>
              </p14:nvContentPartPr>
              <p14:xfrm>
                <a:off x="10240766" y="2759160"/>
                <a:ext cx="144000" cy="356040"/>
              </p14:xfrm>
            </p:contentPart>
          </mc:Choice>
          <mc:Fallback xmlns="">
            <p:pic>
              <p:nvPicPr>
                <p:cNvPr id="104" name="Ink 103">
                  <a:extLst>
                    <a:ext uri="{FF2B5EF4-FFF2-40B4-BE49-F238E27FC236}">
                      <a16:creationId xmlns:a16="http://schemas.microsoft.com/office/drawing/2014/main" id="{898F80FB-75E7-4E89-8DCA-CADD8330391E}"/>
                    </a:ext>
                  </a:extLst>
                </p:cNvPr>
                <p:cNvPicPr/>
                <p:nvPr/>
              </p:nvPicPr>
              <p:blipFill>
                <a:blip r:embed="rId87"/>
                <a:stretch>
                  <a:fillRect/>
                </a:stretch>
              </p:blipFill>
              <p:spPr>
                <a:xfrm>
                  <a:off x="10231766" y="2750160"/>
                  <a:ext cx="161640" cy="37368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105" name="Ink 104">
                  <a:extLst>
                    <a:ext uri="{FF2B5EF4-FFF2-40B4-BE49-F238E27FC236}">
                      <a16:creationId xmlns:a16="http://schemas.microsoft.com/office/drawing/2014/main" id="{9E5B4754-4C36-458A-9ABA-A6E643B077C8}"/>
                    </a:ext>
                  </a:extLst>
                </p14:cNvPr>
                <p14:cNvContentPartPr/>
                <p14:nvPr/>
              </p14:nvContentPartPr>
              <p14:xfrm>
                <a:off x="10473326" y="2702640"/>
                <a:ext cx="161280" cy="215640"/>
              </p14:xfrm>
            </p:contentPart>
          </mc:Choice>
          <mc:Fallback xmlns="">
            <p:pic>
              <p:nvPicPr>
                <p:cNvPr id="105" name="Ink 104">
                  <a:extLst>
                    <a:ext uri="{FF2B5EF4-FFF2-40B4-BE49-F238E27FC236}">
                      <a16:creationId xmlns:a16="http://schemas.microsoft.com/office/drawing/2014/main" id="{9E5B4754-4C36-458A-9ABA-A6E643B077C8}"/>
                    </a:ext>
                  </a:extLst>
                </p:cNvPr>
                <p:cNvPicPr/>
                <p:nvPr/>
              </p:nvPicPr>
              <p:blipFill>
                <a:blip r:embed="rId89"/>
                <a:stretch>
                  <a:fillRect/>
                </a:stretch>
              </p:blipFill>
              <p:spPr>
                <a:xfrm>
                  <a:off x="10464326" y="2693640"/>
                  <a:ext cx="178920" cy="233280"/>
                </a:xfrm>
                <a:prstGeom prst="rect">
                  <a:avLst/>
                </a:prstGeom>
              </p:spPr>
            </p:pic>
          </mc:Fallback>
        </mc:AlternateContent>
      </p:grpSp>
      <p:grpSp>
        <p:nvGrpSpPr>
          <p:cNvPr id="106" name="Group 105">
            <a:extLst>
              <a:ext uri="{FF2B5EF4-FFF2-40B4-BE49-F238E27FC236}">
                <a16:creationId xmlns:a16="http://schemas.microsoft.com/office/drawing/2014/main" id="{548881F7-6710-4DD2-BDDC-80667AD666AB}"/>
              </a:ext>
            </a:extLst>
          </p:cNvPr>
          <p:cNvGrpSpPr/>
          <p:nvPr/>
        </p:nvGrpSpPr>
        <p:grpSpPr>
          <a:xfrm>
            <a:off x="6501848" y="5719312"/>
            <a:ext cx="1041480" cy="343440"/>
            <a:chOff x="9441926" y="3233280"/>
            <a:chExt cx="1041480" cy="343440"/>
          </a:xfrm>
        </p:grpSpPr>
        <mc:AlternateContent xmlns:mc="http://schemas.openxmlformats.org/markup-compatibility/2006" xmlns:p14="http://schemas.microsoft.com/office/powerpoint/2010/main">
          <mc:Choice Requires="p14">
            <p:contentPart p14:bwMode="auto" r:id="rId90">
              <p14:nvContentPartPr>
                <p14:cNvPr id="107" name="Ink 106">
                  <a:extLst>
                    <a:ext uri="{FF2B5EF4-FFF2-40B4-BE49-F238E27FC236}">
                      <a16:creationId xmlns:a16="http://schemas.microsoft.com/office/drawing/2014/main" id="{4F2005D7-9684-4D91-BF29-47CFB6F78B2D}"/>
                    </a:ext>
                  </a:extLst>
                </p14:cNvPr>
                <p14:cNvContentPartPr/>
                <p14:nvPr/>
              </p14:nvContentPartPr>
              <p14:xfrm>
                <a:off x="9441926" y="3364680"/>
                <a:ext cx="227160" cy="171000"/>
              </p14:xfrm>
            </p:contentPart>
          </mc:Choice>
          <mc:Fallback xmlns="">
            <p:pic>
              <p:nvPicPr>
                <p:cNvPr id="107" name="Ink 106">
                  <a:extLst>
                    <a:ext uri="{FF2B5EF4-FFF2-40B4-BE49-F238E27FC236}">
                      <a16:creationId xmlns:a16="http://schemas.microsoft.com/office/drawing/2014/main" id="{4F2005D7-9684-4D91-BF29-47CFB6F78B2D}"/>
                    </a:ext>
                  </a:extLst>
                </p:cNvPr>
                <p:cNvPicPr/>
                <p:nvPr/>
              </p:nvPicPr>
              <p:blipFill>
                <a:blip r:embed="rId91"/>
                <a:stretch>
                  <a:fillRect/>
                </a:stretch>
              </p:blipFill>
              <p:spPr>
                <a:xfrm>
                  <a:off x="9432926" y="3355699"/>
                  <a:ext cx="244800" cy="188603"/>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108" name="Ink 107">
                  <a:extLst>
                    <a:ext uri="{FF2B5EF4-FFF2-40B4-BE49-F238E27FC236}">
                      <a16:creationId xmlns:a16="http://schemas.microsoft.com/office/drawing/2014/main" id="{0BD64FED-55F3-4EF1-BAB0-4654D2314773}"/>
                    </a:ext>
                  </a:extLst>
                </p14:cNvPr>
                <p14:cNvContentPartPr/>
                <p14:nvPr/>
              </p14:nvContentPartPr>
              <p14:xfrm>
                <a:off x="9766646" y="3410400"/>
                <a:ext cx="8640" cy="164880"/>
              </p14:xfrm>
            </p:contentPart>
          </mc:Choice>
          <mc:Fallback xmlns="">
            <p:pic>
              <p:nvPicPr>
                <p:cNvPr id="108" name="Ink 107">
                  <a:extLst>
                    <a:ext uri="{FF2B5EF4-FFF2-40B4-BE49-F238E27FC236}">
                      <a16:creationId xmlns:a16="http://schemas.microsoft.com/office/drawing/2014/main" id="{0BD64FED-55F3-4EF1-BAB0-4654D2314773}"/>
                    </a:ext>
                  </a:extLst>
                </p:cNvPr>
                <p:cNvPicPr/>
                <p:nvPr/>
              </p:nvPicPr>
              <p:blipFill>
                <a:blip r:embed="rId93"/>
                <a:stretch>
                  <a:fillRect/>
                </a:stretch>
              </p:blipFill>
              <p:spPr>
                <a:xfrm>
                  <a:off x="9757646" y="3401420"/>
                  <a:ext cx="26280" cy="182482"/>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109" name="Ink 108">
                  <a:extLst>
                    <a:ext uri="{FF2B5EF4-FFF2-40B4-BE49-F238E27FC236}">
                      <a16:creationId xmlns:a16="http://schemas.microsoft.com/office/drawing/2014/main" id="{55A10D7F-2BC2-435A-95C3-8D24C702EB8C}"/>
                    </a:ext>
                  </a:extLst>
                </p14:cNvPr>
                <p14:cNvContentPartPr/>
                <p14:nvPr/>
              </p14:nvContentPartPr>
              <p14:xfrm>
                <a:off x="9748646" y="3279360"/>
                <a:ext cx="360" cy="360"/>
              </p14:xfrm>
            </p:contentPart>
          </mc:Choice>
          <mc:Fallback xmlns="">
            <p:pic>
              <p:nvPicPr>
                <p:cNvPr id="109" name="Ink 108">
                  <a:extLst>
                    <a:ext uri="{FF2B5EF4-FFF2-40B4-BE49-F238E27FC236}">
                      <a16:creationId xmlns:a16="http://schemas.microsoft.com/office/drawing/2014/main" id="{55A10D7F-2BC2-435A-95C3-8D24C702EB8C}"/>
                    </a:ext>
                  </a:extLst>
                </p:cNvPr>
                <p:cNvPicPr/>
                <p:nvPr/>
              </p:nvPicPr>
              <p:blipFill>
                <a:blip r:embed="rId95"/>
                <a:stretch>
                  <a:fillRect/>
                </a:stretch>
              </p:blipFill>
              <p:spPr>
                <a:xfrm>
                  <a:off x="9739646" y="327036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110" name="Ink 109">
                  <a:extLst>
                    <a:ext uri="{FF2B5EF4-FFF2-40B4-BE49-F238E27FC236}">
                      <a16:creationId xmlns:a16="http://schemas.microsoft.com/office/drawing/2014/main" id="{FF888AAB-740F-4227-B96C-C1155397F6B2}"/>
                    </a:ext>
                  </a:extLst>
                </p14:cNvPr>
                <p14:cNvContentPartPr/>
                <p14:nvPr/>
              </p14:nvContentPartPr>
              <p14:xfrm>
                <a:off x="9857366" y="3416520"/>
                <a:ext cx="148680" cy="121680"/>
              </p14:xfrm>
            </p:contentPart>
          </mc:Choice>
          <mc:Fallback xmlns="">
            <p:pic>
              <p:nvPicPr>
                <p:cNvPr id="110" name="Ink 109">
                  <a:extLst>
                    <a:ext uri="{FF2B5EF4-FFF2-40B4-BE49-F238E27FC236}">
                      <a16:creationId xmlns:a16="http://schemas.microsoft.com/office/drawing/2014/main" id="{FF888AAB-740F-4227-B96C-C1155397F6B2}"/>
                    </a:ext>
                  </a:extLst>
                </p:cNvPr>
                <p:cNvPicPr/>
                <p:nvPr/>
              </p:nvPicPr>
              <p:blipFill>
                <a:blip r:embed="rId97"/>
                <a:stretch>
                  <a:fillRect/>
                </a:stretch>
              </p:blipFill>
              <p:spPr>
                <a:xfrm>
                  <a:off x="9848388" y="3407493"/>
                  <a:ext cx="166277" cy="139372"/>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111" name="Ink 110">
                  <a:extLst>
                    <a:ext uri="{FF2B5EF4-FFF2-40B4-BE49-F238E27FC236}">
                      <a16:creationId xmlns:a16="http://schemas.microsoft.com/office/drawing/2014/main" id="{76C4C874-449C-4513-923C-A3B21F92074E}"/>
                    </a:ext>
                  </a:extLst>
                </p14:cNvPr>
                <p14:cNvContentPartPr/>
                <p14:nvPr/>
              </p14:nvContentPartPr>
              <p14:xfrm>
                <a:off x="10096766" y="3233280"/>
                <a:ext cx="135000" cy="287280"/>
              </p14:xfrm>
            </p:contentPart>
          </mc:Choice>
          <mc:Fallback xmlns="">
            <p:pic>
              <p:nvPicPr>
                <p:cNvPr id="111" name="Ink 110">
                  <a:extLst>
                    <a:ext uri="{FF2B5EF4-FFF2-40B4-BE49-F238E27FC236}">
                      <a16:creationId xmlns:a16="http://schemas.microsoft.com/office/drawing/2014/main" id="{76C4C874-449C-4513-923C-A3B21F92074E}"/>
                    </a:ext>
                  </a:extLst>
                </p:cNvPr>
                <p:cNvPicPr/>
                <p:nvPr/>
              </p:nvPicPr>
              <p:blipFill>
                <a:blip r:embed="rId99"/>
                <a:stretch>
                  <a:fillRect/>
                </a:stretch>
              </p:blipFill>
              <p:spPr>
                <a:xfrm>
                  <a:off x="10087766" y="3224280"/>
                  <a:ext cx="152640" cy="30492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112" name="Ink 111">
                  <a:extLst>
                    <a:ext uri="{FF2B5EF4-FFF2-40B4-BE49-F238E27FC236}">
                      <a16:creationId xmlns:a16="http://schemas.microsoft.com/office/drawing/2014/main" id="{B053DF1F-4246-4DBA-9E8D-AD207D3F091B}"/>
                    </a:ext>
                  </a:extLst>
                </p14:cNvPr>
                <p14:cNvContentPartPr/>
                <p14:nvPr/>
              </p14:nvContentPartPr>
              <p14:xfrm>
                <a:off x="10283606" y="3336960"/>
                <a:ext cx="199800" cy="239760"/>
              </p14:xfrm>
            </p:contentPart>
          </mc:Choice>
          <mc:Fallback xmlns="">
            <p:pic>
              <p:nvPicPr>
                <p:cNvPr id="112" name="Ink 111">
                  <a:extLst>
                    <a:ext uri="{FF2B5EF4-FFF2-40B4-BE49-F238E27FC236}">
                      <a16:creationId xmlns:a16="http://schemas.microsoft.com/office/drawing/2014/main" id="{B053DF1F-4246-4DBA-9E8D-AD207D3F091B}"/>
                    </a:ext>
                  </a:extLst>
                </p:cNvPr>
                <p:cNvPicPr/>
                <p:nvPr/>
              </p:nvPicPr>
              <p:blipFill>
                <a:blip r:embed="rId101"/>
                <a:stretch>
                  <a:fillRect/>
                </a:stretch>
              </p:blipFill>
              <p:spPr>
                <a:xfrm>
                  <a:off x="10274606" y="3327960"/>
                  <a:ext cx="217440" cy="257400"/>
                </a:xfrm>
                <a:prstGeom prst="rect">
                  <a:avLst/>
                </a:prstGeom>
              </p:spPr>
            </p:pic>
          </mc:Fallback>
        </mc:AlternateContent>
      </p:grpSp>
      <p:grpSp>
        <p:nvGrpSpPr>
          <p:cNvPr id="113" name="Group 112">
            <a:extLst>
              <a:ext uri="{FF2B5EF4-FFF2-40B4-BE49-F238E27FC236}">
                <a16:creationId xmlns:a16="http://schemas.microsoft.com/office/drawing/2014/main" id="{212C0AEC-306A-42B2-AC7F-56977067CB2D}"/>
              </a:ext>
            </a:extLst>
          </p:cNvPr>
          <p:cNvGrpSpPr/>
          <p:nvPr/>
        </p:nvGrpSpPr>
        <p:grpSpPr>
          <a:xfrm>
            <a:off x="5499068" y="4507031"/>
            <a:ext cx="732240" cy="1555200"/>
            <a:chOff x="8726966" y="2443440"/>
            <a:chExt cx="732240" cy="1555200"/>
          </a:xfrm>
        </p:grpSpPr>
        <mc:AlternateContent xmlns:mc="http://schemas.openxmlformats.org/markup-compatibility/2006" xmlns:p14="http://schemas.microsoft.com/office/powerpoint/2010/main">
          <mc:Choice Requires="p14">
            <p:contentPart p14:bwMode="auto" r:id="rId102">
              <p14:nvContentPartPr>
                <p14:cNvPr id="114" name="Ink 113">
                  <a:extLst>
                    <a:ext uri="{FF2B5EF4-FFF2-40B4-BE49-F238E27FC236}">
                      <a16:creationId xmlns:a16="http://schemas.microsoft.com/office/drawing/2014/main" id="{F4CCA9C2-B756-4CE4-B274-835F8BC3D559}"/>
                    </a:ext>
                  </a:extLst>
                </p14:cNvPr>
                <p14:cNvContentPartPr/>
                <p14:nvPr/>
              </p14:nvContentPartPr>
              <p14:xfrm>
                <a:off x="8726966" y="2443440"/>
                <a:ext cx="698760" cy="616680"/>
              </p14:xfrm>
            </p:contentPart>
          </mc:Choice>
          <mc:Fallback xmlns="">
            <p:pic>
              <p:nvPicPr>
                <p:cNvPr id="114" name="Ink 113">
                  <a:extLst>
                    <a:ext uri="{FF2B5EF4-FFF2-40B4-BE49-F238E27FC236}">
                      <a16:creationId xmlns:a16="http://schemas.microsoft.com/office/drawing/2014/main" id="{F4CCA9C2-B756-4CE4-B274-835F8BC3D559}"/>
                    </a:ext>
                  </a:extLst>
                </p:cNvPr>
                <p:cNvPicPr/>
                <p:nvPr/>
              </p:nvPicPr>
              <p:blipFill>
                <a:blip r:embed="rId103"/>
                <a:stretch>
                  <a:fillRect/>
                </a:stretch>
              </p:blipFill>
              <p:spPr>
                <a:xfrm>
                  <a:off x="8717966" y="2434440"/>
                  <a:ext cx="716400" cy="63432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115" name="Ink 114">
                  <a:extLst>
                    <a:ext uri="{FF2B5EF4-FFF2-40B4-BE49-F238E27FC236}">
                      <a16:creationId xmlns:a16="http://schemas.microsoft.com/office/drawing/2014/main" id="{A67D8803-B769-4BD8-8BCA-5439E43CAF00}"/>
                    </a:ext>
                  </a:extLst>
                </p14:cNvPr>
                <p14:cNvContentPartPr/>
                <p14:nvPr/>
              </p14:nvContentPartPr>
              <p14:xfrm>
                <a:off x="8967806" y="3135720"/>
                <a:ext cx="491400" cy="153720"/>
              </p14:xfrm>
            </p:contentPart>
          </mc:Choice>
          <mc:Fallback xmlns="">
            <p:pic>
              <p:nvPicPr>
                <p:cNvPr id="115" name="Ink 114">
                  <a:extLst>
                    <a:ext uri="{FF2B5EF4-FFF2-40B4-BE49-F238E27FC236}">
                      <a16:creationId xmlns:a16="http://schemas.microsoft.com/office/drawing/2014/main" id="{A67D8803-B769-4BD8-8BCA-5439E43CAF00}"/>
                    </a:ext>
                  </a:extLst>
                </p:cNvPr>
                <p:cNvPicPr/>
                <p:nvPr/>
              </p:nvPicPr>
              <p:blipFill>
                <a:blip r:embed="rId105"/>
                <a:stretch>
                  <a:fillRect/>
                </a:stretch>
              </p:blipFill>
              <p:spPr>
                <a:xfrm>
                  <a:off x="8958806" y="3126741"/>
                  <a:ext cx="509040" cy="171319"/>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116" name="Ink 115">
                  <a:extLst>
                    <a:ext uri="{FF2B5EF4-FFF2-40B4-BE49-F238E27FC236}">
                      <a16:creationId xmlns:a16="http://schemas.microsoft.com/office/drawing/2014/main" id="{F8CD45CF-BAC3-4F51-B4CE-42510C24FE78}"/>
                    </a:ext>
                  </a:extLst>
                </p14:cNvPr>
                <p14:cNvContentPartPr/>
                <p14:nvPr/>
              </p14:nvContentPartPr>
              <p14:xfrm>
                <a:off x="8841086" y="3318960"/>
                <a:ext cx="614880" cy="679680"/>
              </p14:xfrm>
            </p:contentPart>
          </mc:Choice>
          <mc:Fallback xmlns="">
            <p:pic>
              <p:nvPicPr>
                <p:cNvPr id="116" name="Ink 115">
                  <a:extLst>
                    <a:ext uri="{FF2B5EF4-FFF2-40B4-BE49-F238E27FC236}">
                      <a16:creationId xmlns:a16="http://schemas.microsoft.com/office/drawing/2014/main" id="{F8CD45CF-BAC3-4F51-B4CE-42510C24FE78}"/>
                    </a:ext>
                  </a:extLst>
                </p:cNvPr>
                <p:cNvPicPr/>
                <p:nvPr/>
              </p:nvPicPr>
              <p:blipFill>
                <a:blip r:embed="rId107"/>
                <a:stretch>
                  <a:fillRect/>
                </a:stretch>
              </p:blipFill>
              <p:spPr>
                <a:xfrm>
                  <a:off x="8832086" y="3309960"/>
                  <a:ext cx="632520" cy="697320"/>
                </a:xfrm>
                <a:prstGeom prst="rect">
                  <a:avLst/>
                </a:prstGeom>
              </p:spPr>
            </p:pic>
          </mc:Fallback>
        </mc:AlternateContent>
      </p:grpSp>
    </p:spTree>
    <p:extLst>
      <p:ext uri="{BB962C8B-B14F-4D97-AF65-F5344CB8AC3E}">
        <p14:creationId xmlns:p14="http://schemas.microsoft.com/office/powerpoint/2010/main" val="93865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ppt_x"/>
                                          </p:val>
                                        </p:tav>
                                        <p:tav tm="100000">
                                          <p:val>
                                            <p:strVal val="#ppt_x"/>
                                          </p:val>
                                        </p:tav>
                                      </p:tavLst>
                                    </p:anim>
                                    <p:anim calcmode="lin" valueType="num">
                                      <p:cBhvr additive="base">
                                        <p:cTn id="12" dur="500" fill="hold"/>
                                        <p:tgtEl>
                                          <p:spTgt spid="4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anim calcmode="lin" valueType="num">
                                      <p:cBhvr additive="base">
                                        <p:cTn id="15" dur="500" fill="hold"/>
                                        <p:tgtEl>
                                          <p:spTgt spid="46"/>
                                        </p:tgtEl>
                                        <p:attrNameLst>
                                          <p:attrName>ppt_x</p:attrName>
                                        </p:attrNameLst>
                                      </p:cBhvr>
                                      <p:tavLst>
                                        <p:tav tm="0">
                                          <p:val>
                                            <p:strVal val="#ppt_x"/>
                                          </p:val>
                                        </p:tav>
                                        <p:tav tm="100000">
                                          <p:val>
                                            <p:strVal val="#ppt_x"/>
                                          </p:val>
                                        </p:tav>
                                      </p:tavLst>
                                    </p:anim>
                                    <p:anim calcmode="lin" valueType="num">
                                      <p:cBhvr additive="base">
                                        <p:cTn id="16" dur="500" fill="hold"/>
                                        <p:tgtEl>
                                          <p:spTgt spid="4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48"/>
                                        </p:tgtEl>
                                        <p:attrNameLst>
                                          <p:attrName>style.visibility</p:attrName>
                                        </p:attrNameLst>
                                      </p:cBhvr>
                                      <p:to>
                                        <p:strVal val="visible"/>
                                      </p:to>
                                    </p:set>
                                    <p:anim calcmode="lin" valueType="num">
                                      <p:cBhvr additive="base">
                                        <p:cTn id="19" dur="500" fill="hold"/>
                                        <p:tgtEl>
                                          <p:spTgt spid="48"/>
                                        </p:tgtEl>
                                        <p:attrNameLst>
                                          <p:attrName>ppt_x</p:attrName>
                                        </p:attrNameLst>
                                      </p:cBhvr>
                                      <p:tavLst>
                                        <p:tav tm="0">
                                          <p:val>
                                            <p:strVal val="#ppt_x"/>
                                          </p:val>
                                        </p:tav>
                                        <p:tav tm="100000">
                                          <p:val>
                                            <p:strVal val="#ppt_x"/>
                                          </p:val>
                                        </p:tav>
                                      </p:tavLst>
                                    </p:anim>
                                    <p:anim calcmode="lin" valueType="num">
                                      <p:cBhvr additive="base">
                                        <p:cTn id="20" dur="500" fill="hold"/>
                                        <p:tgtEl>
                                          <p:spTgt spid="4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9"/>
                                        </p:tgtEl>
                                        <p:attrNameLst>
                                          <p:attrName>style.visibility</p:attrName>
                                        </p:attrNameLst>
                                      </p:cBhvr>
                                      <p:to>
                                        <p:strVal val="visible"/>
                                      </p:to>
                                    </p:set>
                                    <p:anim calcmode="lin" valueType="num">
                                      <p:cBhvr additive="base">
                                        <p:cTn id="23" dur="500" fill="hold"/>
                                        <p:tgtEl>
                                          <p:spTgt spid="49"/>
                                        </p:tgtEl>
                                        <p:attrNameLst>
                                          <p:attrName>ppt_x</p:attrName>
                                        </p:attrNameLst>
                                      </p:cBhvr>
                                      <p:tavLst>
                                        <p:tav tm="0">
                                          <p:val>
                                            <p:strVal val="#ppt_x"/>
                                          </p:val>
                                        </p:tav>
                                        <p:tav tm="100000">
                                          <p:val>
                                            <p:strVal val="#ppt_x"/>
                                          </p:val>
                                        </p:tav>
                                      </p:tavLst>
                                    </p:anim>
                                    <p:anim calcmode="lin" valueType="num">
                                      <p:cBhvr additive="base">
                                        <p:cTn id="24" dur="500" fill="hold"/>
                                        <p:tgtEl>
                                          <p:spTgt spid="4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cBhvr additive="base">
                                        <p:cTn id="27" dur="500" fill="hold"/>
                                        <p:tgtEl>
                                          <p:spTgt spid="50"/>
                                        </p:tgtEl>
                                        <p:attrNameLst>
                                          <p:attrName>ppt_x</p:attrName>
                                        </p:attrNameLst>
                                      </p:cBhvr>
                                      <p:tavLst>
                                        <p:tav tm="0">
                                          <p:val>
                                            <p:strVal val="#ppt_x"/>
                                          </p:val>
                                        </p:tav>
                                        <p:tav tm="100000">
                                          <p:val>
                                            <p:strVal val="#ppt_x"/>
                                          </p:val>
                                        </p:tav>
                                      </p:tavLst>
                                    </p:anim>
                                    <p:anim calcmode="lin" valueType="num">
                                      <p:cBhvr additive="base">
                                        <p:cTn id="28" dur="500" fill="hold"/>
                                        <p:tgtEl>
                                          <p:spTgt spid="50"/>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anim calcmode="lin" valueType="num">
                                      <p:cBhvr additive="base">
                                        <p:cTn id="31" dur="500" fill="hold"/>
                                        <p:tgtEl>
                                          <p:spTgt spid="51"/>
                                        </p:tgtEl>
                                        <p:attrNameLst>
                                          <p:attrName>ppt_x</p:attrName>
                                        </p:attrNameLst>
                                      </p:cBhvr>
                                      <p:tavLst>
                                        <p:tav tm="0">
                                          <p:val>
                                            <p:strVal val="#ppt_x"/>
                                          </p:val>
                                        </p:tav>
                                        <p:tav tm="100000">
                                          <p:val>
                                            <p:strVal val="#ppt_x"/>
                                          </p:val>
                                        </p:tav>
                                      </p:tavLst>
                                    </p:anim>
                                    <p:anim calcmode="lin" valueType="num">
                                      <p:cBhvr additive="base">
                                        <p:cTn id="32" dur="500" fill="hold"/>
                                        <p:tgtEl>
                                          <p:spTgt spid="51"/>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52"/>
                                        </p:tgtEl>
                                        <p:attrNameLst>
                                          <p:attrName>style.visibility</p:attrName>
                                        </p:attrNameLst>
                                      </p:cBhvr>
                                      <p:to>
                                        <p:strVal val="visible"/>
                                      </p:to>
                                    </p:set>
                                    <p:anim calcmode="lin" valueType="num">
                                      <p:cBhvr additive="base">
                                        <p:cTn id="35" dur="500" fill="hold"/>
                                        <p:tgtEl>
                                          <p:spTgt spid="52"/>
                                        </p:tgtEl>
                                        <p:attrNameLst>
                                          <p:attrName>ppt_x</p:attrName>
                                        </p:attrNameLst>
                                      </p:cBhvr>
                                      <p:tavLst>
                                        <p:tav tm="0">
                                          <p:val>
                                            <p:strVal val="#ppt_x"/>
                                          </p:val>
                                        </p:tav>
                                        <p:tav tm="100000">
                                          <p:val>
                                            <p:strVal val="#ppt_x"/>
                                          </p:val>
                                        </p:tav>
                                      </p:tavLst>
                                    </p:anim>
                                    <p:anim calcmode="lin" valueType="num">
                                      <p:cBhvr additive="base">
                                        <p:cTn id="36" dur="500" fill="hold"/>
                                        <p:tgtEl>
                                          <p:spTgt spid="52"/>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53"/>
                                        </p:tgtEl>
                                        <p:attrNameLst>
                                          <p:attrName>style.visibility</p:attrName>
                                        </p:attrNameLst>
                                      </p:cBhvr>
                                      <p:to>
                                        <p:strVal val="visible"/>
                                      </p:to>
                                    </p:set>
                                    <p:anim calcmode="lin" valueType="num">
                                      <p:cBhvr additive="base">
                                        <p:cTn id="39" dur="500" fill="hold"/>
                                        <p:tgtEl>
                                          <p:spTgt spid="53"/>
                                        </p:tgtEl>
                                        <p:attrNameLst>
                                          <p:attrName>ppt_x</p:attrName>
                                        </p:attrNameLst>
                                      </p:cBhvr>
                                      <p:tavLst>
                                        <p:tav tm="0">
                                          <p:val>
                                            <p:strVal val="#ppt_x"/>
                                          </p:val>
                                        </p:tav>
                                        <p:tav tm="100000">
                                          <p:val>
                                            <p:strVal val="#ppt_x"/>
                                          </p:val>
                                        </p:tav>
                                      </p:tavLst>
                                    </p:anim>
                                    <p:anim calcmode="lin" valueType="num">
                                      <p:cBhvr additive="base">
                                        <p:cTn id="40"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nodeType="clickEffect">
                                  <p:stCondLst>
                                    <p:cond delay="0"/>
                                  </p:stCondLst>
                                  <p:childTnLst>
                                    <p:set>
                                      <p:cBhvr>
                                        <p:cTn id="44" dur="1" fill="hold">
                                          <p:stCondLst>
                                            <p:cond delay="0"/>
                                          </p:stCondLst>
                                        </p:cTn>
                                        <p:tgtEl>
                                          <p:spTgt spid="56"/>
                                        </p:tgtEl>
                                        <p:attrNameLst>
                                          <p:attrName>style.visibility</p:attrName>
                                        </p:attrNameLst>
                                      </p:cBhvr>
                                      <p:to>
                                        <p:strVal val="visible"/>
                                      </p:to>
                                    </p:set>
                                    <p:anim calcmode="lin" valueType="num">
                                      <p:cBhvr additive="base">
                                        <p:cTn id="45" dur="500" fill="hold"/>
                                        <p:tgtEl>
                                          <p:spTgt spid="56"/>
                                        </p:tgtEl>
                                        <p:attrNameLst>
                                          <p:attrName>ppt_x</p:attrName>
                                        </p:attrNameLst>
                                      </p:cBhvr>
                                      <p:tavLst>
                                        <p:tav tm="0">
                                          <p:val>
                                            <p:strVal val="#ppt_x"/>
                                          </p:val>
                                        </p:tav>
                                        <p:tav tm="100000">
                                          <p:val>
                                            <p:strVal val="#ppt_x"/>
                                          </p:val>
                                        </p:tav>
                                      </p:tavLst>
                                    </p:anim>
                                    <p:anim calcmode="lin" valueType="num">
                                      <p:cBhvr additive="base">
                                        <p:cTn id="46"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57"/>
                                        </p:tgtEl>
                                        <p:attrNameLst>
                                          <p:attrName>style.visibility</p:attrName>
                                        </p:attrNameLst>
                                      </p:cBhvr>
                                      <p:to>
                                        <p:strVal val="visible"/>
                                      </p:to>
                                    </p:set>
                                    <p:anim calcmode="lin" valueType="num">
                                      <p:cBhvr additive="base">
                                        <p:cTn id="51" dur="500" fill="hold"/>
                                        <p:tgtEl>
                                          <p:spTgt spid="57"/>
                                        </p:tgtEl>
                                        <p:attrNameLst>
                                          <p:attrName>ppt_x</p:attrName>
                                        </p:attrNameLst>
                                      </p:cBhvr>
                                      <p:tavLst>
                                        <p:tav tm="0">
                                          <p:val>
                                            <p:strVal val="#ppt_x"/>
                                          </p:val>
                                        </p:tav>
                                        <p:tav tm="100000">
                                          <p:val>
                                            <p:strVal val="#ppt_x"/>
                                          </p:val>
                                        </p:tav>
                                      </p:tavLst>
                                    </p:anim>
                                    <p:anim calcmode="lin" valueType="num">
                                      <p:cBhvr additive="base">
                                        <p:cTn id="52"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nodeType="clickEffect">
                                  <p:stCondLst>
                                    <p:cond delay="0"/>
                                  </p:stCondLst>
                                  <p:childTnLst>
                                    <p:set>
                                      <p:cBhvr>
                                        <p:cTn id="56" dur="1" fill="hold">
                                          <p:stCondLst>
                                            <p:cond delay="0"/>
                                          </p:stCondLst>
                                        </p:cTn>
                                        <p:tgtEl>
                                          <p:spTgt spid="9"/>
                                        </p:tgtEl>
                                        <p:attrNameLst>
                                          <p:attrName>style.visibility</p:attrName>
                                        </p:attrNameLst>
                                      </p:cBhvr>
                                      <p:to>
                                        <p:strVal val="visible"/>
                                      </p:to>
                                    </p:set>
                                    <p:anim calcmode="lin" valueType="num">
                                      <p:cBhvr additive="base">
                                        <p:cTn id="57" dur="500" fill="hold"/>
                                        <p:tgtEl>
                                          <p:spTgt spid="9"/>
                                        </p:tgtEl>
                                        <p:attrNameLst>
                                          <p:attrName>ppt_x</p:attrName>
                                        </p:attrNameLst>
                                      </p:cBhvr>
                                      <p:tavLst>
                                        <p:tav tm="0">
                                          <p:val>
                                            <p:strVal val="#ppt_x"/>
                                          </p:val>
                                        </p:tav>
                                        <p:tav tm="100000">
                                          <p:val>
                                            <p:strVal val="#ppt_x"/>
                                          </p:val>
                                        </p:tav>
                                      </p:tavLst>
                                    </p:anim>
                                    <p:anim calcmode="lin" valueType="num">
                                      <p:cBhvr additive="base">
                                        <p:cTn id="5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11"/>
                                        </p:tgtEl>
                                        <p:attrNameLst>
                                          <p:attrName>style.visibility</p:attrName>
                                        </p:attrNameLst>
                                      </p:cBhvr>
                                      <p:to>
                                        <p:strVal val="visible"/>
                                      </p:to>
                                    </p:set>
                                    <p:anim calcmode="lin" valueType="num">
                                      <p:cBhvr additive="base">
                                        <p:cTn id="63" dur="500" fill="hold"/>
                                        <p:tgtEl>
                                          <p:spTgt spid="11"/>
                                        </p:tgtEl>
                                        <p:attrNameLst>
                                          <p:attrName>ppt_x</p:attrName>
                                        </p:attrNameLst>
                                      </p:cBhvr>
                                      <p:tavLst>
                                        <p:tav tm="0">
                                          <p:val>
                                            <p:strVal val="#ppt_x"/>
                                          </p:val>
                                        </p:tav>
                                        <p:tav tm="100000">
                                          <p:val>
                                            <p:strVal val="#ppt_x"/>
                                          </p:val>
                                        </p:tav>
                                      </p:tavLst>
                                    </p:anim>
                                    <p:anim calcmode="lin" valueType="num">
                                      <p:cBhvr additive="base">
                                        <p:cTn id="6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63" presetClass="entr" presetSubtype="0" fill="hold" nodeType="clickEffect">
                                  <p:stCondLst>
                                    <p:cond delay="0"/>
                                  </p:stCondLst>
                                  <p:childTnLst>
                                    <p:set>
                                      <p:cBhvr>
                                        <p:cTn id="68" dur="1" fill="hold">
                                          <p:stCondLst>
                                            <p:cond delay="0"/>
                                          </p:stCondLst>
                                        </p:cTn>
                                        <p:tgtEl>
                                          <p:spTgt spid="58"/>
                                        </p:tgtEl>
                                        <p:attrNameLst>
                                          <p:attrName>style.visibility</p:attrName>
                                        </p:attrNameLst>
                                      </p:cBhvr>
                                      <p:to>
                                        <p:strVal val="visible"/>
                                      </p:to>
                                    </p:set>
                                    <p:anim calcmode="lin" valueType="num">
                                      <p:cBhvr>
                                        <p:cTn id="69" dur="2000" fill="hold"/>
                                        <p:tgtEl>
                                          <p:spTgt spid="58"/>
                                        </p:tgtEl>
                                        <p:attrNameLst>
                                          <p:attrName>drawProgress</p:attrName>
                                        </p:attrNameLst>
                                      </p:cBhvr>
                                      <p:tavLst>
                                        <p:tav tm="0">
                                          <p:val>
                                            <p:fltVal val="0"/>
                                          </p:val>
                                        </p:tav>
                                        <p:tav tm="100000">
                                          <p:val>
                                            <p:fltVal val="1"/>
                                          </p:val>
                                        </p:tav>
                                      </p:tavLst>
                                    </p:anim>
                                  </p:childTnLst>
                                </p:cTn>
                              </p:par>
                            </p:childTnLst>
                          </p:cTn>
                        </p:par>
                      </p:childTnLst>
                    </p:cTn>
                  </p:par>
                  <p:par>
                    <p:cTn id="70" fill="hold">
                      <p:stCondLst>
                        <p:cond delay="indefinite"/>
                      </p:stCondLst>
                      <p:childTnLst>
                        <p:par>
                          <p:cTn id="71" fill="hold">
                            <p:stCondLst>
                              <p:cond delay="0"/>
                            </p:stCondLst>
                            <p:childTnLst>
                              <p:par>
                                <p:cTn id="72" presetID="63" presetClass="entr" presetSubtype="0" fill="hold" nodeType="clickEffect">
                                  <p:stCondLst>
                                    <p:cond delay="0"/>
                                  </p:stCondLst>
                                  <p:childTnLst>
                                    <p:set>
                                      <p:cBhvr>
                                        <p:cTn id="73" dur="1" fill="hold">
                                          <p:stCondLst>
                                            <p:cond delay="0"/>
                                          </p:stCondLst>
                                        </p:cTn>
                                        <p:tgtEl>
                                          <p:spTgt spid="113"/>
                                        </p:tgtEl>
                                        <p:attrNameLst>
                                          <p:attrName>style.visibility</p:attrName>
                                        </p:attrNameLst>
                                      </p:cBhvr>
                                      <p:to>
                                        <p:strVal val="visible"/>
                                      </p:to>
                                    </p:set>
                                    <p:anim calcmode="lin" valueType="num">
                                      <p:cBhvr>
                                        <p:cTn id="74" dur="1000" fill="hold"/>
                                        <p:tgtEl>
                                          <p:spTgt spid="113"/>
                                        </p:tgtEl>
                                        <p:attrNameLst>
                                          <p:attrName>drawProgress</p:attrName>
                                        </p:attrNameLst>
                                      </p:cBhvr>
                                      <p:tavLst>
                                        <p:tav tm="0">
                                          <p:val>
                                            <p:fltVal val="0"/>
                                          </p:val>
                                        </p:tav>
                                        <p:tav tm="100000">
                                          <p:val>
                                            <p:fltVal val="1"/>
                                          </p:val>
                                        </p:tav>
                                      </p:tavLst>
                                    </p:anim>
                                  </p:childTnLst>
                                </p:cTn>
                              </p:par>
                            </p:childTnLst>
                          </p:cTn>
                        </p:par>
                        <p:par>
                          <p:cTn id="75" fill="hold">
                            <p:stCondLst>
                              <p:cond delay="1000"/>
                            </p:stCondLst>
                            <p:childTnLst>
                              <p:par>
                                <p:cTn id="76" presetID="63" presetClass="entr" presetSubtype="0" fill="hold" nodeType="afterEffect">
                                  <p:stCondLst>
                                    <p:cond delay="0"/>
                                  </p:stCondLst>
                                  <p:childTnLst>
                                    <p:set>
                                      <p:cBhvr>
                                        <p:cTn id="77" dur="1" fill="hold">
                                          <p:stCondLst>
                                            <p:cond delay="0"/>
                                          </p:stCondLst>
                                        </p:cTn>
                                        <p:tgtEl>
                                          <p:spTgt spid="90"/>
                                        </p:tgtEl>
                                        <p:attrNameLst>
                                          <p:attrName>style.visibility</p:attrName>
                                        </p:attrNameLst>
                                      </p:cBhvr>
                                      <p:to>
                                        <p:strVal val="visible"/>
                                      </p:to>
                                    </p:set>
                                    <p:anim calcmode="lin" valueType="num">
                                      <p:cBhvr>
                                        <p:cTn id="78" dur="1000" fill="hold"/>
                                        <p:tgtEl>
                                          <p:spTgt spid="90"/>
                                        </p:tgtEl>
                                        <p:attrNameLst>
                                          <p:attrName>drawProgress</p:attrName>
                                        </p:attrNameLst>
                                      </p:cBhvr>
                                      <p:tavLst>
                                        <p:tav tm="0">
                                          <p:val>
                                            <p:fltVal val="0"/>
                                          </p:val>
                                        </p:tav>
                                        <p:tav tm="100000">
                                          <p:val>
                                            <p:fltVal val="1"/>
                                          </p:val>
                                        </p:tav>
                                      </p:tavLst>
                                    </p:anim>
                                  </p:childTnLst>
                                </p:cTn>
                              </p:par>
                            </p:childTnLst>
                          </p:cTn>
                        </p:par>
                        <p:par>
                          <p:cTn id="79" fill="hold">
                            <p:stCondLst>
                              <p:cond delay="2000"/>
                            </p:stCondLst>
                            <p:childTnLst>
                              <p:par>
                                <p:cTn id="80" presetID="63" presetClass="entr" presetSubtype="0" fill="hold" nodeType="after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1000" fill="hold"/>
                                        <p:tgtEl>
                                          <p:spTgt spid="97"/>
                                        </p:tgtEl>
                                        <p:attrNameLst>
                                          <p:attrName>drawProgress</p:attrName>
                                        </p:attrNameLst>
                                      </p:cBhvr>
                                      <p:tavLst>
                                        <p:tav tm="0">
                                          <p:val>
                                            <p:fltVal val="0"/>
                                          </p:val>
                                        </p:tav>
                                        <p:tav tm="100000">
                                          <p:val>
                                            <p:fltVal val="1"/>
                                          </p:val>
                                        </p:tav>
                                      </p:tavLst>
                                    </p:anim>
                                  </p:childTnLst>
                                </p:cTn>
                              </p:par>
                            </p:childTnLst>
                          </p:cTn>
                        </p:par>
                        <p:par>
                          <p:cTn id="83" fill="hold">
                            <p:stCondLst>
                              <p:cond delay="3000"/>
                            </p:stCondLst>
                            <p:childTnLst>
                              <p:par>
                                <p:cTn id="84" presetID="63" presetClass="entr" presetSubtype="0" fill="hold" nodeType="afterEffect">
                                  <p:stCondLst>
                                    <p:cond delay="0"/>
                                  </p:stCondLst>
                                  <p:childTnLst>
                                    <p:set>
                                      <p:cBhvr>
                                        <p:cTn id="85" dur="1" fill="hold">
                                          <p:stCondLst>
                                            <p:cond delay="0"/>
                                          </p:stCondLst>
                                        </p:cTn>
                                        <p:tgtEl>
                                          <p:spTgt spid="106"/>
                                        </p:tgtEl>
                                        <p:attrNameLst>
                                          <p:attrName>style.visibility</p:attrName>
                                        </p:attrNameLst>
                                      </p:cBhvr>
                                      <p:to>
                                        <p:strVal val="visible"/>
                                      </p:to>
                                    </p:set>
                                    <p:anim calcmode="lin" valueType="num">
                                      <p:cBhvr>
                                        <p:cTn id="86" dur="1000" fill="hold"/>
                                        <p:tgtEl>
                                          <p:spTgt spid="106"/>
                                        </p:tgtEl>
                                        <p:attrNameLst>
                                          <p:attrName>drawProgress</p:attrName>
                                        </p:attrNameLst>
                                      </p:cBhvr>
                                      <p:tavLst>
                                        <p:tav tm="0">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8" grpId="0" animBg="1"/>
      <p:bldP spid="49" grpId="0" animBg="1"/>
      <p:bldP spid="50" grpId="0" animBg="1"/>
      <p:bldP spid="51" grpId="0" animBg="1"/>
      <p:bldP spid="52" grpId="0" animBg="1"/>
      <p:bldP spid="53" grpId="0" animBg="1"/>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5">
            <a:extLst>
              <a:ext uri="{FF2B5EF4-FFF2-40B4-BE49-F238E27FC236}">
                <a16:creationId xmlns:a16="http://schemas.microsoft.com/office/drawing/2014/main" id="{DF03DA8E-570C-4AE9-A7F1-8D48B7F3EC54}"/>
              </a:ext>
            </a:extLst>
          </p:cNvPr>
          <p:cNvSpPr/>
          <p:nvPr/>
        </p:nvSpPr>
        <p:spPr bwMode="gray">
          <a:xfrm>
            <a:off x="9269845" y="3614"/>
            <a:ext cx="2915935" cy="6875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19" name="Gleichschenkliges Dreieck 6">
            <a:extLst>
              <a:ext uri="{FF2B5EF4-FFF2-40B4-BE49-F238E27FC236}">
                <a16:creationId xmlns:a16="http://schemas.microsoft.com/office/drawing/2014/main" id="{64815A31-FD76-4206-91BB-E226628718DB}"/>
              </a:ext>
            </a:extLst>
          </p:cNvPr>
          <p:cNvSpPr/>
          <p:nvPr/>
        </p:nvSpPr>
        <p:spPr bwMode="gray">
          <a:xfrm>
            <a:off x="7830354" y="10277"/>
            <a:ext cx="1438303" cy="6875105"/>
          </a:xfrm>
          <a:prstGeom prst="triangle">
            <a:avLst>
              <a:gd name="adj" fmla="val 10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2" name="Subtitle 1">
            <a:extLst>
              <a:ext uri="{FF2B5EF4-FFF2-40B4-BE49-F238E27FC236}">
                <a16:creationId xmlns:a16="http://schemas.microsoft.com/office/drawing/2014/main" id="{D0970968-3E09-42DF-9754-F15DDF895647}"/>
              </a:ext>
            </a:extLst>
          </p:cNvPr>
          <p:cNvSpPr>
            <a:spLocks noGrp="1"/>
          </p:cNvSpPr>
          <p:nvPr>
            <p:ph type="subTitle" idx="13"/>
          </p:nvPr>
        </p:nvSpPr>
        <p:spPr>
          <a:xfrm>
            <a:off x="880745" y="3110909"/>
            <a:ext cx="6974135" cy="439130"/>
          </a:xfrm>
        </p:spPr>
        <p:txBody>
          <a:bodyPr/>
          <a:lstStyle/>
          <a:p>
            <a:r>
              <a:rPr lang="en-US"/>
              <a:t>The hypothesis is more time on proactive thinking, more productive in business</a:t>
            </a:r>
          </a:p>
        </p:txBody>
      </p:sp>
      <p:sp>
        <p:nvSpPr>
          <p:cNvPr id="4" name="Footer Placeholder 3">
            <a:extLst>
              <a:ext uri="{FF2B5EF4-FFF2-40B4-BE49-F238E27FC236}">
                <a16:creationId xmlns:a16="http://schemas.microsoft.com/office/drawing/2014/main" id="{E06EBC8D-787F-4340-AFC6-7CEA2874E0CE}"/>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41705BFA-69C5-41DD-9514-B23A73E732AF}"/>
              </a:ext>
            </a:extLst>
          </p:cNvPr>
          <p:cNvSpPr>
            <a:spLocks noGrp="1"/>
          </p:cNvSpPr>
          <p:nvPr>
            <p:ph type="sldNum" sz="quarter" idx="12"/>
          </p:nvPr>
        </p:nvSpPr>
        <p:spPr/>
        <p:txBody>
          <a:bodyPr/>
          <a:lstStyle/>
          <a:p>
            <a:fld id="{EEAD9179-7A6B-4268-BEB2-F3B8EB06115B}" type="slidenum">
              <a:rPr lang="en-US" smtClean="0"/>
              <a:pPr/>
              <a:t>5</a:t>
            </a:fld>
            <a:endParaRPr lang="en-US"/>
          </a:p>
        </p:txBody>
      </p:sp>
      <p:sp>
        <p:nvSpPr>
          <p:cNvPr id="7" name="Google Shape;310;p5">
            <a:extLst>
              <a:ext uri="{FF2B5EF4-FFF2-40B4-BE49-F238E27FC236}">
                <a16:creationId xmlns:a16="http://schemas.microsoft.com/office/drawing/2014/main" id="{CF65843A-1203-47DE-8E53-7CD4D8E26425}"/>
              </a:ext>
            </a:extLst>
          </p:cNvPr>
          <p:cNvSpPr txBox="1"/>
          <p:nvPr/>
        </p:nvSpPr>
        <p:spPr>
          <a:xfrm>
            <a:off x="6230059" y="4059305"/>
            <a:ext cx="1760977" cy="548640"/>
          </a:xfrm>
          <a:prstGeom prst="rect">
            <a:avLst/>
          </a:prstGeom>
          <a:noFill/>
          <a:ln>
            <a:noFill/>
          </a:ln>
        </p:spPr>
        <p:txBody>
          <a:bodyPr spcFirstLastPara="1" wrap="square" lIns="91425" tIns="91425" rIns="91425" bIns="91425" anchor="t" anchorCtr="0">
            <a:noAutofit/>
          </a:bodyPr>
          <a:lstStyle/>
          <a:p>
            <a:pPr marL="0" marR="0" lvl="0" indent="0" rtl="0">
              <a:lnSpc>
                <a:spcPct val="100000"/>
              </a:lnSpc>
              <a:spcBef>
                <a:spcPts val="0"/>
              </a:spcBef>
              <a:spcAft>
                <a:spcPts val="0"/>
              </a:spcAft>
              <a:buClr>
                <a:srgbClr val="000000"/>
              </a:buClr>
              <a:buSzPts val="4400"/>
              <a:buFont typeface="Arial"/>
              <a:buNone/>
            </a:pPr>
            <a:r>
              <a:rPr lang="en-US" sz="4400" b="1" i="1" baseline="30000">
                <a:solidFill>
                  <a:schemeClr val="accent2"/>
                </a:solidFill>
                <a:latin typeface="Arial"/>
                <a:ea typeface="Arial"/>
                <a:cs typeface="Arial"/>
                <a:sym typeface="Arial"/>
              </a:rPr>
              <a:t>Revenue</a:t>
            </a:r>
            <a:r>
              <a:rPr lang="en-US" sz="4400" b="1" i="1" baseline="30000">
                <a:solidFill>
                  <a:schemeClr val="accent4"/>
                </a:solidFill>
                <a:latin typeface="Arial"/>
                <a:ea typeface="Arial"/>
                <a:cs typeface="Arial"/>
                <a:sym typeface="Arial"/>
              </a:rPr>
              <a:t> </a:t>
            </a:r>
            <a:endParaRPr sz="4000" b="1" i="1" u="none" strike="noStrike" cap="none" baseline="30000">
              <a:solidFill>
                <a:schemeClr val="accent4"/>
              </a:solidFill>
              <a:latin typeface="Arial"/>
              <a:ea typeface="Arial"/>
              <a:cs typeface="Arial"/>
              <a:sym typeface="Arial"/>
            </a:endParaRPr>
          </a:p>
        </p:txBody>
      </p:sp>
      <p:sp>
        <p:nvSpPr>
          <p:cNvPr id="8" name="Google Shape;311;p5">
            <a:extLst>
              <a:ext uri="{FF2B5EF4-FFF2-40B4-BE49-F238E27FC236}">
                <a16:creationId xmlns:a16="http://schemas.microsoft.com/office/drawing/2014/main" id="{FA34A17C-206E-4D60-A049-52CFEE1E2A11}"/>
              </a:ext>
            </a:extLst>
          </p:cNvPr>
          <p:cNvSpPr txBox="1"/>
          <p:nvPr/>
        </p:nvSpPr>
        <p:spPr>
          <a:xfrm>
            <a:off x="6013722" y="4453714"/>
            <a:ext cx="1884240" cy="750689"/>
          </a:xfrm>
          <a:prstGeom prst="rect">
            <a:avLst/>
          </a:prstGeom>
          <a:noFill/>
          <a:ln>
            <a:noFill/>
          </a:ln>
        </p:spPr>
        <p:txBody>
          <a:bodyPr spcFirstLastPara="1" wrap="square" lIns="91425" tIns="91425" rIns="91425" bIns="91425" anchor="t" anchorCtr="0">
            <a:noAutofit/>
          </a:bodyPr>
          <a:lstStyle/>
          <a:p>
            <a:pPr lvl="0">
              <a:lnSpc>
                <a:spcPct val="115000"/>
              </a:lnSpc>
              <a:buSzPts val="1000"/>
            </a:pPr>
            <a:r>
              <a:rPr lang="en-US" sz="1400" i="1">
                <a:solidFill>
                  <a:srgbClr val="0F374F"/>
                </a:solidFill>
                <a:latin typeface="Helvetica Neue" panose="02000503000000020004" pitchFamily="2" charset="0"/>
                <a:ea typeface="Helvetica Neue" panose="02000503000000020004" pitchFamily="2" charset="0"/>
                <a:cs typeface="Helvetica Neue" panose="02000503000000020004" pitchFamily="2" charset="0"/>
              </a:rPr>
              <a:t>More productivity, more agility and more business values </a:t>
            </a:r>
            <a:endParaRPr lang="en-US" sz="1400" b="0" i="1" u="none" strike="noStrike" cap="none">
              <a:solidFill>
                <a:srgbClr val="0F374F"/>
              </a:solidFill>
              <a:sym typeface="Arial"/>
            </a:endParaRPr>
          </a:p>
        </p:txBody>
      </p:sp>
      <p:sp>
        <p:nvSpPr>
          <p:cNvPr id="11" name="Google Shape;314;p5">
            <a:extLst>
              <a:ext uri="{FF2B5EF4-FFF2-40B4-BE49-F238E27FC236}">
                <a16:creationId xmlns:a16="http://schemas.microsoft.com/office/drawing/2014/main" id="{3421E4B9-8D2C-4A7E-91F9-5911FDC300CF}"/>
              </a:ext>
            </a:extLst>
          </p:cNvPr>
          <p:cNvSpPr txBox="1"/>
          <p:nvPr/>
        </p:nvSpPr>
        <p:spPr>
          <a:xfrm>
            <a:off x="706415" y="4453714"/>
            <a:ext cx="1956195" cy="992989"/>
          </a:xfrm>
          <a:prstGeom prst="rect">
            <a:avLst/>
          </a:prstGeom>
          <a:noFill/>
          <a:ln>
            <a:noFill/>
          </a:ln>
        </p:spPr>
        <p:txBody>
          <a:bodyPr spcFirstLastPara="1" wrap="square" lIns="91425" tIns="91425" rIns="91425" bIns="91425" anchor="t" anchorCtr="0">
            <a:noAutofit/>
          </a:bodyPr>
          <a:lstStyle/>
          <a:p>
            <a:pPr>
              <a:lnSpc>
                <a:spcPct val="115000"/>
              </a:lnSpc>
              <a:buClr>
                <a:srgbClr val="000000"/>
              </a:buClr>
              <a:buSzPts val="1000"/>
            </a:pPr>
            <a:r>
              <a:rPr lang="en-US" sz="1400" i="1">
                <a:solidFill>
                  <a:schemeClr val="accent1"/>
                </a:solidFill>
                <a:latin typeface="Arial"/>
                <a:cs typeface="Arial"/>
              </a:rPr>
              <a:t>save person days and corresponding cost in operations, and focus on strategic matters   </a:t>
            </a:r>
          </a:p>
        </p:txBody>
      </p:sp>
      <p:sp>
        <p:nvSpPr>
          <p:cNvPr id="13" name="Google Shape;305;p5">
            <a:extLst>
              <a:ext uri="{FF2B5EF4-FFF2-40B4-BE49-F238E27FC236}">
                <a16:creationId xmlns:a16="http://schemas.microsoft.com/office/drawing/2014/main" id="{D85B5859-0BDF-4AD7-8146-2959DCFDB1E0}"/>
              </a:ext>
            </a:extLst>
          </p:cNvPr>
          <p:cNvSpPr txBox="1"/>
          <p:nvPr/>
        </p:nvSpPr>
        <p:spPr>
          <a:xfrm>
            <a:off x="3489322" y="4059305"/>
            <a:ext cx="2286000" cy="548640"/>
          </a:xfrm>
          <a:prstGeom prst="rect">
            <a:avLst/>
          </a:prstGeom>
          <a:noFill/>
          <a:ln>
            <a:noFill/>
          </a:ln>
        </p:spPr>
        <p:txBody>
          <a:bodyPr spcFirstLastPara="1" wrap="square" lIns="91425" tIns="91425" rIns="91425" bIns="91425" anchor="t" anchorCtr="0">
            <a:noAutofit/>
          </a:bodyPr>
          <a:lstStyle/>
          <a:p>
            <a:pPr lvl="0">
              <a:buSzPts val="4400"/>
            </a:pPr>
            <a:r>
              <a:rPr lang="en-US" sz="4400" b="1" i="1" baseline="30000">
                <a:solidFill>
                  <a:schemeClr val="accent2"/>
                </a:solidFill>
              </a:rPr>
              <a:t>Insights</a:t>
            </a:r>
            <a:r>
              <a:rPr lang="en-US" sz="4400" b="1" i="1" baseline="30000">
                <a:solidFill>
                  <a:schemeClr val="accent4"/>
                </a:solidFill>
              </a:rPr>
              <a:t> </a:t>
            </a:r>
          </a:p>
        </p:txBody>
      </p:sp>
      <p:sp>
        <p:nvSpPr>
          <p:cNvPr id="14" name="Google Shape;315;p5">
            <a:extLst>
              <a:ext uri="{FF2B5EF4-FFF2-40B4-BE49-F238E27FC236}">
                <a16:creationId xmlns:a16="http://schemas.microsoft.com/office/drawing/2014/main" id="{C165108D-D48A-433C-814F-8168B05C5309}"/>
              </a:ext>
            </a:extLst>
          </p:cNvPr>
          <p:cNvSpPr txBox="1"/>
          <p:nvPr/>
        </p:nvSpPr>
        <p:spPr>
          <a:xfrm>
            <a:off x="3545624" y="4453714"/>
            <a:ext cx="1754100" cy="4854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0"/>
              </a:spcBef>
              <a:spcAft>
                <a:spcPts val="0"/>
              </a:spcAft>
              <a:buClr>
                <a:srgbClr val="000000"/>
              </a:buClr>
              <a:buSzPts val="1000"/>
              <a:buFont typeface="Arial"/>
              <a:buNone/>
            </a:pPr>
            <a:r>
              <a:rPr lang="en-US" sz="1400" b="0" i="1" u="none" strike="noStrike" cap="none">
                <a:solidFill>
                  <a:schemeClr val="accent1"/>
                </a:solidFill>
                <a:latin typeface="Arial"/>
                <a:ea typeface="Arial"/>
                <a:cs typeface="Arial"/>
                <a:sym typeface="Arial"/>
              </a:rPr>
              <a:t>More hints for your business strategies  </a:t>
            </a:r>
            <a:endParaRPr lang="en-US" sz="1400" b="0" i="1" u="none" strike="noStrike" cap="none" baseline="30000">
              <a:solidFill>
                <a:schemeClr val="accent1"/>
              </a:solidFill>
              <a:latin typeface="Arial"/>
              <a:ea typeface="Arial"/>
              <a:cs typeface="Arial"/>
              <a:sym typeface="Arial"/>
            </a:endParaRPr>
          </a:p>
        </p:txBody>
      </p:sp>
      <p:sp>
        <p:nvSpPr>
          <p:cNvPr id="15" name="Google Shape;318;p5">
            <a:extLst>
              <a:ext uri="{FF2B5EF4-FFF2-40B4-BE49-F238E27FC236}">
                <a16:creationId xmlns:a16="http://schemas.microsoft.com/office/drawing/2014/main" id="{E2D0E709-7DCA-4686-BD78-BEA63BF9BE8D}"/>
              </a:ext>
            </a:extLst>
          </p:cNvPr>
          <p:cNvSpPr txBox="1"/>
          <p:nvPr/>
        </p:nvSpPr>
        <p:spPr>
          <a:xfrm>
            <a:off x="798239" y="581376"/>
            <a:ext cx="8277712" cy="1296926"/>
          </a:xfrm>
          <a:prstGeom prst="rect">
            <a:avLst/>
          </a:prstGeom>
          <a:noFill/>
          <a:ln>
            <a:noFill/>
          </a:ln>
        </p:spPr>
        <p:txBody>
          <a:bodyPr spcFirstLastPara="1" wrap="square" lIns="91425" tIns="91425" rIns="91425" bIns="91425" anchor="t" anchorCtr="0">
            <a:noAutofit/>
          </a:bodyPr>
          <a:lstStyle/>
          <a:p>
            <a:pPr marL="0" marR="0" lvl="0" indent="0" algn="l" rtl="0">
              <a:lnSpc>
                <a:spcPct val="80000"/>
              </a:lnSpc>
              <a:spcBef>
                <a:spcPts val="0"/>
              </a:spcBef>
              <a:spcAft>
                <a:spcPts val="0"/>
              </a:spcAft>
              <a:buClr>
                <a:srgbClr val="000000"/>
              </a:buClr>
              <a:buSzPts val="5000"/>
              <a:buFont typeface="Arial"/>
              <a:buNone/>
            </a:pPr>
            <a:r>
              <a:rPr lang="en-US" sz="3600" b="1" i="0" u="none" strike="noStrike" cap="none">
                <a:solidFill>
                  <a:schemeClr val="accent1"/>
                </a:solidFill>
                <a:latin typeface="Arial"/>
                <a:ea typeface="Arial"/>
                <a:cs typeface="Arial"/>
                <a:sym typeface="Arial"/>
                <a:extLst>
                  <a: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7"/>
                  </a:ext>
                </a:extLst>
              </a:rPr>
              <a:t>The efficiency gains do not mean only person days saved, but also more business insights and values generated </a:t>
            </a:r>
            <a:endParaRPr lang="en-US" sz="3600" b="1" i="0" u="none" strike="noStrike" cap="none">
              <a:solidFill>
                <a:schemeClr val="accent1"/>
              </a:solidFill>
              <a:latin typeface="Arial"/>
              <a:ea typeface="Arial"/>
              <a:cs typeface="Arial"/>
              <a:sym typeface="Arial"/>
            </a:endParaRPr>
          </a:p>
        </p:txBody>
      </p:sp>
      <p:cxnSp>
        <p:nvCxnSpPr>
          <p:cNvPr id="16" name="Google Shape;321;p5">
            <a:extLst>
              <a:ext uri="{FF2B5EF4-FFF2-40B4-BE49-F238E27FC236}">
                <a16:creationId xmlns:a16="http://schemas.microsoft.com/office/drawing/2014/main" id="{CABA33BC-361F-4A1C-8F3A-D17741BF0493}"/>
              </a:ext>
            </a:extLst>
          </p:cNvPr>
          <p:cNvCxnSpPr>
            <a:cxnSpLocks/>
          </p:cNvCxnSpPr>
          <p:nvPr/>
        </p:nvCxnSpPr>
        <p:spPr>
          <a:xfrm flipH="1">
            <a:off x="5504651" y="4027072"/>
            <a:ext cx="373164" cy="1189795"/>
          </a:xfrm>
          <a:prstGeom prst="straightConnector1">
            <a:avLst/>
          </a:prstGeom>
          <a:noFill/>
          <a:ln w="15875" cap="flat" cmpd="sng">
            <a:solidFill>
              <a:srgbClr val="0D364E"/>
            </a:solidFill>
            <a:prstDash val="solid"/>
            <a:round/>
            <a:headEnd type="none" w="sm" len="sm"/>
            <a:tailEnd type="none" w="sm" len="sm"/>
          </a:ln>
        </p:spPr>
      </p:cxnSp>
      <p:cxnSp>
        <p:nvCxnSpPr>
          <p:cNvPr id="17" name="Google Shape;321;p5">
            <a:extLst>
              <a:ext uri="{FF2B5EF4-FFF2-40B4-BE49-F238E27FC236}">
                <a16:creationId xmlns:a16="http://schemas.microsoft.com/office/drawing/2014/main" id="{621E6969-1276-4A2F-A4AE-F133FEAB9070}"/>
              </a:ext>
            </a:extLst>
          </p:cNvPr>
          <p:cNvCxnSpPr>
            <a:cxnSpLocks/>
          </p:cNvCxnSpPr>
          <p:nvPr/>
        </p:nvCxnSpPr>
        <p:spPr>
          <a:xfrm flipH="1">
            <a:off x="3018266" y="4019604"/>
            <a:ext cx="373164" cy="1189795"/>
          </a:xfrm>
          <a:prstGeom prst="straightConnector1">
            <a:avLst/>
          </a:prstGeom>
          <a:noFill/>
          <a:ln w="15875" cap="flat" cmpd="sng">
            <a:solidFill>
              <a:srgbClr val="0D364E"/>
            </a:solidFill>
            <a:prstDash val="solid"/>
            <a:round/>
            <a:headEnd type="none" w="sm" len="sm"/>
            <a:tailEnd type="none" w="sm" len="sm"/>
          </a:ln>
        </p:spPr>
      </p:cxnSp>
      <p:sp>
        <p:nvSpPr>
          <p:cNvPr id="21" name="Rechteck 19">
            <a:extLst>
              <a:ext uri="{FF2B5EF4-FFF2-40B4-BE49-F238E27FC236}">
                <a16:creationId xmlns:a16="http://schemas.microsoft.com/office/drawing/2014/main" id="{BCCECC4A-D4B1-4693-82C6-6173ADB2B3C6}"/>
              </a:ext>
            </a:extLst>
          </p:cNvPr>
          <p:cNvSpPr/>
          <p:nvPr/>
        </p:nvSpPr>
        <p:spPr>
          <a:xfrm>
            <a:off x="9368960" y="1502827"/>
            <a:ext cx="2802420" cy="1077218"/>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BCFF"/>
                </a:solidFill>
                <a:effectLst/>
                <a:uLnTx/>
                <a:uFillTx/>
                <a:latin typeface="Arial"/>
                <a:cs typeface="Arial"/>
              </a:rPr>
              <a:t>Consider 2 scenarios</a:t>
            </a:r>
            <a:endParaRPr kumimoji="0" lang="en-GB" sz="3200" b="1" i="0" u="none" strike="noStrike" kern="1200" cap="none" spc="0" normalizeH="0" baseline="0" noProof="0">
              <a:ln>
                <a:noFill/>
              </a:ln>
              <a:solidFill>
                <a:srgbClr val="00BCFF"/>
              </a:solidFill>
              <a:effectLst/>
              <a:uLnTx/>
              <a:uFillTx/>
              <a:latin typeface="Arial"/>
              <a:cs typeface="Arial"/>
            </a:endParaRPr>
          </a:p>
        </p:txBody>
      </p:sp>
      <p:sp>
        <p:nvSpPr>
          <p:cNvPr id="22" name="Rechteck 21">
            <a:extLst>
              <a:ext uri="{FF2B5EF4-FFF2-40B4-BE49-F238E27FC236}">
                <a16:creationId xmlns:a16="http://schemas.microsoft.com/office/drawing/2014/main" id="{9668C9CF-9EC5-47C3-A162-0FBBF5C1FFFB}"/>
              </a:ext>
            </a:extLst>
          </p:cNvPr>
          <p:cNvSpPr/>
          <p:nvPr/>
        </p:nvSpPr>
        <p:spPr>
          <a:xfrm>
            <a:off x="9075951" y="3036934"/>
            <a:ext cx="2721958" cy="3314818"/>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marL="269944" indent="-269944">
              <a:spcBef>
                <a:spcPts val="600"/>
              </a:spcBef>
              <a:spcAft>
                <a:spcPts val="600"/>
              </a:spcAft>
              <a:buBlip>
                <a:blip r:embed="rId3"/>
              </a:buBlip>
              <a:defRPr/>
            </a:pPr>
            <a:r>
              <a:rPr lang="en-US" sz="1600" b="1">
                <a:solidFill>
                  <a:srgbClr val="FFFFFF"/>
                </a:solidFill>
                <a:latin typeface="Arial"/>
                <a:cs typeface="Arial"/>
              </a:rPr>
              <a:t>When you are working with excel pivot table, but it responses very slowly, how is your analysis going?</a:t>
            </a:r>
          </a:p>
          <a:p>
            <a:pPr marL="269944" indent="-269944">
              <a:spcBef>
                <a:spcPts val="600"/>
              </a:spcBef>
              <a:spcAft>
                <a:spcPts val="600"/>
              </a:spcAft>
              <a:buBlip>
                <a:blip r:embed="rId3"/>
              </a:buBlip>
              <a:defRPr/>
            </a:pPr>
            <a:r>
              <a:rPr lang="en-US" sz="1600" b="1">
                <a:solidFill>
                  <a:srgbClr val="FFFFFF"/>
                </a:solidFill>
                <a:latin typeface="Arial"/>
                <a:cs typeface="Arial"/>
              </a:rPr>
              <a:t>When you would like to do a meta analysis, and need to extract key columns from 100+ literatures, how is your feeling? </a:t>
            </a:r>
          </a:p>
          <a:p>
            <a:pPr marL="285750" marR="0" lvl="0" indent="-285750" algn="l" defTabSz="914309"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23" name="Google Shape;305;p5">
            <a:extLst>
              <a:ext uri="{FF2B5EF4-FFF2-40B4-BE49-F238E27FC236}">
                <a16:creationId xmlns:a16="http://schemas.microsoft.com/office/drawing/2014/main" id="{24657D4C-459D-4CAA-A6AF-F66056BF7A63}"/>
              </a:ext>
            </a:extLst>
          </p:cNvPr>
          <p:cNvSpPr txBox="1"/>
          <p:nvPr/>
        </p:nvSpPr>
        <p:spPr>
          <a:xfrm>
            <a:off x="716377" y="4059305"/>
            <a:ext cx="2286000" cy="548640"/>
          </a:xfrm>
          <a:prstGeom prst="rect">
            <a:avLst/>
          </a:prstGeom>
          <a:noFill/>
          <a:ln>
            <a:noFill/>
          </a:ln>
        </p:spPr>
        <p:txBody>
          <a:bodyPr spcFirstLastPara="1" wrap="square" lIns="91425" tIns="91425" rIns="91425" bIns="91425" anchor="t" anchorCtr="0">
            <a:noAutofit/>
          </a:bodyPr>
          <a:lstStyle/>
          <a:p>
            <a:pPr lvl="0">
              <a:buSzPts val="4400"/>
            </a:pPr>
            <a:r>
              <a:rPr lang="en-US" sz="4400" b="1" i="1" baseline="30000">
                <a:solidFill>
                  <a:schemeClr val="accent2"/>
                </a:solidFill>
              </a:rPr>
              <a:t>Efficiency</a:t>
            </a:r>
            <a:endParaRPr lang="en-US" sz="4400" b="1" i="1" baseline="30000">
              <a:solidFill>
                <a:schemeClr val="accent4"/>
              </a:solidFill>
            </a:endParaRPr>
          </a:p>
        </p:txBody>
      </p:sp>
    </p:spTree>
    <p:extLst>
      <p:ext uri="{BB962C8B-B14F-4D97-AF65-F5344CB8AC3E}">
        <p14:creationId xmlns:p14="http://schemas.microsoft.com/office/powerpoint/2010/main" val="2267113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714682E-0FD5-43BE-940A-301C0A4F2FD9}"/>
              </a:ext>
            </a:extLst>
          </p:cNvPr>
          <p:cNvSpPr>
            <a:spLocks noGrp="1"/>
          </p:cNvSpPr>
          <p:nvPr>
            <p:ph type="subTitle" idx="13"/>
          </p:nvPr>
        </p:nvSpPr>
        <p:spPr>
          <a:xfrm>
            <a:off x="833181" y="1526297"/>
            <a:ext cx="5058849" cy="302109"/>
          </a:xfrm>
        </p:spPr>
        <p:txBody>
          <a:bodyPr/>
          <a:lstStyle/>
          <a:p>
            <a:r>
              <a:rPr lang="en-US" b="1" i="1"/>
              <a:t>Not exhausted </a:t>
            </a:r>
          </a:p>
        </p:txBody>
      </p:sp>
      <p:sp>
        <p:nvSpPr>
          <p:cNvPr id="4" name="Footer Placeholder 3">
            <a:extLst>
              <a:ext uri="{FF2B5EF4-FFF2-40B4-BE49-F238E27FC236}">
                <a16:creationId xmlns:a16="http://schemas.microsoft.com/office/drawing/2014/main" id="{C6EE9AA2-53BA-40B3-AA23-48D20DDF9022}"/>
              </a:ext>
            </a:extLst>
          </p:cNvPr>
          <p:cNvSpPr>
            <a:spLocks noGrp="1"/>
          </p:cNvSpPr>
          <p:nvPr>
            <p:ph type="ftr" sz="quarter" idx="11"/>
          </p:nvPr>
        </p:nvSpPr>
        <p:spPr/>
        <p:txBody>
          <a:bodyPr/>
          <a:lstStyle/>
          <a:p>
            <a:r>
              <a:rPr lang="en-US"/>
              <a:t>/// Advanced Analytics and Digital Transformation /// NLP session /// March 2022</a:t>
            </a:r>
          </a:p>
        </p:txBody>
      </p:sp>
      <p:sp>
        <p:nvSpPr>
          <p:cNvPr id="5" name="Slide Number Placeholder 4">
            <a:extLst>
              <a:ext uri="{FF2B5EF4-FFF2-40B4-BE49-F238E27FC236}">
                <a16:creationId xmlns:a16="http://schemas.microsoft.com/office/drawing/2014/main" id="{6851B192-78B0-4C96-A544-E0F65A6BEC25}"/>
              </a:ext>
            </a:extLst>
          </p:cNvPr>
          <p:cNvSpPr>
            <a:spLocks noGrp="1"/>
          </p:cNvSpPr>
          <p:nvPr>
            <p:ph type="sldNum" sz="quarter" idx="12"/>
          </p:nvPr>
        </p:nvSpPr>
        <p:spPr/>
        <p:txBody>
          <a:bodyPr/>
          <a:lstStyle/>
          <a:p>
            <a:fld id="{EEAD9179-7A6B-4268-BEB2-F3B8EB06115B}" type="slidenum">
              <a:rPr lang="en-US" smtClean="0"/>
              <a:pPr/>
              <a:t>6</a:t>
            </a:fld>
            <a:endParaRPr lang="en-US"/>
          </a:p>
        </p:txBody>
      </p:sp>
      <p:sp>
        <p:nvSpPr>
          <p:cNvPr id="8" name="TextBox 7">
            <a:extLst>
              <a:ext uri="{FF2B5EF4-FFF2-40B4-BE49-F238E27FC236}">
                <a16:creationId xmlns:a16="http://schemas.microsoft.com/office/drawing/2014/main" id="{FC60763A-CB71-47A6-A9D8-64C77E8E2FA9}"/>
              </a:ext>
            </a:extLst>
          </p:cNvPr>
          <p:cNvSpPr txBox="1"/>
          <p:nvPr>
            <p:custDataLst>
              <p:tags r:id="rId1"/>
            </p:custDataLst>
          </p:nvPr>
        </p:nvSpPr>
        <p:spPr bwMode="gray">
          <a:xfrm>
            <a:off x="804468" y="2522770"/>
            <a:ext cx="2513106" cy="129266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pPr>
              <a:spcBef>
                <a:spcPct val="20000"/>
              </a:spcBef>
              <a:spcAft>
                <a:spcPts val="0"/>
              </a:spcAft>
            </a:pPr>
            <a:r>
              <a:rPr lang="en-US" sz="1050">
                <a:solidFill>
                  <a:schemeClr val="tx1"/>
                </a:solidFill>
              </a:rPr>
              <a:t>Understanding gene-disease associations, pathways and systems, is critical for drug discovery and basic research.  Much of the data to support these decisions are buried in unstructured text, both in public databases and internal sources, and it’s a constant challenge to keep on top of this information</a:t>
            </a:r>
            <a:endParaRPr lang="en-GB" sz="1050">
              <a:solidFill>
                <a:schemeClr val="tx1"/>
              </a:solidFill>
            </a:endParaRPr>
          </a:p>
        </p:txBody>
      </p:sp>
      <p:sp>
        <p:nvSpPr>
          <p:cNvPr id="10" name="TextBox 9">
            <a:extLst>
              <a:ext uri="{FF2B5EF4-FFF2-40B4-BE49-F238E27FC236}">
                <a16:creationId xmlns:a16="http://schemas.microsoft.com/office/drawing/2014/main" id="{7AF699CD-B89F-4689-B7A5-513FEE3FB800}"/>
              </a:ext>
            </a:extLst>
          </p:cNvPr>
          <p:cNvSpPr txBox="1"/>
          <p:nvPr>
            <p:custDataLst>
              <p:tags r:id="rId2"/>
            </p:custDataLst>
          </p:nvPr>
        </p:nvSpPr>
        <p:spPr bwMode="gray">
          <a:xfrm>
            <a:off x="3407637" y="2552324"/>
            <a:ext cx="2335753" cy="1292662"/>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pPr>
              <a:spcBef>
                <a:spcPct val="20000"/>
              </a:spcBef>
              <a:spcAft>
                <a:spcPts val="0"/>
              </a:spcAft>
            </a:pPr>
            <a:r>
              <a:rPr lang="en-US" sz="1050">
                <a:solidFill>
                  <a:schemeClr val="tx1"/>
                </a:solidFill>
              </a:rPr>
              <a:t>Extracting and synthesizing the high value information that is found in this unstructured text. This can then be used in future study design and site selection, or to gain actionable information about competitors' worldwide clinical development activities.</a:t>
            </a:r>
            <a:endParaRPr lang="en-GB" sz="1050">
              <a:solidFill>
                <a:schemeClr val="tx1"/>
              </a:solidFill>
            </a:endParaRPr>
          </a:p>
        </p:txBody>
      </p:sp>
      <p:sp>
        <p:nvSpPr>
          <p:cNvPr id="14" name="TextBox 13">
            <a:extLst>
              <a:ext uri="{FF2B5EF4-FFF2-40B4-BE49-F238E27FC236}">
                <a16:creationId xmlns:a16="http://schemas.microsoft.com/office/drawing/2014/main" id="{0B9A88A2-188E-4E17-8C62-FCCFFC0CD862}"/>
              </a:ext>
            </a:extLst>
          </p:cNvPr>
          <p:cNvSpPr txBox="1"/>
          <p:nvPr>
            <p:custDataLst>
              <p:tags r:id="rId3"/>
            </p:custDataLst>
          </p:nvPr>
        </p:nvSpPr>
        <p:spPr bwMode="gray">
          <a:xfrm>
            <a:off x="9050192" y="2723812"/>
            <a:ext cx="2336493" cy="3508653"/>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pPr>
              <a:spcBef>
                <a:spcPct val="20000"/>
              </a:spcBef>
              <a:spcAft>
                <a:spcPts val="0"/>
              </a:spcAft>
            </a:pPr>
            <a:r>
              <a:rPr lang="en-GB" sz="2000" b="1"/>
              <a:t>ROI of </a:t>
            </a:r>
            <a:r>
              <a:rPr lang="en-GB" sz="2800" b="1"/>
              <a:t>3.3 to 1 </a:t>
            </a:r>
            <a:r>
              <a:rPr lang="en-GB" sz="2000" b="1"/>
              <a:t>in operating income </a:t>
            </a:r>
            <a:r>
              <a:rPr lang="en-GB" sz="2000">
                <a:solidFill>
                  <a:schemeClr val="tx1"/>
                </a:solidFill>
              </a:rPr>
              <a:t>for involved TAs, and dramatic </a:t>
            </a:r>
            <a:r>
              <a:rPr lang="en-GB" sz="2000" b="1"/>
              <a:t>increase in penetration rates </a:t>
            </a:r>
            <a:r>
              <a:rPr lang="en-GB" sz="2000">
                <a:solidFill>
                  <a:schemeClr val="tx1"/>
                </a:solidFill>
              </a:rPr>
              <a:t>and associated revenues (&gt;40% YoY in one TA) from commercial digital transformation</a:t>
            </a:r>
          </a:p>
        </p:txBody>
      </p:sp>
      <p:sp>
        <p:nvSpPr>
          <p:cNvPr id="16" name="TextBox 15">
            <a:extLst>
              <a:ext uri="{FF2B5EF4-FFF2-40B4-BE49-F238E27FC236}">
                <a16:creationId xmlns:a16="http://schemas.microsoft.com/office/drawing/2014/main" id="{02D6F6AB-4A3C-440E-BB66-ED48ECD8210D}"/>
              </a:ext>
            </a:extLst>
          </p:cNvPr>
          <p:cNvSpPr txBox="1"/>
          <p:nvPr/>
        </p:nvSpPr>
        <p:spPr bwMode="gray">
          <a:xfrm>
            <a:off x="833181" y="1828407"/>
            <a:ext cx="2484393" cy="30777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r>
              <a:rPr lang="en-GB" sz="2000" b="1">
                <a:solidFill>
                  <a:schemeClr val="accent2"/>
                </a:solidFill>
              </a:rPr>
              <a:t>Drug Discovery </a:t>
            </a:r>
          </a:p>
        </p:txBody>
      </p:sp>
      <p:cxnSp>
        <p:nvCxnSpPr>
          <p:cNvPr id="17" name="Straight Connector 16">
            <a:extLst>
              <a:ext uri="{FF2B5EF4-FFF2-40B4-BE49-F238E27FC236}">
                <a16:creationId xmlns:a16="http://schemas.microsoft.com/office/drawing/2014/main" id="{31E557AE-B4D1-4388-AC75-287F00BEEF12}"/>
              </a:ext>
            </a:extLst>
          </p:cNvPr>
          <p:cNvCxnSpPr>
            <a:cxnSpLocks/>
          </p:cNvCxnSpPr>
          <p:nvPr/>
        </p:nvCxnSpPr>
        <p:spPr bwMode="gray">
          <a:xfrm>
            <a:off x="804468" y="2354033"/>
            <a:ext cx="77724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hteck 5">
            <a:extLst>
              <a:ext uri="{FF2B5EF4-FFF2-40B4-BE49-F238E27FC236}">
                <a16:creationId xmlns:a16="http://schemas.microsoft.com/office/drawing/2014/main" id="{15AFAED2-86D7-45E2-B40F-2E6E3B9C97CF}"/>
              </a:ext>
            </a:extLst>
          </p:cNvPr>
          <p:cNvSpPr/>
          <p:nvPr/>
        </p:nvSpPr>
        <p:spPr bwMode="gray">
          <a:xfrm>
            <a:off x="9361645" y="3614"/>
            <a:ext cx="2824135" cy="6875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20" name="Gleichschenkliges Dreieck 6">
            <a:extLst>
              <a:ext uri="{FF2B5EF4-FFF2-40B4-BE49-F238E27FC236}">
                <a16:creationId xmlns:a16="http://schemas.microsoft.com/office/drawing/2014/main" id="{C4A7F8F8-568D-4258-9920-CBC98BB018B7}"/>
              </a:ext>
            </a:extLst>
          </p:cNvPr>
          <p:cNvSpPr/>
          <p:nvPr/>
        </p:nvSpPr>
        <p:spPr bwMode="gray">
          <a:xfrm>
            <a:off x="7923342" y="10277"/>
            <a:ext cx="1438303" cy="6875105"/>
          </a:xfrm>
          <a:prstGeom prst="triangle">
            <a:avLst>
              <a:gd name="adj" fmla="val 10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21" name="TextBox 20">
            <a:extLst>
              <a:ext uri="{FF2B5EF4-FFF2-40B4-BE49-F238E27FC236}">
                <a16:creationId xmlns:a16="http://schemas.microsoft.com/office/drawing/2014/main" id="{6B306A51-5CF8-490F-A21C-7F7BF1C1DF8F}"/>
              </a:ext>
            </a:extLst>
          </p:cNvPr>
          <p:cNvSpPr txBox="1"/>
          <p:nvPr/>
        </p:nvSpPr>
        <p:spPr bwMode="gray">
          <a:xfrm>
            <a:off x="3407637" y="1822906"/>
            <a:ext cx="2678072" cy="30777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r>
              <a:rPr lang="en-GB" sz="2000" b="1">
                <a:solidFill>
                  <a:schemeClr val="accent2"/>
                </a:solidFill>
              </a:rPr>
              <a:t>Trial Development</a:t>
            </a:r>
          </a:p>
        </p:txBody>
      </p:sp>
      <p:sp>
        <p:nvSpPr>
          <p:cNvPr id="22" name="TextBox 21">
            <a:extLst>
              <a:ext uri="{FF2B5EF4-FFF2-40B4-BE49-F238E27FC236}">
                <a16:creationId xmlns:a16="http://schemas.microsoft.com/office/drawing/2014/main" id="{D08F3D41-6E91-498D-8BB8-E977C45507AC}"/>
              </a:ext>
            </a:extLst>
          </p:cNvPr>
          <p:cNvSpPr txBox="1"/>
          <p:nvPr>
            <p:custDataLst>
              <p:tags r:id="rId4"/>
            </p:custDataLst>
          </p:nvPr>
        </p:nvSpPr>
        <p:spPr bwMode="gray">
          <a:xfrm>
            <a:off x="839231" y="4775060"/>
            <a:ext cx="3387958" cy="1131079"/>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pPr>
              <a:spcBef>
                <a:spcPct val="20000"/>
              </a:spcBef>
              <a:spcAft>
                <a:spcPts val="0"/>
              </a:spcAft>
            </a:pPr>
            <a:r>
              <a:rPr lang="en-US" sz="1050">
                <a:solidFill>
                  <a:schemeClr val="tx1"/>
                </a:solidFill>
              </a:rPr>
              <a:t>to understand how their therapeutics are being used by patients and understand a broader picture of patient reported outcomes. Are patients struggling with the packaging, with the formulation? Are there unexpected safety signals? Are patients switching? What competitor products are being mentioned? What are the trends from key opinion leaders or healthcare professionals? </a:t>
            </a:r>
            <a:endParaRPr lang="en-GB" sz="1050">
              <a:solidFill>
                <a:schemeClr val="tx1"/>
              </a:solidFill>
            </a:endParaRPr>
          </a:p>
        </p:txBody>
      </p:sp>
      <p:sp>
        <p:nvSpPr>
          <p:cNvPr id="23" name="TextBox 22">
            <a:extLst>
              <a:ext uri="{FF2B5EF4-FFF2-40B4-BE49-F238E27FC236}">
                <a16:creationId xmlns:a16="http://schemas.microsoft.com/office/drawing/2014/main" id="{4FCEEB66-26EA-4266-AE87-B8BB39EBCD10}"/>
              </a:ext>
            </a:extLst>
          </p:cNvPr>
          <p:cNvSpPr txBox="1"/>
          <p:nvPr>
            <p:custDataLst>
              <p:tags r:id="rId5"/>
            </p:custDataLst>
          </p:nvPr>
        </p:nvSpPr>
        <p:spPr bwMode="gray">
          <a:xfrm>
            <a:off x="4724153" y="4774269"/>
            <a:ext cx="2901013" cy="161582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pPr>
              <a:spcBef>
                <a:spcPct val="20000"/>
              </a:spcBef>
              <a:spcAft>
                <a:spcPts val="0"/>
              </a:spcAft>
            </a:pPr>
            <a:r>
              <a:rPr lang="en-US" sz="1050">
                <a:solidFill>
                  <a:schemeClr val="tx1"/>
                </a:solidFill>
              </a:rPr>
              <a:t>in recent years, the use of computers, mobile devices, wearables and other biosensors to gather and store health-related data, both structured and unstructured, has grown rapidly. Combined with analytical capabilities such as NLP, this data has the potential to improve the way patients are treated, clinical trials are conducted, drugs are developed, and, in doing so, provide answers to questions previously thought beyond reach.</a:t>
            </a:r>
            <a:endParaRPr lang="en-GB" sz="1050">
              <a:solidFill>
                <a:schemeClr val="tx1"/>
              </a:solidFill>
            </a:endParaRPr>
          </a:p>
        </p:txBody>
      </p:sp>
      <p:sp>
        <p:nvSpPr>
          <p:cNvPr id="25" name="TextBox 24">
            <a:extLst>
              <a:ext uri="{FF2B5EF4-FFF2-40B4-BE49-F238E27FC236}">
                <a16:creationId xmlns:a16="http://schemas.microsoft.com/office/drawing/2014/main" id="{53E74761-4843-4A2E-8A9B-BB5C0B0AEB31}"/>
              </a:ext>
            </a:extLst>
          </p:cNvPr>
          <p:cNvSpPr txBox="1"/>
          <p:nvPr/>
        </p:nvSpPr>
        <p:spPr bwMode="gray">
          <a:xfrm>
            <a:off x="833181" y="4189517"/>
            <a:ext cx="2977390" cy="30777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r>
              <a:rPr lang="en-GB" sz="2000" b="1">
                <a:solidFill>
                  <a:schemeClr val="accent2"/>
                </a:solidFill>
              </a:rPr>
              <a:t>Voice of Customer </a:t>
            </a:r>
          </a:p>
        </p:txBody>
      </p:sp>
      <p:sp>
        <p:nvSpPr>
          <p:cNvPr id="26" name="TextBox 25">
            <a:extLst>
              <a:ext uri="{FF2B5EF4-FFF2-40B4-BE49-F238E27FC236}">
                <a16:creationId xmlns:a16="http://schemas.microsoft.com/office/drawing/2014/main" id="{E6F38267-5685-45F6-990C-CF56360F9756}"/>
              </a:ext>
            </a:extLst>
          </p:cNvPr>
          <p:cNvSpPr txBox="1"/>
          <p:nvPr/>
        </p:nvSpPr>
        <p:spPr bwMode="gray">
          <a:xfrm>
            <a:off x="4724153" y="4199834"/>
            <a:ext cx="3722588" cy="30777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r>
              <a:rPr lang="en-GB" sz="2000" b="1">
                <a:solidFill>
                  <a:schemeClr val="accent2"/>
                </a:solidFill>
              </a:rPr>
              <a:t>Real world data analytics </a:t>
            </a:r>
          </a:p>
        </p:txBody>
      </p:sp>
      <p:sp>
        <p:nvSpPr>
          <p:cNvPr id="27" name="TextBox 26">
            <a:extLst>
              <a:ext uri="{FF2B5EF4-FFF2-40B4-BE49-F238E27FC236}">
                <a16:creationId xmlns:a16="http://schemas.microsoft.com/office/drawing/2014/main" id="{A725A68A-3E25-4927-8BF5-C92547C8DA09}"/>
              </a:ext>
            </a:extLst>
          </p:cNvPr>
          <p:cNvSpPr txBox="1"/>
          <p:nvPr>
            <p:custDataLst>
              <p:tags r:id="rId6"/>
            </p:custDataLst>
          </p:nvPr>
        </p:nvSpPr>
        <p:spPr bwMode="gray">
          <a:xfrm>
            <a:off x="6193572" y="2581033"/>
            <a:ext cx="2335753" cy="807913"/>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pPr>
              <a:spcBef>
                <a:spcPct val="20000"/>
              </a:spcBef>
              <a:spcAft>
                <a:spcPts val="0"/>
              </a:spcAft>
            </a:pPr>
            <a:r>
              <a:rPr lang="en-US" sz="1050">
                <a:solidFill>
                  <a:schemeClr val="tx1"/>
                </a:solidFill>
              </a:rPr>
              <a:t>to find, highlight, and extract key data within regulatory documents, check for MedDRA coding, mark up inconsistencies across documents, and more.</a:t>
            </a:r>
            <a:endParaRPr lang="en-GB" sz="1050">
              <a:solidFill>
                <a:schemeClr val="tx1"/>
              </a:solidFill>
            </a:endParaRPr>
          </a:p>
        </p:txBody>
      </p:sp>
      <p:sp>
        <p:nvSpPr>
          <p:cNvPr id="28" name="TextBox 27">
            <a:extLst>
              <a:ext uri="{FF2B5EF4-FFF2-40B4-BE49-F238E27FC236}">
                <a16:creationId xmlns:a16="http://schemas.microsoft.com/office/drawing/2014/main" id="{38EAB68D-84F1-4719-BED2-47BA0E71C9E2}"/>
              </a:ext>
            </a:extLst>
          </p:cNvPr>
          <p:cNvSpPr txBox="1"/>
          <p:nvPr/>
        </p:nvSpPr>
        <p:spPr bwMode="gray">
          <a:xfrm>
            <a:off x="6193572" y="1851615"/>
            <a:ext cx="2484393" cy="307777"/>
          </a:xfrm>
          <a:prstGeom prst="rect">
            <a:avLst/>
          </a:prstGeom>
        </p:spPr>
        <p:txBody>
          <a:bodyPr vert="horz" wrap="square" lIns="0" tIns="0" rIns="0" bIns="0" rtlCol="0">
            <a:spAutoFit/>
          </a:bodyPr>
          <a:lstStyle>
            <a:lvl1pPr lvl="0" indent="0" defTabSz="914309">
              <a:spcBef>
                <a:spcPts val="1200"/>
              </a:spcBef>
              <a:spcAft>
                <a:spcPts val="600"/>
              </a:spcAft>
              <a:buFont typeface="Arial" panose="020B0604020202020204" pitchFamily="34" charset="0"/>
              <a:buNone/>
              <a:defRPr>
                <a:solidFill>
                  <a:schemeClr val="accent1"/>
                </a:solidFill>
              </a:defRPr>
            </a:lvl1pPr>
            <a:lvl2pPr marL="269973" lvl="1" indent="-269973" defTabSz="914309">
              <a:spcBef>
                <a:spcPts val="300"/>
              </a:spcBef>
              <a:spcAft>
                <a:spcPts val="600"/>
              </a:spcAft>
              <a:buFontTx/>
              <a:buBlip>
                <a:blip r:embed="rId9"/>
              </a:buBlip>
              <a:defRPr>
                <a:solidFill>
                  <a:schemeClr val="accent1"/>
                </a:solidFill>
              </a:defRPr>
            </a:lvl2pPr>
            <a:lvl3pPr marL="539946" lvl="2" indent="-269973" defTabSz="914309">
              <a:spcBef>
                <a:spcPts val="300"/>
              </a:spcBef>
              <a:spcAft>
                <a:spcPts val="600"/>
              </a:spcAft>
              <a:buFontTx/>
              <a:buBlip>
                <a:blip r:embed="rId10"/>
              </a:buBlip>
              <a:defRPr>
                <a:solidFill>
                  <a:schemeClr val="accent1"/>
                </a:solidFill>
              </a:defRPr>
            </a:lvl3pPr>
            <a:lvl4pPr marL="809919" lvl="3" indent="-269973" defTabSz="914309">
              <a:spcBef>
                <a:spcPts val="300"/>
              </a:spcBef>
              <a:spcAft>
                <a:spcPts val="600"/>
              </a:spcAft>
              <a:buFontTx/>
              <a:buBlip>
                <a:blip r:embed="rId11"/>
              </a:buBlip>
              <a:defRPr>
                <a:solidFill>
                  <a:schemeClr val="accent1"/>
                </a:solidFill>
              </a:defRPr>
            </a:lvl4pPr>
            <a:lvl5pPr marL="1079892" lvl="4" indent="-269973" defTabSz="914309">
              <a:spcBef>
                <a:spcPts val="300"/>
              </a:spcBef>
              <a:spcAft>
                <a:spcPts val="600"/>
              </a:spcAft>
              <a:buFontTx/>
              <a:buBlip>
                <a:blip r:embed="rId12"/>
              </a:buBlip>
              <a:defRPr>
                <a:solidFill>
                  <a:schemeClr val="accent1"/>
                </a:solidFill>
              </a:defRPr>
            </a:lvl5pPr>
            <a:lvl6pPr marL="1079892" indent="-269973" defTabSz="914309">
              <a:spcBef>
                <a:spcPts val="300"/>
              </a:spcBef>
              <a:spcAft>
                <a:spcPts val="600"/>
              </a:spcAft>
              <a:buFontTx/>
              <a:buBlip>
                <a:blip r:embed="rId12"/>
              </a:buBlip>
            </a:lvl6pPr>
            <a:lvl7pPr marL="1079892" indent="-269973" defTabSz="914309">
              <a:spcBef>
                <a:spcPts val="300"/>
              </a:spcBef>
              <a:spcAft>
                <a:spcPts val="600"/>
              </a:spcAft>
              <a:buFontTx/>
              <a:buBlip>
                <a:blip r:embed="rId12"/>
              </a:buBlip>
            </a:lvl7pPr>
            <a:lvl8pPr marL="1079892" indent="-269973" defTabSz="914309">
              <a:spcBef>
                <a:spcPts val="300"/>
              </a:spcBef>
              <a:spcAft>
                <a:spcPts val="600"/>
              </a:spcAft>
              <a:buFontTx/>
              <a:buBlip>
                <a:blip r:embed="rId12"/>
              </a:buBlip>
            </a:lvl8pPr>
            <a:lvl9pPr marL="1079892" indent="-269973" defTabSz="914309">
              <a:spcBef>
                <a:spcPts val="300"/>
              </a:spcBef>
              <a:spcAft>
                <a:spcPts val="600"/>
              </a:spcAft>
              <a:buFontTx/>
              <a:buBlip>
                <a:blip r:embed="rId12"/>
              </a:buBlip>
            </a:lvl9pPr>
          </a:lstStyle>
          <a:p>
            <a:r>
              <a:rPr lang="en-GB" sz="2000" b="1">
                <a:solidFill>
                  <a:schemeClr val="accent2"/>
                </a:solidFill>
              </a:rPr>
              <a:t>Regulatory </a:t>
            </a:r>
          </a:p>
        </p:txBody>
      </p:sp>
      <p:cxnSp>
        <p:nvCxnSpPr>
          <p:cNvPr id="29" name="Straight Connector 28">
            <a:extLst>
              <a:ext uri="{FF2B5EF4-FFF2-40B4-BE49-F238E27FC236}">
                <a16:creationId xmlns:a16="http://schemas.microsoft.com/office/drawing/2014/main" id="{34B4CE29-4DB6-4A4F-9467-85343A1F808C}"/>
              </a:ext>
            </a:extLst>
          </p:cNvPr>
          <p:cNvCxnSpPr>
            <a:cxnSpLocks/>
          </p:cNvCxnSpPr>
          <p:nvPr/>
        </p:nvCxnSpPr>
        <p:spPr bwMode="gray">
          <a:xfrm flipV="1">
            <a:off x="682271" y="4616317"/>
            <a:ext cx="7454339" cy="550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DA3D7991-D896-41D9-A3B8-B5D4160757EF}"/>
              </a:ext>
            </a:extLst>
          </p:cNvPr>
          <p:cNvSpPr/>
          <p:nvPr/>
        </p:nvSpPr>
        <p:spPr bwMode="gray">
          <a:xfrm>
            <a:off x="9463524" y="1916832"/>
            <a:ext cx="2358133" cy="648783"/>
          </a:xfrm>
          <a:prstGeom prst="roundRect">
            <a:avLst/>
          </a:prstGeom>
          <a:solidFill>
            <a:schemeClr val="bg1"/>
          </a:solidFill>
          <a:ln>
            <a:noFill/>
            <a:prstDash val="soli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b="1">
                <a:solidFill>
                  <a:schemeClr val="tx1"/>
                </a:solidFill>
              </a:rPr>
              <a:t>Precision medicine </a:t>
            </a:r>
          </a:p>
        </p:txBody>
      </p:sp>
      <p:sp>
        <p:nvSpPr>
          <p:cNvPr id="32" name="Rectangle: Rounded Corners 31">
            <a:extLst>
              <a:ext uri="{FF2B5EF4-FFF2-40B4-BE49-F238E27FC236}">
                <a16:creationId xmlns:a16="http://schemas.microsoft.com/office/drawing/2014/main" id="{EFB5A9FF-59AA-4CBD-A158-BEED4AF8476E}"/>
              </a:ext>
            </a:extLst>
          </p:cNvPr>
          <p:cNvSpPr/>
          <p:nvPr/>
        </p:nvSpPr>
        <p:spPr bwMode="gray">
          <a:xfrm>
            <a:off x="9463524" y="2694518"/>
            <a:ext cx="2358133" cy="648783"/>
          </a:xfrm>
          <a:prstGeom prst="roundRect">
            <a:avLst/>
          </a:prstGeom>
          <a:solidFill>
            <a:schemeClr val="bg1"/>
          </a:solidFill>
          <a:ln>
            <a:noFill/>
            <a:prstDash val="soli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b="1">
                <a:solidFill>
                  <a:schemeClr val="tx1"/>
                </a:solidFill>
              </a:rPr>
              <a:t>Drug safety and PV</a:t>
            </a:r>
          </a:p>
        </p:txBody>
      </p:sp>
      <p:sp>
        <p:nvSpPr>
          <p:cNvPr id="33" name="Rectangle: Rounded Corners 32">
            <a:extLst>
              <a:ext uri="{FF2B5EF4-FFF2-40B4-BE49-F238E27FC236}">
                <a16:creationId xmlns:a16="http://schemas.microsoft.com/office/drawing/2014/main" id="{0EA3A9F0-DC7F-416E-A13C-C4D3B8399A1E}"/>
              </a:ext>
            </a:extLst>
          </p:cNvPr>
          <p:cNvSpPr/>
          <p:nvPr/>
        </p:nvSpPr>
        <p:spPr bwMode="gray">
          <a:xfrm>
            <a:off x="9463524" y="3472204"/>
            <a:ext cx="2358133" cy="648783"/>
          </a:xfrm>
          <a:prstGeom prst="roundRect">
            <a:avLst/>
          </a:prstGeom>
          <a:solidFill>
            <a:schemeClr val="bg1"/>
          </a:solidFill>
          <a:ln>
            <a:noFill/>
            <a:prstDash val="soli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b="1">
                <a:solidFill>
                  <a:schemeClr val="tx1"/>
                </a:solidFill>
              </a:rPr>
              <a:t>Patent analytics </a:t>
            </a:r>
          </a:p>
        </p:txBody>
      </p:sp>
      <p:sp>
        <p:nvSpPr>
          <p:cNvPr id="34" name="Rectangle: Rounded Corners 33">
            <a:extLst>
              <a:ext uri="{FF2B5EF4-FFF2-40B4-BE49-F238E27FC236}">
                <a16:creationId xmlns:a16="http://schemas.microsoft.com/office/drawing/2014/main" id="{68204D7D-9880-45EE-A9F3-7BFE1982CD14}"/>
              </a:ext>
            </a:extLst>
          </p:cNvPr>
          <p:cNvSpPr/>
          <p:nvPr/>
        </p:nvSpPr>
        <p:spPr bwMode="gray">
          <a:xfrm>
            <a:off x="9463524" y="4249890"/>
            <a:ext cx="2358133" cy="648783"/>
          </a:xfrm>
          <a:prstGeom prst="roundRect">
            <a:avLst/>
          </a:prstGeom>
          <a:solidFill>
            <a:schemeClr val="bg1"/>
          </a:solidFill>
          <a:ln>
            <a:noFill/>
            <a:prstDash val="soli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b="1">
                <a:solidFill>
                  <a:schemeClr val="tx1"/>
                </a:solidFill>
              </a:rPr>
              <a:t>Marketing contents optimization </a:t>
            </a:r>
          </a:p>
        </p:txBody>
      </p:sp>
      <p:sp>
        <p:nvSpPr>
          <p:cNvPr id="35" name="Rectangle: Rounded Corners 34">
            <a:extLst>
              <a:ext uri="{FF2B5EF4-FFF2-40B4-BE49-F238E27FC236}">
                <a16:creationId xmlns:a16="http://schemas.microsoft.com/office/drawing/2014/main" id="{C66C053B-49F1-483D-BBB9-61BF93279CCB}"/>
              </a:ext>
            </a:extLst>
          </p:cNvPr>
          <p:cNvSpPr/>
          <p:nvPr/>
        </p:nvSpPr>
        <p:spPr bwMode="gray">
          <a:xfrm>
            <a:off x="9463524" y="5027576"/>
            <a:ext cx="2358133" cy="648783"/>
          </a:xfrm>
          <a:prstGeom prst="roundRect">
            <a:avLst/>
          </a:prstGeom>
          <a:solidFill>
            <a:schemeClr val="bg1"/>
          </a:solidFill>
          <a:ln>
            <a:noFill/>
            <a:prstDash val="soli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b="1">
                <a:solidFill>
                  <a:schemeClr val="tx1"/>
                </a:solidFill>
              </a:rPr>
              <a:t>Health technology assessment </a:t>
            </a:r>
          </a:p>
        </p:txBody>
      </p:sp>
      <p:sp>
        <p:nvSpPr>
          <p:cNvPr id="36" name="Rectangle: Rounded Corners 35">
            <a:extLst>
              <a:ext uri="{FF2B5EF4-FFF2-40B4-BE49-F238E27FC236}">
                <a16:creationId xmlns:a16="http://schemas.microsoft.com/office/drawing/2014/main" id="{8B5EB1BD-AFA9-44BF-91B7-73ED29F86056}"/>
              </a:ext>
            </a:extLst>
          </p:cNvPr>
          <p:cNvSpPr/>
          <p:nvPr/>
        </p:nvSpPr>
        <p:spPr bwMode="gray">
          <a:xfrm>
            <a:off x="9463524" y="5805264"/>
            <a:ext cx="2358133" cy="648783"/>
          </a:xfrm>
          <a:prstGeom prst="roundRect">
            <a:avLst/>
          </a:prstGeom>
          <a:solidFill>
            <a:schemeClr val="bg1"/>
          </a:solidFill>
          <a:ln>
            <a:noFill/>
            <a:prstDash val="soli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b="1">
                <a:solidFill>
                  <a:schemeClr val="tx1"/>
                </a:solidFill>
              </a:rPr>
              <a:t>…</a:t>
            </a:r>
          </a:p>
        </p:txBody>
      </p:sp>
      <p:sp>
        <p:nvSpPr>
          <p:cNvPr id="3" name="Title 2">
            <a:extLst>
              <a:ext uri="{FF2B5EF4-FFF2-40B4-BE49-F238E27FC236}">
                <a16:creationId xmlns:a16="http://schemas.microsoft.com/office/drawing/2014/main" id="{9157E690-1CEF-4404-88E5-3A0E56057421}"/>
              </a:ext>
            </a:extLst>
          </p:cNvPr>
          <p:cNvSpPr>
            <a:spLocks noGrp="1"/>
          </p:cNvSpPr>
          <p:nvPr>
            <p:ph type="title"/>
          </p:nvPr>
        </p:nvSpPr>
        <p:spPr>
          <a:xfrm>
            <a:off x="837238" y="602147"/>
            <a:ext cx="8626286" cy="864000"/>
          </a:xfrm>
        </p:spPr>
        <p:txBody>
          <a:bodyPr/>
          <a:lstStyle/>
          <a:p>
            <a:r>
              <a:rPr lang="en-US" b="1"/>
              <a:t>NLP has</a:t>
            </a:r>
            <a:r>
              <a:rPr lang="zh-CN" altLang="en-US" b="1"/>
              <a:t> </a:t>
            </a:r>
            <a:r>
              <a:rPr lang="en-US" altLang="zh-CN" b="1"/>
              <a:t>been</a:t>
            </a:r>
            <a:r>
              <a:rPr lang="zh-CN" altLang="en-US" b="1"/>
              <a:t> </a:t>
            </a:r>
            <a:r>
              <a:rPr lang="en-US" altLang="zh-CN" b="1"/>
              <a:t>widely applied across the whole value chains in full life cycle of drugs. </a:t>
            </a:r>
            <a:endParaRPr lang="en-US" b="1"/>
          </a:p>
        </p:txBody>
      </p:sp>
      <p:pic>
        <p:nvPicPr>
          <p:cNvPr id="112" name="Picture 111">
            <a:extLst>
              <a:ext uri="{FF2B5EF4-FFF2-40B4-BE49-F238E27FC236}">
                <a16:creationId xmlns:a16="http://schemas.microsoft.com/office/drawing/2014/main" id="{ECE0FFC6-F92C-4CB2-86C2-C2970BD518BB}"/>
              </a:ext>
            </a:extLst>
          </p:cNvPr>
          <p:cNvPicPr>
            <a:picLocks noChangeAspect="1"/>
          </p:cNvPicPr>
          <p:nvPr/>
        </p:nvPicPr>
        <p:blipFill>
          <a:blip r:embed="rId13"/>
          <a:stretch>
            <a:fillRect/>
          </a:stretch>
        </p:blipFill>
        <p:spPr>
          <a:xfrm>
            <a:off x="9207979" y="552636"/>
            <a:ext cx="3166879" cy="1058576"/>
          </a:xfrm>
          <a:prstGeom prst="rect">
            <a:avLst/>
          </a:prstGeom>
        </p:spPr>
      </p:pic>
    </p:spTree>
    <p:extLst>
      <p:ext uri="{BB962C8B-B14F-4D97-AF65-F5344CB8AC3E}">
        <p14:creationId xmlns:p14="http://schemas.microsoft.com/office/powerpoint/2010/main" val="443590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F73A3-4140-4224-85B0-D30BCAD2E8B4}"/>
              </a:ext>
            </a:extLst>
          </p:cNvPr>
          <p:cNvSpPr>
            <a:spLocks noGrp="1"/>
          </p:cNvSpPr>
          <p:nvPr>
            <p:ph type="title"/>
          </p:nvPr>
        </p:nvSpPr>
        <p:spPr/>
        <p:txBody>
          <a:bodyPr/>
          <a:lstStyle/>
          <a:p>
            <a:r>
              <a:rPr lang="en-US"/>
              <a:t>How NLP works</a:t>
            </a:r>
          </a:p>
        </p:txBody>
      </p:sp>
      <p:sp>
        <p:nvSpPr>
          <p:cNvPr id="3" name="Footer Placeholder 2">
            <a:extLst>
              <a:ext uri="{FF2B5EF4-FFF2-40B4-BE49-F238E27FC236}">
                <a16:creationId xmlns:a16="http://schemas.microsoft.com/office/drawing/2014/main" id="{EA5A0736-7380-4AAB-8A6A-5CB8CB6E325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cs typeface="Arial"/>
              </a:rPr>
              <a:t>/// Advanced Analytics and Digital Transformation /// NLP session /// March 2022</a:t>
            </a:r>
          </a:p>
        </p:txBody>
      </p:sp>
      <p:sp>
        <p:nvSpPr>
          <p:cNvPr id="4" name="Slide Number Placeholder 3">
            <a:extLst>
              <a:ext uri="{FF2B5EF4-FFF2-40B4-BE49-F238E27FC236}">
                <a16:creationId xmlns:a16="http://schemas.microsoft.com/office/drawing/2014/main" id="{0FE452F1-BF38-4494-8842-1F39EFBBE8F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none" spc="0" normalizeH="0" baseline="0" noProof="0">
              <a:ln>
                <a:noFill/>
              </a:ln>
              <a:solidFill>
                <a:srgbClr val="FFFFFF"/>
              </a:solidFill>
              <a:effectLst/>
              <a:uLnTx/>
              <a:uFillTx/>
              <a:latin typeface="Arial"/>
              <a:cs typeface="Arial"/>
            </a:endParaRPr>
          </a:p>
        </p:txBody>
      </p:sp>
      <p:sp>
        <p:nvSpPr>
          <p:cNvPr id="5" name="Subtitle 4">
            <a:extLst>
              <a:ext uri="{FF2B5EF4-FFF2-40B4-BE49-F238E27FC236}">
                <a16:creationId xmlns:a16="http://schemas.microsoft.com/office/drawing/2014/main" id="{B789D038-65C9-4041-8B15-415032CEE60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7861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1">
            <a:extLst>
              <a:ext uri="{FF2B5EF4-FFF2-40B4-BE49-F238E27FC236}">
                <a16:creationId xmlns:a16="http://schemas.microsoft.com/office/drawing/2014/main" id="{D80E3F28-A55B-4499-9B7C-9730F0C3CC6F}"/>
              </a:ext>
            </a:extLst>
          </p:cNvPr>
          <p:cNvSpPr>
            <a:spLocks noGrp="1"/>
          </p:cNvSpPr>
          <p:nvPr>
            <p:ph type="subTitle" idx="13"/>
          </p:nvPr>
        </p:nvSpPr>
        <p:spPr/>
        <p:txBody>
          <a:bodyPr/>
          <a:lstStyle/>
          <a:p>
            <a:endParaRPr lang="en-US"/>
          </a:p>
        </p:txBody>
      </p:sp>
      <p:sp>
        <p:nvSpPr>
          <p:cNvPr id="5" name="Titel 4"/>
          <p:cNvSpPr>
            <a:spLocks noGrp="1"/>
          </p:cNvSpPr>
          <p:nvPr>
            <p:ph type="title"/>
          </p:nvPr>
        </p:nvSpPr>
        <p:spPr bwMode="gray"/>
        <p:txBody>
          <a:bodyPr vert="horz" lIns="0" tIns="0" rIns="0" bIns="0" rtlCol="0" anchor="b">
            <a:normAutofit/>
          </a:bodyPr>
          <a:lstStyle/>
          <a:p>
            <a:r>
              <a:rPr lang="en-US"/>
              <a:t>M</a:t>
            </a:r>
            <a:r>
              <a:rPr lang="en-US" altLang="zh-CN"/>
              <a:t>ake</a:t>
            </a:r>
            <a:r>
              <a:rPr lang="en-US"/>
              <a:t> computer to understand text step by step</a:t>
            </a:r>
          </a:p>
        </p:txBody>
      </p:sp>
      <p:sp>
        <p:nvSpPr>
          <p:cNvPr id="8" name="Footer Placeholder 7"/>
          <p:cNvSpPr>
            <a:spLocks noGrp="1"/>
          </p:cNvSpPr>
          <p:nvPr>
            <p:ph type="ftr" sz="quarter" idx="11"/>
          </p:nvPr>
        </p:nvSpPr>
        <p:spPr bwMode="gray">
          <a:xfrm>
            <a:off x="1951068"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1172239"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8</a:t>
            </a:fld>
            <a:endParaRPr lang="en-US">
              <a:solidFill>
                <a:srgbClr val="443247"/>
              </a:solidFill>
            </a:endParaRPr>
          </a:p>
        </p:txBody>
      </p:sp>
      <p:sp>
        <p:nvSpPr>
          <p:cNvPr id="7" name="TextBox 6">
            <a:extLst>
              <a:ext uri="{FF2B5EF4-FFF2-40B4-BE49-F238E27FC236}">
                <a16:creationId xmlns:a16="http://schemas.microsoft.com/office/drawing/2014/main" id="{D5D40C3D-EDFD-45C6-B9C1-9B1E098A7DA7}"/>
              </a:ext>
            </a:extLst>
          </p:cNvPr>
          <p:cNvSpPr txBox="1"/>
          <p:nvPr/>
        </p:nvSpPr>
        <p:spPr bwMode="gray">
          <a:xfrm>
            <a:off x="312214" y="6158406"/>
            <a:ext cx="8135964" cy="272142"/>
          </a:xfrm>
          <a:prstGeom prst="rect">
            <a:avLst/>
          </a:prstGeom>
        </p:spPr>
        <p:txBody>
          <a:bodyPr vert="horz" lIns="0" tIns="0" rIns="0" bIns="0" rtlCol="0">
            <a:normAutofit/>
          </a:bodyPr>
          <a:lstStyle/>
          <a:p>
            <a:r>
              <a:rPr lang="en-US" sz="800">
                <a:solidFill>
                  <a:schemeClr val="bg1">
                    <a:lumMod val="50000"/>
                  </a:schemeClr>
                </a:solidFill>
              </a:rPr>
              <a:t>S</a:t>
            </a:r>
            <a:r>
              <a:rPr lang="en-US" altLang="zh-CN" sz="800">
                <a:solidFill>
                  <a:schemeClr val="bg1">
                    <a:lumMod val="50000"/>
                  </a:schemeClr>
                </a:solidFill>
              </a:rPr>
              <a:t>ource:</a:t>
            </a:r>
            <a:r>
              <a:rPr lang="en-US" sz="800">
                <a:solidFill>
                  <a:schemeClr val="bg1">
                    <a:lumMod val="50000"/>
                  </a:schemeClr>
                </a:solidFill>
              </a:rPr>
              <a:t>:</a:t>
            </a:r>
            <a:r>
              <a:rPr lang="zh-CN" altLang="en-US" sz="800">
                <a:solidFill>
                  <a:schemeClr val="bg1">
                    <a:lumMod val="50000"/>
                  </a:schemeClr>
                </a:solidFill>
              </a:rPr>
              <a:t>徐冰</a:t>
            </a:r>
            <a:r>
              <a:rPr lang="en-US" altLang="zh-CN" sz="800">
                <a:solidFill>
                  <a:schemeClr val="bg1">
                    <a:lumMod val="50000"/>
                  </a:schemeClr>
                </a:solidFill>
              </a:rPr>
              <a:t>, </a:t>
            </a:r>
            <a:r>
              <a:rPr lang="zh-CN" altLang="en-US" sz="800">
                <a:solidFill>
                  <a:schemeClr val="bg1">
                    <a:lumMod val="50000"/>
                  </a:schemeClr>
                </a:solidFill>
              </a:rPr>
              <a:t>李华军</a:t>
            </a:r>
            <a:r>
              <a:rPr lang="en-US" altLang="zh-CN" sz="800">
                <a:solidFill>
                  <a:schemeClr val="bg1">
                    <a:lumMod val="50000"/>
                  </a:schemeClr>
                </a:solidFill>
              </a:rPr>
              <a:t>, </a:t>
            </a:r>
            <a:r>
              <a:rPr lang="zh-CN" altLang="en-US" sz="800">
                <a:solidFill>
                  <a:schemeClr val="bg1">
                    <a:lumMod val="50000"/>
                  </a:schemeClr>
                </a:solidFill>
              </a:rPr>
              <a:t>贾婉璐</a:t>
            </a:r>
            <a:r>
              <a:rPr lang="en-US" altLang="zh-CN" sz="800">
                <a:solidFill>
                  <a:schemeClr val="bg1">
                    <a:lumMod val="50000"/>
                  </a:schemeClr>
                </a:solidFill>
              </a:rPr>
              <a:t>, </a:t>
            </a:r>
            <a:r>
              <a:rPr lang="zh-CN" altLang="en-US" sz="800">
                <a:solidFill>
                  <a:schemeClr val="bg1">
                    <a:lumMod val="50000"/>
                  </a:schemeClr>
                </a:solidFill>
              </a:rPr>
              <a:t>等</a:t>
            </a:r>
            <a:r>
              <a:rPr lang="en-US" altLang="zh-CN" sz="800">
                <a:solidFill>
                  <a:schemeClr val="bg1">
                    <a:lumMod val="50000"/>
                  </a:schemeClr>
                </a:solidFill>
              </a:rPr>
              <a:t>.  </a:t>
            </a:r>
            <a:r>
              <a:rPr lang="zh-CN" altLang="en-US" sz="800">
                <a:solidFill>
                  <a:schemeClr val="bg1">
                    <a:lumMod val="50000"/>
                  </a:schemeClr>
                </a:solidFill>
              </a:rPr>
              <a:t>地诺孕素用于难治性子宫内膜异位症疼痛的临床研究 </a:t>
            </a:r>
            <a:r>
              <a:rPr lang="en-US" altLang="zh-CN" sz="800">
                <a:solidFill>
                  <a:schemeClr val="bg1">
                    <a:lumMod val="50000"/>
                  </a:schemeClr>
                </a:solidFill>
              </a:rPr>
              <a:t>[J] . </a:t>
            </a:r>
            <a:r>
              <a:rPr lang="zh-CN" altLang="en-US" sz="800">
                <a:solidFill>
                  <a:schemeClr val="bg1">
                    <a:lumMod val="50000"/>
                  </a:schemeClr>
                </a:solidFill>
              </a:rPr>
              <a:t>中华妇产科杂志</a:t>
            </a:r>
            <a:r>
              <a:rPr lang="en-US" altLang="zh-CN" sz="800">
                <a:solidFill>
                  <a:schemeClr val="bg1">
                    <a:lumMod val="50000"/>
                  </a:schemeClr>
                </a:solidFill>
              </a:rPr>
              <a:t>, 2021, 56(3) : 178-184. DOI: 10.3760/cma.j.cn112141-20200525-00444.</a:t>
            </a:r>
            <a:endParaRPr lang="en-US" sz="800">
              <a:solidFill>
                <a:schemeClr val="bg1">
                  <a:lumMod val="50000"/>
                </a:schemeClr>
              </a:solidFill>
            </a:endParaRPr>
          </a:p>
        </p:txBody>
      </p:sp>
      <p:sp>
        <p:nvSpPr>
          <p:cNvPr id="21" name="TextBox 20">
            <a:extLst>
              <a:ext uri="{FF2B5EF4-FFF2-40B4-BE49-F238E27FC236}">
                <a16:creationId xmlns:a16="http://schemas.microsoft.com/office/drawing/2014/main" id="{49565F81-8210-43C6-9E19-17FD3EBE2C46}"/>
              </a:ext>
            </a:extLst>
          </p:cNvPr>
          <p:cNvSpPr txBox="1"/>
          <p:nvPr/>
        </p:nvSpPr>
        <p:spPr bwMode="gray">
          <a:xfrm>
            <a:off x="2306696" y="3073446"/>
            <a:ext cx="914281" cy="914281"/>
          </a:xfrm>
          <a:prstGeom prst="rect">
            <a:avLst/>
          </a:prstGeom>
          <a:noFill/>
        </p:spPr>
        <p:txBody>
          <a:bodyPr vert="horz" wrap="none" lIns="0" tIns="0" rIns="0" bIns="0" rtlCol="0">
            <a:noAutofit/>
          </a:bodyPr>
          <a:lstStyle/>
          <a:p>
            <a:endParaRPr lang="en-US">
              <a:solidFill>
                <a:srgbClr val="000000"/>
              </a:solidFill>
              <a:latin typeface="Arial" panose="020B0604020202020204" pitchFamily="34" charset="0"/>
            </a:endParaRPr>
          </a:p>
        </p:txBody>
      </p:sp>
      <p:sp>
        <p:nvSpPr>
          <p:cNvPr id="45" name="Arrow: Right 44">
            <a:extLst>
              <a:ext uri="{FF2B5EF4-FFF2-40B4-BE49-F238E27FC236}">
                <a16:creationId xmlns:a16="http://schemas.microsoft.com/office/drawing/2014/main" id="{16754B9A-2EF0-4C2A-8153-B222780945B3}"/>
              </a:ext>
            </a:extLst>
          </p:cNvPr>
          <p:cNvSpPr/>
          <p:nvPr/>
        </p:nvSpPr>
        <p:spPr bwMode="gray">
          <a:xfrm>
            <a:off x="6727600" y="3398425"/>
            <a:ext cx="313856" cy="481345"/>
          </a:xfrm>
          <a:prstGeom prst="rightArrow">
            <a:avLst/>
          </a:prstGeom>
          <a:solidFill>
            <a:srgbClr val="4432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4" name="Flowchart: Process 3">
            <a:extLst>
              <a:ext uri="{FF2B5EF4-FFF2-40B4-BE49-F238E27FC236}">
                <a16:creationId xmlns:a16="http://schemas.microsoft.com/office/drawing/2014/main" id="{711CC2D7-D62A-462A-9AEC-A8EF5B8BA8BF}"/>
              </a:ext>
            </a:extLst>
          </p:cNvPr>
          <p:cNvSpPr/>
          <p:nvPr/>
        </p:nvSpPr>
        <p:spPr bwMode="gray">
          <a:xfrm>
            <a:off x="1128194" y="2168191"/>
            <a:ext cx="5155192" cy="3257244"/>
          </a:xfrm>
          <a:prstGeom prst="flowChartProcess">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000" b="1" dirty="0">
                <a:solidFill>
                  <a:schemeClr val="tx1"/>
                </a:solidFill>
                <a:latin typeface="Tahoma" panose="020B0604030504040204" pitchFamily="34" charset="0"/>
              </a:rPr>
              <a:t>目的 </a:t>
            </a:r>
            <a:r>
              <a:rPr lang="zh-CN" altLang="en-US" sz="1000" dirty="0">
                <a:solidFill>
                  <a:schemeClr val="tx1"/>
                </a:solidFill>
                <a:latin typeface="Tahoma" panose="020B0604030504040204" pitchFamily="34" charset="0"/>
              </a:rPr>
              <a:t>评价地诺孕素（</a:t>
            </a:r>
            <a:r>
              <a:rPr lang="en-US" altLang="zh-CN" sz="1000" dirty="0">
                <a:solidFill>
                  <a:schemeClr val="tx1"/>
                </a:solidFill>
                <a:latin typeface="Tahoma" panose="020B0604030504040204" pitchFamily="34" charset="0"/>
              </a:rPr>
              <a:t>DNG</a:t>
            </a:r>
            <a:r>
              <a:rPr lang="zh-CN" altLang="en-US" sz="1000" dirty="0">
                <a:solidFill>
                  <a:schemeClr val="tx1"/>
                </a:solidFill>
                <a:latin typeface="Tahoma" panose="020B0604030504040204" pitchFamily="34" charset="0"/>
              </a:rPr>
              <a:t>）对于难治性子宫内膜异位症（内异症）疼痛的临床疗效和安全性。</a:t>
            </a:r>
          </a:p>
          <a:p>
            <a:pPr algn="just"/>
            <a:r>
              <a:rPr lang="zh-CN" altLang="en-US" sz="1000" b="1" dirty="0">
                <a:solidFill>
                  <a:schemeClr val="tx1"/>
                </a:solidFill>
                <a:latin typeface="Tahoma" panose="020B0604030504040204" pitchFamily="34" charset="0"/>
              </a:rPr>
              <a:t>方法 </a:t>
            </a:r>
            <a:r>
              <a:rPr lang="zh-CN" altLang="en-US" sz="1000" dirty="0">
                <a:solidFill>
                  <a:schemeClr val="tx1"/>
                </a:solidFill>
                <a:latin typeface="Tahoma" panose="020B0604030504040204" pitchFamily="34" charset="0"/>
              </a:rPr>
              <a:t>本研究将难治性内异症疼痛定义为：（</a:t>
            </a:r>
            <a:r>
              <a:rPr lang="en-US" altLang="zh-CN" sz="1000" dirty="0">
                <a:solidFill>
                  <a:schemeClr val="tx1"/>
                </a:solidFill>
                <a:latin typeface="Tahoma" panose="020B0604030504040204" pitchFamily="34" charset="0"/>
              </a:rPr>
              <a:t>1</a:t>
            </a:r>
            <a:r>
              <a:rPr lang="zh-CN" altLang="en-US" sz="1000" dirty="0">
                <a:solidFill>
                  <a:schemeClr val="tx1"/>
                </a:solidFill>
                <a:latin typeface="Tahoma" panose="020B0604030504040204" pitchFamily="34" charset="0"/>
              </a:rPr>
              <a:t>）内异症相关疼痛时间≥</a:t>
            </a:r>
            <a:r>
              <a:rPr lang="en-US" altLang="zh-CN" sz="1000" dirty="0">
                <a:solidFill>
                  <a:schemeClr val="tx1"/>
                </a:solidFill>
                <a:latin typeface="Tahoma" panose="020B0604030504040204" pitchFamily="34" charset="0"/>
              </a:rPr>
              <a:t>12</a:t>
            </a:r>
            <a:r>
              <a:rPr lang="zh-CN" altLang="en-US" sz="1000" dirty="0">
                <a:solidFill>
                  <a:schemeClr val="tx1"/>
                </a:solidFill>
                <a:latin typeface="Tahoma" panose="020B0604030504040204" pitchFamily="34" charset="0"/>
              </a:rPr>
              <a:t>个月，疼痛视觉模拟评分（</a:t>
            </a:r>
            <a:r>
              <a:rPr lang="en-US" altLang="zh-CN" sz="1000" dirty="0">
                <a:solidFill>
                  <a:schemeClr val="tx1"/>
                </a:solidFill>
                <a:latin typeface="Tahoma" panose="020B0604030504040204" pitchFamily="34" charset="0"/>
              </a:rPr>
              <a:t>VAS</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60 mm</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2</a:t>
            </a:r>
            <a:r>
              <a:rPr lang="zh-CN" altLang="en-US" sz="1000" dirty="0">
                <a:solidFill>
                  <a:schemeClr val="tx1"/>
                </a:solidFill>
                <a:latin typeface="Tahoma" panose="020B0604030504040204" pitchFamily="34" charset="0"/>
              </a:rPr>
              <a:t>）既往经口服避孕药、左炔诺孕酮宫内缓释系统等</a:t>
            </a:r>
            <a:r>
              <a:rPr lang="en-US" altLang="zh-CN" sz="1000" dirty="0">
                <a:solidFill>
                  <a:schemeClr val="tx1"/>
                </a:solidFill>
                <a:latin typeface="Tahoma" panose="020B0604030504040204" pitchFamily="34" charset="0"/>
              </a:rPr>
              <a:t>2</a:t>
            </a:r>
            <a:r>
              <a:rPr lang="zh-CN" altLang="en-US" sz="1000" dirty="0">
                <a:solidFill>
                  <a:schemeClr val="tx1"/>
                </a:solidFill>
                <a:latin typeface="Tahoma" panose="020B0604030504040204" pitchFamily="34" charset="0"/>
              </a:rPr>
              <a:t>种以上药物治疗效果不满意，</a:t>
            </a:r>
            <a:r>
              <a:rPr lang="en-US" altLang="zh-CN" sz="1000" dirty="0">
                <a:solidFill>
                  <a:schemeClr val="tx1"/>
                </a:solidFill>
                <a:latin typeface="Tahoma" panose="020B0604030504040204" pitchFamily="34" charset="0"/>
              </a:rPr>
              <a:t>VAS</a:t>
            </a:r>
            <a:r>
              <a:rPr lang="zh-CN" altLang="en-US" sz="1000" dirty="0">
                <a:solidFill>
                  <a:schemeClr val="tx1"/>
                </a:solidFill>
                <a:latin typeface="Tahoma" panose="020B0604030504040204" pitchFamily="34" charset="0"/>
              </a:rPr>
              <a:t>评分降幅</a:t>
            </a:r>
            <a:r>
              <a:rPr lang="en-US" altLang="zh-CN" sz="1000" dirty="0">
                <a:solidFill>
                  <a:schemeClr val="tx1"/>
                </a:solidFill>
                <a:latin typeface="Tahoma" panose="020B0604030504040204" pitchFamily="34" charset="0"/>
              </a:rPr>
              <a:t>&lt;50%</a:t>
            </a:r>
            <a:r>
              <a:rPr lang="zh-CN" altLang="en-US" sz="1000" dirty="0">
                <a:solidFill>
                  <a:schemeClr val="tx1"/>
                </a:solidFill>
                <a:latin typeface="Tahoma" panose="020B0604030504040204" pitchFamily="34" charset="0"/>
              </a:rPr>
              <a:t>；或应用促性腺激素释放激素激动剂、米非司酮等可控制疼痛，但停药后疼痛再次发生；（</a:t>
            </a:r>
            <a:r>
              <a:rPr lang="en-US" altLang="zh-CN" sz="1000" dirty="0">
                <a:solidFill>
                  <a:schemeClr val="tx1"/>
                </a:solidFill>
                <a:latin typeface="Tahoma" panose="020B0604030504040204" pitchFamily="34" charset="0"/>
              </a:rPr>
              <a:t>3</a:t>
            </a:r>
            <a:r>
              <a:rPr lang="zh-CN" altLang="en-US" sz="1000" dirty="0">
                <a:solidFill>
                  <a:schemeClr val="tx1"/>
                </a:solidFill>
                <a:latin typeface="Tahoma" panose="020B0604030504040204" pitchFamily="34" charset="0"/>
              </a:rPr>
              <a:t>）疼痛经手术或反复手术后，仍不能控制。本研究对</a:t>
            </a:r>
            <a:r>
              <a:rPr lang="en-US" altLang="zh-CN" sz="1000" dirty="0">
                <a:solidFill>
                  <a:schemeClr val="tx1"/>
                </a:solidFill>
                <a:latin typeface="Tahoma" panose="020B0604030504040204" pitchFamily="34" charset="0"/>
              </a:rPr>
              <a:t>2016</a:t>
            </a:r>
            <a:r>
              <a:rPr lang="zh-CN" altLang="en-US" sz="1000" dirty="0">
                <a:solidFill>
                  <a:schemeClr val="tx1"/>
                </a:solidFill>
                <a:latin typeface="Tahoma" panose="020B0604030504040204" pitchFamily="34" charset="0"/>
              </a:rPr>
              <a:t>年</a:t>
            </a:r>
            <a:r>
              <a:rPr lang="en-US" altLang="zh-CN" sz="1000" dirty="0">
                <a:solidFill>
                  <a:schemeClr val="tx1"/>
                </a:solidFill>
                <a:latin typeface="Tahoma" panose="020B0604030504040204" pitchFamily="34" charset="0"/>
              </a:rPr>
              <a:t>11</a:t>
            </a:r>
            <a:r>
              <a:rPr lang="zh-CN" altLang="en-US" sz="1000" dirty="0">
                <a:solidFill>
                  <a:schemeClr val="tx1"/>
                </a:solidFill>
                <a:latin typeface="Tahoma" panose="020B0604030504040204" pitchFamily="34" charset="0"/>
              </a:rPr>
              <a:t>月至</a:t>
            </a:r>
            <a:r>
              <a:rPr lang="en-US" altLang="zh-CN" sz="1000" dirty="0">
                <a:solidFill>
                  <a:schemeClr val="tx1"/>
                </a:solidFill>
                <a:latin typeface="Tahoma" panose="020B0604030504040204" pitchFamily="34" charset="0"/>
              </a:rPr>
              <a:t>2020</a:t>
            </a:r>
            <a:r>
              <a:rPr lang="zh-CN" altLang="en-US" sz="1000" dirty="0">
                <a:solidFill>
                  <a:schemeClr val="tx1"/>
                </a:solidFill>
                <a:latin typeface="Tahoma" panose="020B0604030504040204" pitchFamily="34" charset="0"/>
              </a:rPr>
              <a:t>年</a:t>
            </a:r>
            <a:r>
              <a:rPr lang="en-US" altLang="zh-CN" sz="1000" dirty="0">
                <a:solidFill>
                  <a:schemeClr val="tx1"/>
                </a:solidFill>
                <a:latin typeface="Tahoma" panose="020B0604030504040204" pitchFamily="34" charset="0"/>
              </a:rPr>
              <a:t>2</a:t>
            </a:r>
            <a:r>
              <a:rPr lang="zh-CN" altLang="en-US" sz="1000" dirty="0">
                <a:solidFill>
                  <a:schemeClr val="tx1"/>
                </a:solidFill>
                <a:latin typeface="Tahoma" panose="020B0604030504040204" pitchFamily="34" charset="0"/>
              </a:rPr>
              <a:t>月</a:t>
            </a:r>
            <a:r>
              <a:rPr lang="en-US" altLang="zh-CN" sz="1000" dirty="0">
                <a:solidFill>
                  <a:schemeClr val="tx1"/>
                </a:solidFill>
                <a:latin typeface="Tahoma" panose="020B0604030504040204" pitchFamily="34" charset="0"/>
              </a:rPr>
              <a:t>48</a:t>
            </a:r>
            <a:r>
              <a:rPr lang="zh-CN" altLang="en-US" sz="1000" dirty="0">
                <a:solidFill>
                  <a:schemeClr val="tx1"/>
                </a:solidFill>
                <a:latin typeface="Tahoma" panose="020B0604030504040204" pitchFamily="34" charset="0"/>
              </a:rPr>
              <a:t>例符合标准的难治性内异症疼痛患者口服</a:t>
            </a:r>
            <a:r>
              <a:rPr lang="en-US" altLang="zh-CN" sz="1000" dirty="0">
                <a:solidFill>
                  <a:schemeClr val="tx1"/>
                </a:solidFill>
                <a:latin typeface="Tahoma" panose="020B0604030504040204" pitchFamily="34" charset="0"/>
              </a:rPr>
              <a:t>DNG</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2 mg/d</a:t>
            </a:r>
            <a:r>
              <a:rPr lang="zh-CN" altLang="en-US" sz="1000" dirty="0">
                <a:solidFill>
                  <a:schemeClr val="tx1"/>
                </a:solidFill>
                <a:latin typeface="Tahoma" panose="020B0604030504040204" pitchFamily="34" charset="0"/>
              </a:rPr>
              <a:t>）的治疗情况进行回顾性分析，比较用药前后</a:t>
            </a:r>
            <a:r>
              <a:rPr lang="en-US" altLang="zh-CN" sz="1000" dirty="0">
                <a:solidFill>
                  <a:schemeClr val="tx1"/>
                </a:solidFill>
                <a:latin typeface="Tahoma" panose="020B0604030504040204" pitchFamily="34" charset="0"/>
              </a:rPr>
              <a:t>VAS</a:t>
            </a:r>
            <a:r>
              <a:rPr lang="zh-CN" altLang="en-US" sz="1000" dirty="0">
                <a:solidFill>
                  <a:schemeClr val="tx1"/>
                </a:solidFill>
                <a:latin typeface="Tahoma" panose="020B0604030504040204" pitchFamily="34" charset="0"/>
              </a:rPr>
              <a:t>评分、</a:t>
            </a:r>
            <a:r>
              <a:rPr lang="en-US" altLang="zh-CN" sz="1000" dirty="0">
                <a:solidFill>
                  <a:schemeClr val="tx1"/>
                </a:solidFill>
                <a:latin typeface="Tahoma" panose="020B0604030504040204" pitchFamily="34" charset="0"/>
              </a:rPr>
              <a:t>CA</a:t>
            </a:r>
            <a:r>
              <a:rPr lang="en-US" altLang="zh-CN" sz="1000" baseline="-25000" dirty="0">
                <a:solidFill>
                  <a:schemeClr val="tx1"/>
                </a:solidFill>
                <a:latin typeface="Tahoma" panose="020B0604030504040204" pitchFamily="34" charset="0"/>
              </a:rPr>
              <a:t>125</a:t>
            </a:r>
            <a:r>
              <a:rPr lang="zh-CN" altLang="en-US" sz="1000" dirty="0">
                <a:solidFill>
                  <a:schemeClr val="tx1"/>
                </a:solidFill>
                <a:latin typeface="Tahoma" panose="020B0604030504040204" pitchFamily="34" charset="0"/>
              </a:rPr>
              <a:t>水平、雌二醇、</a:t>
            </a:r>
            <a:r>
              <a:rPr lang="en-US" altLang="zh-CN" sz="1000" dirty="0">
                <a:solidFill>
                  <a:schemeClr val="tx1"/>
                </a:solidFill>
                <a:latin typeface="Tahoma" panose="020B0604030504040204" pitchFamily="34" charset="0"/>
              </a:rPr>
              <a:t>FSH</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LH</a:t>
            </a:r>
            <a:r>
              <a:rPr lang="zh-CN" altLang="en-US" sz="1000" dirty="0">
                <a:solidFill>
                  <a:schemeClr val="tx1"/>
                </a:solidFill>
                <a:latin typeface="Tahoma" panose="020B0604030504040204" pitchFamily="34" charset="0"/>
              </a:rPr>
              <a:t>、内异症病灶大小的变化，并记录副作用。</a:t>
            </a:r>
          </a:p>
          <a:p>
            <a:pPr algn="just"/>
            <a:r>
              <a:rPr lang="zh-CN" altLang="en-US" sz="1000" b="1" dirty="0">
                <a:solidFill>
                  <a:schemeClr val="tx1"/>
                </a:solidFill>
                <a:latin typeface="Tahoma" panose="020B0604030504040204" pitchFamily="34" charset="0"/>
              </a:rPr>
              <a:t>结果 </a:t>
            </a:r>
            <a:r>
              <a:rPr lang="en-US" altLang="zh-CN" sz="1000" dirty="0">
                <a:solidFill>
                  <a:schemeClr val="tx1"/>
                </a:solidFill>
                <a:latin typeface="Tahoma" panose="020B0604030504040204" pitchFamily="34" charset="0"/>
              </a:rPr>
              <a:t>DNG</a:t>
            </a:r>
            <a:r>
              <a:rPr lang="zh-CN" altLang="en-US" sz="1000" dirty="0">
                <a:solidFill>
                  <a:schemeClr val="tx1"/>
                </a:solidFill>
                <a:latin typeface="Tahoma" panose="020B0604030504040204" pitchFamily="34" charset="0"/>
              </a:rPr>
              <a:t>用药时间为（</a:t>
            </a:r>
            <a:r>
              <a:rPr lang="en-US" altLang="zh-CN" sz="1000" dirty="0">
                <a:solidFill>
                  <a:schemeClr val="tx1"/>
                </a:solidFill>
                <a:latin typeface="Tahoma" panose="020B0604030504040204" pitchFamily="34" charset="0"/>
              </a:rPr>
              <a:t>20.1±12.8</a:t>
            </a:r>
            <a:r>
              <a:rPr lang="zh-CN" altLang="en-US" sz="1000" dirty="0">
                <a:solidFill>
                  <a:schemeClr val="tx1"/>
                </a:solidFill>
                <a:latin typeface="Tahoma" panose="020B0604030504040204" pitchFamily="34" charset="0"/>
              </a:rPr>
              <a:t>）个月。用药</a:t>
            </a:r>
            <a:r>
              <a:rPr lang="en-US" altLang="zh-CN" sz="1000" dirty="0">
                <a:solidFill>
                  <a:schemeClr val="tx1"/>
                </a:solidFill>
                <a:latin typeface="Tahoma" panose="020B0604030504040204" pitchFamily="34" charset="0"/>
              </a:rPr>
              <a:t>3</a:t>
            </a:r>
            <a:r>
              <a:rPr lang="zh-CN" altLang="en-US" sz="1000" dirty="0">
                <a:solidFill>
                  <a:schemeClr val="tx1"/>
                </a:solidFill>
                <a:latin typeface="Tahoma" panose="020B0604030504040204" pitchFamily="34" charset="0"/>
              </a:rPr>
              <a:t>个月时</a:t>
            </a:r>
            <a:r>
              <a:rPr lang="en-US" altLang="zh-CN" sz="1000" dirty="0">
                <a:solidFill>
                  <a:schemeClr val="tx1"/>
                </a:solidFill>
                <a:latin typeface="Tahoma" panose="020B0604030504040204" pitchFamily="34" charset="0"/>
              </a:rPr>
              <a:t>VAS</a:t>
            </a:r>
            <a:r>
              <a:rPr lang="zh-CN" altLang="en-US" sz="1000" dirty="0">
                <a:solidFill>
                  <a:schemeClr val="tx1"/>
                </a:solidFill>
                <a:latin typeface="Tahoma" panose="020B0604030504040204" pitchFamily="34" charset="0"/>
              </a:rPr>
              <a:t>评分由基线的（</a:t>
            </a:r>
            <a:r>
              <a:rPr lang="en-US" altLang="zh-CN" sz="1000" dirty="0">
                <a:solidFill>
                  <a:schemeClr val="tx1"/>
                </a:solidFill>
                <a:latin typeface="Tahoma" panose="020B0604030504040204" pitchFamily="34" charset="0"/>
              </a:rPr>
              <a:t>77.9±15.8</a:t>
            </a:r>
            <a:r>
              <a:rPr lang="zh-CN" altLang="en-US" sz="1000" dirty="0">
                <a:solidFill>
                  <a:schemeClr val="tx1"/>
                </a:solidFill>
                <a:latin typeface="Tahoma" panose="020B0604030504040204" pitchFamily="34" charset="0"/>
              </a:rPr>
              <a:t>） </a:t>
            </a:r>
            <a:r>
              <a:rPr lang="en-US" altLang="zh-CN" sz="1000" dirty="0">
                <a:solidFill>
                  <a:schemeClr val="tx1"/>
                </a:solidFill>
                <a:latin typeface="Tahoma" panose="020B0604030504040204" pitchFamily="34" charset="0"/>
              </a:rPr>
              <a:t>mm</a:t>
            </a:r>
            <a:r>
              <a:rPr lang="zh-CN" altLang="en-US" sz="1000" dirty="0">
                <a:solidFill>
                  <a:schemeClr val="tx1"/>
                </a:solidFill>
                <a:latin typeface="Tahoma" panose="020B0604030504040204" pitchFamily="34" charset="0"/>
              </a:rPr>
              <a:t>显著降低至（</a:t>
            </a:r>
            <a:r>
              <a:rPr lang="en-US" altLang="zh-CN" sz="1000" dirty="0">
                <a:solidFill>
                  <a:schemeClr val="tx1"/>
                </a:solidFill>
                <a:latin typeface="Tahoma" panose="020B0604030504040204" pitchFamily="34" charset="0"/>
              </a:rPr>
              <a:t>20.8±10.7</a:t>
            </a:r>
            <a:r>
              <a:rPr lang="zh-CN" altLang="en-US" sz="1000" dirty="0">
                <a:solidFill>
                  <a:schemeClr val="tx1"/>
                </a:solidFill>
                <a:latin typeface="Tahoma" panose="020B0604030504040204" pitchFamily="34" charset="0"/>
              </a:rPr>
              <a:t>） </a:t>
            </a:r>
            <a:r>
              <a:rPr lang="en-US" altLang="zh-CN" sz="1000" dirty="0">
                <a:solidFill>
                  <a:schemeClr val="tx1"/>
                </a:solidFill>
                <a:latin typeface="Tahoma" panose="020B0604030504040204" pitchFamily="34" charset="0"/>
              </a:rPr>
              <a:t>mm</a:t>
            </a:r>
            <a:r>
              <a:rPr lang="zh-CN" altLang="en-US" sz="1000" dirty="0">
                <a:solidFill>
                  <a:schemeClr val="tx1"/>
                </a:solidFill>
                <a:latin typeface="Tahoma" panose="020B0604030504040204" pitchFamily="34" charset="0"/>
              </a:rPr>
              <a:t>（</a:t>
            </a:r>
            <a:r>
              <a:rPr lang="en-US" altLang="zh-CN" sz="1000" i="1" dirty="0">
                <a:solidFill>
                  <a:schemeClr val="tx1"/>
                </a:solidFill>
                <a:latin typeface="Tahoma" panose="020B0604030504040204" pitchFamily="34" charset="0"/>
              </a:rPr>
              <a:t>P</a:t>
            </a:r>
            <a:r>
              <a:rPr lang="en-US" altLang="zh-CN" sz="1000" dirty="0">
                <a:solidFill>
                  <a:schemeClr val="tx1"/>
                </a:solidFill>
                <a:latin typeface="Tahoma" panose="020B0604030504040204" pitchFamily="34" charset="0"/>
              </a:rPr>
              <a:t>&lt;0.01</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CA</a:t>
            </a:r>
            <a:r>
              <a:rPr lang="en-US" altLang="zh-CN" sz="1000" baseline="-25000" dirty="0">
                <a:solidFill>
                  <a:schemeClr val="tx1"/>
                </a:solidFill>
                <a:latin typeface="Tahoma" panose="020B0604030504040204" pitchFamily="34" charset="0"/>
              </a:rPr>
              <a:t>125</a:t>
            </a:r>
            <a:r>
              <a:rPr lang="zh-CN" altLang="en-US" sz="1000" dirty="0">
                <a:solidFill>
                  <a:schemeClr val="tx1"/>
                </a:solidFill>
                <a:latin typeface="Tahoma" panose="020B0604030504040204" pitchFamily="34" charset="0"/>
              </a:rPr>
              <a:t>水平由基线的（</a:t>
            </a:r>
            <a:r>
              <a:rPr lang="en-US" altLang="zh-CN" sz="1000" dirty="0">
                <a:solidFill>
                  <a:schemeClr val="tx1"/>
                </a:solidFill>
                <a:latin typeface="Tahoma" panose="020B0604030504040204" pitchFamily="34" charset="0"/>
              </a:rPr>
              <a:t>95±139</a:t>
            </a:r>
            <a:r>
              <a:rPr lang="zh-CN" altLang="en-US" sz="1000" dirty="0">
                <a:solidFill>
                  <a:schemeClr val="tx1"/>
                </a:solidFill>
                <a:latin typeface="Tahoma" panose="020B0604030504040204" pitchFamily="34" charset="0"/>
              </a:rPr>
              <a:t>） </a:t>
            </a:r>
            <a:r>
              <a:rPr lang="en-US" altLang="zh-CN" sz="1000" dirty="0" err="1">
                <a:solidFill>
                  <a:schemeClr val="tx1"/>
                </a:solidFill>
                <a:latin typeface="Tahoma" panose="020B0604030504040204" pitchFamily="34" charset="0"/>
              </a:rPr>
              <a:t>kU</a:t>
            </a:r>
            <a:r>
              <a:rPr lang="en-US" altLang="zh-CN" sz="1000" dirty="0">
                <a:solidFill>
                  <a:schemeClr val="tx1"/>
                </a:solidFill>
                <a:latin typeface="Tahoma" panose="020B0604030504040204" pitchFamily="34" charset="0"/>
              </a:rPr>
              <a:t>/L</a:t>
            </a:r>
            <a:r>
              <a:rPr lang="zh-CN" altLang="en-US" sz="1000" dirty="0">
                <a:solidFill>
                  <a:schemeClr val="tx1"/>
                </a:solidFill>
                <a:latin typeface="Tahoma" panose="020B0604030504040204" pitchFamily="34" charset="0"/>
              </a:rPr>
              <a:t>显著降低至（</a:t>
            </a:r>
            <a:r>
              <a:rPr lang="en-US" altLang="zh-CN" sz="1000" dirty="0">
                <a:solidFill>
                  <a:schemeClr val="tx1"/>
                </a:solidFill>
                <a:latin typeface="Tahoma" panose="020B0604030504040204" pitchFamily="34" charset="0"/>
              </a:rPr>
              <a:t>38±45</a:t>
            </a:r>
            <a:r>
              <a:rPr lang="zh-CN" altLang="en-US" sz="1000" dirty="0">
                <a:solidFill>
                  <a:schemeClr val="tx1"/>
                </a:solidFill>
                <a:latin typeface="Tahoma" panose="020B0604030504040204" pitchFamily="34" charset="0"/>
              </a:rPr>
              <a:t>） </a:t>
            </a:r>
            <a:r>
              <a:rPr lang="en-US" altLang="zh-CN" sz="1000" dirty="0" err="1">
                <a:solidFill>
                  <a:schemeClr val="tx1"/>
                </a:solidFill>
                <a:latin typeface="Tahoma" panose="020B0604030504040204" pitchFamily="34" charset="0"/>
              </a:rPr>
              <a:t>kU</a:t>
            </a:r>
            <a:r>
              <a:rPr lang="en-US" altLang="zh-CN" sz="1000" dirty="0">
                <a:solidFill>
                  <a:schemeClr val="tx1"/>
                </a:solidFill>
                <a:latin typeface="Tahoma" panose="020B0604030504040204" pitchFamily="34" charset="0"/>
              </a:rPr>
              <a:t>/L </a:t>
            </a:r>
            <a:r>
              <a:rPr lang="zh-CN" altLang="en-US" sz="1000" dirty="0">
                <a:solidFill>
                  <a:schemeClr val="tx1"/>
                </a:solidFill>
                <a:latin typeface="Tahoma" panose="020B0604030504040204" pitchFamily="34" charset="0"/>
              </a:rPr>
              <a:t>（</a:t>
            </a:r>
            <a:r>
              <a:rPr lang="en-US" altLang="zh-CN" sz="1000" i="1" dirty="0">
                <a:solidFill>
                  <a:schemeClr val="tx1"/>
                </a:solidFill>
                <a:latin typeface="Tahoma" panose="020B0604030504040204" pitchFamily="34" charset="0"/>
              </a:rPr>
              <a:t>P</a:t>
            </a:r>
            <a:r>
              <a:rPr lang="en-US" altLang="zh-CN" sz="1000" dirty="0">
                <a:solidFill>
                  <a:schemeClr val="tx1"/>
                </a:solidFill>
                <a:latin typeface="Tahoma" panose="020B0604030504040204" pitchFamily="34" charset="0"/>
              </a:rPr>
              <a:t>&lt;0.05</a:t>
            </a:r>
            <a:r>
              <a:rPr lang="zh-CN" altLang="en-US" sz="1000" dirty="0">
                <a:solidFill>
                  <a:schemeClr val="tx1"/>
                </a:solidFill>
                <a:latin typeface="Tahoma" panose="020B0604030504040204" pitchFamily="34" charset="0"/>
              </a:rPr>
              <a:t>）。随着用药时间延长，疼痛缓解的治疗效果继续维持，</a:t>
            </a:r>
            <a:r>
              <a:rPr lang="en-US" altLang="zh-CN" sz="1000" dirty="0">
                <a:solidFill>
                  <a:schemeClr val="tx1"/>
                </a:solidFill>
                <a:latin typeface="Tahoma" panose="020B0604030504040204" pitchFamily="34" charset="0"/>
              </a:rPr>
              <a:t>CA</a:t>
            </a:r>
            <a:r>
              <a:rPr lang="en-US" altLang="zh-CN" sz="1000" baseline="-25000" dirty="0">
                <a:solidFill>
                  <a:schemeClr val="tx1"/>
                </a:solidFill>
                <a:latin typeface="Tahoma" panose="020B0604030504040204" pitchFamily="34" charset="0"/>
              </a:rPr>
              <a:t>125</a:t>
            </a:r>
            <a:r>
              <a:rPr lang="zh-CN" altLang="en-US" sz="1000" dirty="0">
                <a:solidFill>
                  <a:schemeClr val="tx1"/>
                </a:solidFill>
                <a:latin typeface="Tahoma" panose="020B0604030504040204" pitchFamily="34" charset="0"/>
              </a:rPr>
              <a:t>继续维持在低水平。卵巢子宫内膜异位囊肿经用药</a:t>
            </a:r>
            <a:r>
              <a:rPr lang="en-US" altLang="zh-CN" sz="1000" dirty="0">
                <a:solidFill>
                  <a:schemeClr val="tx1"/>
                </a:solidFill>
                <a:latin typeface="Tahoma" panose="020B0604030504040204" pitchFamily="34" charset="0"/>
              </a:rPr>
              <a:t>12</a:t>
            </a:r>
            <a:r>
              <a:rPr lang="zh-CN" altLang="en-US" sz="1000" dirty="0">
                <a:solidFill>
                  <a:schemeClr val="tx1"/>
                </a:solidFill>
                <a:latin typeface="Tahoma" panose="020B0604030504040204" pitchFamily="34" charset="0"/>
              </a:rPr>
              <a:t>个月后囊肿最大径线由（</a:t>
            </a:r>
            <a:r>
              <a:rPr lang="en-US" altLang="zh-CN" sz="1000" dirty="0">
                <a:solidFill>
                  <a:schemeClr val="tx1"/>
                </a:solidFill>
                <a:latin typeface="Tahoma" panose="020B0604030504040204" pitchFamily="34" charset="0"/>
              </a:rPr>
              <a:t>3.1±1.0</a:t>
            </a:r>
            <a:r>
              <a:rPr lang="zh-CN" altLang="en-US" sz="1000" dirty="0">
                <a:solidFill>
                  <a:schemeClr val="tx1"/>
                </a:solidFill>
                <a:latin typeface="Tahoma" panose="020B0604030504040204" pitchFamily="34" charset="0"/>
              </a:rPr>
              <a:t>） </a:t>
            </a:r>
            <a:r>
              <a:rPr lang="en-US" altLang="zh-CN" sz="1000" dirty="0">
                <a:solidFill>
                  <a:schemeClr val="tx1"/>
                </a:solidFill>
                <a:latin typeface="Tahoma" panose="020B0604030504040204" pitchFamily="34" charset="0"/>
              </a:rPr>
              <a:t>cm</a:t>
            </a:r>
            <a:r>
              <a:rPr lang="zh-CN" altLang="en-US" sz="1000" dirty="0">
                <a:solidFill>
                  <a:schemeClr val="tx1"/>
                </a:solidFill>
                <a:latin typeface="Tahoma" panose="020B0604030504040204" pitchFamily="34" charset="0"/>
              </a:rPr>
              <a:t>显著缩小至（</a:t>
            </a:r>
            <a:r>
              <a:rPr lang="en-US" altLang="zh-CN" sz="1000" dirty="0">
                <a:solidFill>
                  <a:schemeClr val="tx1"/>
                </a:solidFill>
                <a:latin typeface="Tahoma" panose="020B0604030504040204" pitchFamily="34" charset="0"/>
              </a:rPr>
              <a:t>1.9±1.2</a:t>
            </a:r>
            <a:r>
              <a:rPr lang="zh-CN" altLang="en-US" sz="1000" dirty="0">
                <a:solidFill>
                  <a:schemeClr val="tx1"/>
                </a:solidFill>
                <a:latin typeface="Tahoma" panose="020B0604030504040204" pitchFamily="34" charset="0"/>
              </a:rPr>
              <a:t>） </a:t>
            </a:r>
            <a:r>
              <a:rPr lang="en-US" altLang="zh-CN" sz="1000" dirty="0">
                <a:solidFill>
                  <a:schemeClr val="tx1"/>
                </a:solidFill>
                <a:latin typeface="Tahoma" panose="020B0604030504040204" pitchFamily="34" charset="0"/>
              </a:rPr>
              <a:t>cm</a:t>
            </a:r>
            <a:r>
              <a:rPr lang="zh-CN" altLang="en-US" sz="1000" dirty="0">
                <a:solidFill>
                  <a:schemeClr val="tx1"/>
                </a:solidFill>
                <a:latin typeface="Tahoma" panose="020B0604030504040204" pitchFamily="34" charset="0"/>
              </a:rPr>
              <a:t>（</a:t>
            </a:r>
            <a:r>
              <a:rPr lang="en-US" altLang="zh-CN" sz="1000" i="1" dirty="0">
                <a:solidFill>
                  <a:schemeClr val="tx1"/>
                </a:solidFill>
                <a:latin typeface="Tahoma" panose="020B0604030504040204" pitchFamily="34" charset="0"/>
              </a:rPr>
              <a:t>P</a:t>
            </a:r>
            <a:r>
              <a:rPr lang="en-US" altLang="zh-CN" sz="1000" dirty="0">
                <a:solidFill>
                  <a:schemeClr val="tx1"/>
                </a:solidFill>
                <a:latin typeface="Tahoma" panose="020B0604030504040204" pitchFamily="34" charset="0"/>
              </a:rPr>
              <a:t>&lt;0.05</a:t>
            </a:r>
            <a:r>
              <a:rPr lang="zh-CN" altLang="en-US" sz="1000" dirty="0">
                <a:solidFill>
                  <a:schemeClr val="tx1"/>
                </a:solidFill>
                <a:latin typeface="Tahoma" panose="020B0604030504040204" pitchFamily="34" charset="0"/>
              </a:rPr>
              <a:t>）。用药期间雌二醇平均水平维持在</a:t>
            </a:r>
            <a:r>
              <a:rPr lang="en-US" altLang="zh-CN" sz="1000" dirty="0">
                <a:solidFill>
                  <a:schemeClr val="tx1"/>
                </a:solidFill>
                <a:latin typeface="Tahoma" panose="020B0604030504040204" pitchFamily="34" charset="0"/>
              </a:rPr>
              <a:t>124.82~221.04 </a:t>
            </a:r>
            <a:r>
              <a:rPr lang="en-US" altLang="zh-CN" sz="1000" dirty="0" err="1">
                <a:solidFill>
                  <a:schemeClr val="tx1"/>
                </a:solidFill>
                <a:latin typeface="Tahoma" panose="020B0604030504040204" pitchFamily="34" charset="0"/>
              </a:rPr>
              <a:t>pmol</a:t>
            </a:r>
            <a:r>
              <a:rPr lang="en-US" altLang="zh-CN" sz="1000" dirty="0">
                <a:solidFill>
                  <a:schemeClr val="tx1"/>
                </a:solidFill>
                <a:latin typeface="Tahoma" panose="020B0604030504040204" pitchFamily="34" charset="0"/>
              </a:rPr>
              <a:t>/L</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FSH</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LH</a:t>
            </a:r>
            <a:r>
              <a:rPr lang="zh-CN" altLang="en-US" sz="1000" dirty="0">
                <a:solidFill>
                  <a:schemeClr val="tx1"/>
                </a:solidFill>
                <a:latin typeface="Tahoma" panose="020B0604030504040204" pitchFamily="34" charset="0"/>
              </a:rPr>
              <a:t>水平无明显变化。主要副作用是不规则出血（</a:t>
            </a:r>
            <a:r>
              <a:rPr lang="en-US" altLang="zh-CN" sz="1000" dirty="0">
                <a:solidFill>
                  <a:schemeClr val="tx1"/>
                </a:solidFill>
                <a:latin typeface="Tahoma" panose="020B0604030504040204" pitchFamily="34" charset="0"/>
              </a:rPr>
              <a:t>75%</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36/48</a:t>
            </a:r>
            <a:r>
              <a:rPr lang="zh-CN" altLang="en-US" sz="1000" dirty="0">
                <a:solidFill>
                  <a:schemeClr val="tx1"/>
                </a:solidFill>
                <a:latin typeface="Tahoma" panose="020B0604030504040204" pitchFamily="34" charset="0"/>
              </a:rPr>
              <a:t>）。</a:t>
            </a:r>
          </a:p>
          <a:p>
            <a:pPr algn="just"/>
            <a:r>
              <a:rPr lang="zh-CN" altLang="en-US" sz="1000" b="1" dirty="0">
                <a:solidFill>
                  <a:schemeClr val="tx1"/>
                </a:solidFill>
                <a:latin typeface="Tahoma" panose="020B0604030504040204" pitchFamily="34" charset="0"/>
              </a:rPr>
              <a:t>结论 </a:t>
            </a:r>
            <a:r>
              <a:rPr lang="en-US" altLang="zh-CN" sz="1000" dirty="0">
                <a:solidFill>
                  <a:schemeClr val="tx1"/>
                </a:solidFill>
                <a:latin typeface="Tahoma" panose="020B0604030504040204" pitchFamily="34" charset="0"/>
              </a:rPr>
              <a:t>DNG</a:t>
            </a:r>
            <a:r>
              <a:rPr lang="zh-CN" altLang="en-US" sz="1000" dirty="0">
                <a:solidFill>
                  <a:schemeClr val="tx1"/>
                </a:solidFill>
                <a:latin typeface="Tahoma" panose="020B0604030504040204" pitchFamily="34" charset="0"/>
              </a:rPr>
              <a:t>能有效缓解内异症疼痛，且耐受性好，可作为复杂的难治性内异症疼痛患者长期治疗的选择之一。</a:t>
            </a:r>
          </a:p>
        </p:txBody>
      </p:sp>
      <p:sp>
        <p:nvSpPr>
          <p:cNvPr id="28" name="TextBox 27">
            <a:extLst>
              <a:ext uri="{FF2B5EF4-FFF2-40B4-BE49-F238E27FC236}">
                <a16:creationId xmlns:a16="http://schemas.microsoft.com/office/drawing/2014/main" id="{80459FD6-28D1-46F7-8ECA-08C4A754F330}"/>
              </a:ext>
            </a:extLst>
          </p:cNvPr>
          <p:cNvSpPr txBox="1"/>
          <p:nvPr/>
        </p:nvSpPr>
        <p:spPr bwMode="gray">
          <a:xfrm>
            <a:off x="9445383" y="2174455"/>
            <a:ext cx="1723321" cy="2635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R="0" lvl="0" indent="0" algn="ctr" defTabSz="914309" fontAlgn="auto">
              <a:lnSpc>
                <a:spcPct val="100000"/>
              </a:lnSpc>
              <a:spcBef>
                <a:spcPts val="0"/>
              </a:spcBef>
              <a:spcAft>
                <a:spcPts val="0"/>
              </a:spcAft>
              <a:buClrTx/>
              <a:buSzTx/>
              <a:buFontTx/>
              <a:buNone/>
              <a:tabLst/>
              <a:defRPr kumimoji="0" sz="1200" b="1" i="0" u="none" strike="noStrike" cap="none" spc="0" normalizeH="0" baseline="0">
                <a:ln>
                  <a:noFill/>
                </a:ln>
                <a:solidFill>
                  <a:srgbClr val="443247"/>
                </a:solidFill>
                <a:effectLst/>
                <a:uLnTx/>
                <a:uFillTx/>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600" dirty="0"/>
              <a:t>Sentence splitting</a:t>
            </a:r>
            <a:endParaRPr lang="en-GB" sz="1600" dirty="0"/>
          </a:p>
        </p:txBody>
      </p:sp>
      <p:grpSp>
        <p:nvGrpSpPr>
          <p:cNvPr id="12" name="Group 11">
            <a:extLst>
              <a:ext uri="{FF2B5EF4-FFF2-40B4-BE49-F238E27FC236}">
                <a16:creationId xmlns:a16="http://schemas.microsoft.com/office/drawing/2014/main" id="{102B5F9B-8631-4DE3-AA57-2D2C6B07703E}"/>
              </a:ext>
            </a:extLst>
          </p:cNvPr>
          <p:cNvGrpSpPr/>
          <p:nvPr/>
        </p:nvGrpSpPr>
        <p:grpSpPr>
          <a:xfrm>
            <a:off x="8338110" y="2044292"/>
            <a:ext cx="563328" cy="563328"/>
            <a:chOff x="7649686" y="2791782"/>
            <a:chExt cx="563328" cy="563328"/>
          </a:xfrm>
        </p:grpSpPr>
        <p:pic>
          <p:nvPicPr>
            <p:cNvPr id="3" name="Graphic 2" descr="Document outline">
              <a:extLst>
                <a:ext uri="{FF2B5EF4-FFF2-40B4-BE49-F238E27FC236}">
                  <a16:creationId xmlns:a16="http://schemas.microsoft.com/office/drawing/2014/main" id="{EB9267BD-0833-4194-8D78-5D0D452BA7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9686" y="2791782"/>
              <a:ext cx="563328" cy="563328"/>
            </a:xfrm>
            <a:prstGeom prst="rect">
              <a:avLst/>
            </a:prstGeom>
          </p:spPr>
        </p:pic>
        <p:sp>
          <p:nvSpPr>
            <p:cNvPr id="6" name="Rectangle 5">
              <a:extLst>
                <a:ext uri="{FF2B5EF4-FFF2-40B4-BE49-F238E27FC236}">
                  <a16:creationId xmlns:a16="http://schemas.microsoft.com/office/drawing/2014/main" id="{2CC3F6A0-C37A-4984-AAC3-35B3F80F33D8}"/>
                </a:ext>
              </a:extLst>
            </p:cNvPr>
            <p:cNvSpPr/>
            <p:nvPr/>
          </p:nvSpPr>
          <p:spPr bwMode="gray">
            <a:xfrm>
              <a:off x="7803387" y="3028265"/>
              <a:ext cx="255926" cy="45719"/>
            </a:xfrm>
            <a:prstGeom prst="rect">
              <a:avLst/>
            </a:prstGeom>
            <a:noFill/>
            <a:ln w="19050">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TextBox 28">
            <a:extLst>
              <a:ext uri="{FF2B5EF4-FFF2-40B4-BE49-F238E27FC236}">
                <a16:creationId xmlns:a16="http://schemas.microsoft.com/office/drawing/2014/main" id="{E75D7BDC-9EE7-4B53-B9E7-A3DA90640F72}"/>
              </a:ext>
            </a:extLst>
          </p:cNvPr>
          <p:cNvSpPr txBox="1"/>
          <p:nvPr/>
        </p:nvSpPr>
        <p:spPr bwMode="gray">
          <a:xfrm>
            <a:off x="9445383" y="3086343"/>
            <a:ext cx="1638972" cy="2635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R="0" lvl="0" indent="0" defTabSz="914309"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2"/>
                </a:solidFill>
                <a:effectLst/>
                <a:uLnTx/>
                <a:uFillTx/>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solidFill>
                  <a:srgbClr val="443247"/>
                </a:solidFill>
              </a:rPr>
              <a:t>Word tokenization</a:t>
            </a:r>
            <a:endParaRPr lang="en-GB" sz="1600" dirty="0">
              <a:solidFill>
                <a:srgbClr val="443247"/>
              </a:solidFill>
            </a:endParaRPr>
          </a:p>
        </p:txBody>
      </p:sp>
      <p:grpSp>
        <p:nvGrpSpPr>
          <p:cNvPr id="37" name="Group 36">
            <a:extLst>
              <a:ext uri="{FF2B5EF4-FFF2-40B4-BE49-F238E27FC236}">
                <a16:creationId xmlns:a16="http://schemas.microsoft.com/office/drawing/2014/main" id="{13EEEEAD-6A7F-4F76-96D6-4F0493CAEBBB}"/>
              </a:ext>
            </a:extLst>
          </p:cNvPr>
          <p:cNvGrpSpPr/>
          <p:nvPr/>
        </p:nvGrpSpPr>
        <p:grpSpPr>
          <a:xfrm>
            <a:off x="8328000" y="3362535"/>
            <a:ext cx="583548" cy="119064"/>
            <a:chOff x="9252602" y="2936080"/>
            <a:chExt cx="583548" cy="119064"/>
          </a:xfrm>
        </p:grpSpPr>
        <p:grpSp>
          <p:nvGrpSpPr>
            <p:cNvPr id="13" name="Group 12">
              <a:extLst>
                <a:ext uri="{FF2B5EF4-FFF2-40B4-BE49-F238E27FC236}">
                  <a16:creationId xmlns:a16="http://schemas.microsoft.com/office/drawing/2014/main" id="{BA079B9A-D739-4408-9572-56A653E83B34}"/>
                </a:ext>
              </a:extLst>
            </p:cNvPr>
            <p:cNvGrpSpPr/>
            <p:nvPr/>
          </p:nvGrpSpPr>
          <p:grpSpPr>
            <a:xfrm>
              <a:off x="9252602" y="2936080"/>
              <a:ext cx="497972" cy="119064"/>
              <a:chOff x="9453765" y="2960328"/>
              <a:chExt cx="497972" cy="119064"/>
            </a:xfrm>
          </p:grpSpPr>
          <p:sp>
            <p:nvSpPr>
              <p:cNvPr id="30" name="Rectangle 29">
                <a:extLst>
                  <a:ext uri="{FF2B5EF4-FFF2-40B4-BE49-F238E27FC236}">
                    <a16:creationId xmlns:a16="http://schemas.microsoft.com/office/drawing/2014/main" id="{D10267F3-4312-4480-BBFE-05DD4B8BAB9B}"/>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FCD56504-EED4-497F-8028-1C181EDB1ECC}"/>
                  </a:ext>
                </a:extLst>
              </p:cNvPr>
              <p:cNvCxnSpPr>
                <a:cxnSpLocks/>
              </p:cNvCxnSpPr>
              <p:nvPr/>
            </p:nvCxnSpPr>
            <p:spPr bwMode="gray">
              <a:xfrm>
                <a:off x="9639300"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32" name="Straight Connector 31">
                <a:extLst>
                  <a:ext uri="{FF2B5EF4-FFF2-40B4-BE49-F238E27FC236}">
                    <a16:creationId xmlns:a16="http://schemas.microsoft.com/office/drawing/2014/main" id="{3BB02AB5-39D2-485D-8D47-053710FF047A}"/>
                  </a:ext>
                </a:extLst>
              </p:cNvPr>
              <p:cNvCxnSpPr>
                <a:cxnSpLocks/>
              </p:cNvCxnSpPr>
              <p:nvPr/>
            </p:nvCxnSpPr>
            <p:spPr bwMode="gray">
              <a:xfrm>
                <a:off x="9951737"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grpSp>
        <p:sp>
          <p:nvSpPr>
            <p:cNvPr id="33" name="Rectangle 32">
              <a:extLst>
                <a:ext uri="{FF2B5EF4-FFF2-40B4-BE49-F238E27FC236}">
                  <a16:creationId xmlns:a16="http://schemas.microsoft.com/office/drawing/2014/main" id="{26403662-CE47-4641-A34F-212B9E478D3E}"/>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D7E969A7-116A-4D0B-9A28-EFF6EA5EF3C6}"/>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 name="Group 38">
            <a:extLst>
              <a:ext uri="{FF2B5EF4-FFF2-40B4-BE49-F238E27FC236}">
                <a16:creationId xmlns:a16="http://schemas.microsoft.com/office/drawing/2014/main" id="{57F3D900-40E1-4060-B76C-28D75C567517}"/>
              </a:ext>
            </a:extLst>
          </p:cNvPr>
          <p:cNvGrpSpPr/>
          <p:nvPr/>
        </p:nvGrpSpPr>
        <p:grpSpPr>
          <a:xfrm>
            <a:off x="8328000" y="4073431"/>
            <a:ext cx="583548" cy="119064"/>
            <a:chOff x="9252602" y="2936080"/>
            <a:chExt cx="583548" cy="119064"/>
          </a:xfrm>
        </p:grpSpPr>
        <p:grpSp>
          <p:nvGrpSpPr>
            <p:cNvPr id="40" name="Group 39">
              <a:extLst>
                <a:ext uri="{FF2B5EF4-FFF2-40B4-BE49-F238E27FC236}">
                  <a16:creationId xmlns:a16="http://schemas.microsoft.com/office/drawing/2014/main" id="{EE1E8FA9-5C22-4752-9D29-1C23A470E36F}"/>
                </a:ext>
              </a:extLst>
            </p:cNvPr>
            <p:cNvGrpSpPr/>
            <p:nvPr/>
          </p:nvGrpSpPr>
          <p:grpSpPr>
            <a:xfrm>
              <a:off x="9252602" y="2936080"/>
              <a:ext cx="497972" cy="119064"/>
              <a:chOff x="9453765" y="2960328"/>
              <a:chExt cx="497972" cy="119064"/>
            </a:xfrm>
          </p:grpSpPr>
          <p:sp>
            <p:nvSpPr>
              <p:cNvPr id="43" name="Rectangle 42">
                <a:extLst>
                  <a:ext uri="{FF2B5EF4-FFF2-40B4-BE49-F238E27FC236}">
                    <a16:creationId xmlns:a16="http://schemas.microsoft.com/office/drawing/2014/main" id="{B9C7E2CC-DB68-4741-8AEA-9BED0D30E93C}"/>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473E4151-2C49-4577-A773-6FC50DD73C7D}"/>
                  </a:ext>
                </a:extLst>
              </p:cNvPr>
              <p:cNvCxnSpPr>
                <a:cxnSpLocks/>
              </p:cNvCxnSpPr>
              <p:nvPr/>
            </p:nvCxnSpPr>
            <p:spPr bwMode="gray">
              <a:xfrm>
                <a:off x="9639300"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cxnSp>
            <p:nvCxnSpPr>
              <p:cNvPr id="46" name="Straight Connector 45">
                <a:extLst>
                  <a:ext uri="{FF2B5EF4-FFF2-40B4-BE49-F238E27FC236}">
                    <a16:creationId xmlns:a16="http://schemas.microsoft.com/office/drawing/2014/main" id="{B5D07D8C-EB70-44D8-858C-3D2F862F238E}"/>
                  </a:ext>
                </a:extLst>
              </p:cNvPr>
              <p:cNvCxnSpPr>
                <a:cxnSpLocks/>
              </p:cNvCxnSpPr>
              <p:nvPr/>
            </p:nvCxnSpPr>
            <p:spPr bwMode="gray">
              <a:xfrm>
                <a:off x="9951737"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grpSp>
        <p:sp>
          <p:nvSpPr>
            <p:cNvPr id="41" name="Rectangle 40">
              <a:extLst>
                <a:ext uri="{FF2B5EF4-FFF2-40B4-BE49-F238E27FC236}">
                  <a16:creationId xmlns:a16="http://schemas.microsoft.com/office/drawing/2014/main" id="{54444CB8-E759-407F-B4F8-48DD47FB27E9}"/>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0A99B740-9B51-4726-B963-E59E7EE5D66D}"/>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5" name="Group 74">
            <a:extLst>
              <a:ext uri="{FF2B5EF4-FFF2-40B4-BE49-F238E27FC236}">
                <a16:creationId xmlns:a16="http://schemas.microsoft.com/office/drawing/2014/main" id="{540B0AAD-0870-4566-BA44-4EEDCAC85FE6}"/>
              </a:ext>
            </a:extLst>
          </p:cNvPr>
          <p:cNvGrpSpPr/>
          <p:nvPr/>
        </p:nvGrpSpPr>
        <p:grpSpPr>
          <a:xfrm>
            <a:off x="8299523" y="4047556"/>
            <a:ext cx="102202" cy="194364"/>
            <a:chOff x="11265694" y="3243264"/>
            <a:chExt cx="88106" cy="83344"/>
          </a:xfrm>
        </p:grpSpPr>
        <p:cxnSp>
          <p:nvCxnSpPr>
            <p:cNvPr id="47" name="Straight Connector 46">
              <a:extLst>
                <a:ext uri="{FF2B5EF4-FFF2-40B4-BE49-F238E27FC236}">
                  <a16:creationId xmlns:a16="http://schemas.microsoft.com/office/drawing/2014/main" id="{A8DF0775-28E2-4BAF-825E-EAA1D3EB4852}"/>
                </a:ext>
              </a:extLst>
            </p:cNvPr>
            <p:cNvCxnSpPr>
              <a:cxnSpLocks/>
            </p:cNvCxnSpPr>
            <p:nvPr/>
          </p:nvCxnSpPr>
          <p:spPr bwMode="gray">
            <a:xfrm>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49" name="Straight Connector 48">
              <a:extLst>
                <a:ext uri="{FF2B5EF4-FFF2-40B4-BE49-F238E27FC236}">
                  <a16:creationId xmlns:a16="http://schemas.microsoft.com/office/drawing/2014/main" id="{691B5B9F-1CD3-4539-9114-1230AE60A6CE}"/>
                </a:ext>
              </a:extLst>
            </p:cNvPr>
            <p:cNvCxnSpPr>
              <a:cxnSpLocks/>
            </p:cNvCxnSpPr>
            <p:nvPr/>
          </p:nvCxnSpPr>
          <p:spPr bwMode="gray">
            <a:xfrm flipV="1">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grpSp>
      <p:sp>
        <p:nvSpPr>
          <p:cNvPr id="76" name="TextBox 75">
            <a:extLst>
              <a:ext uri="{FF2B5EF4-FFF2-40B4-BE49-F238E27FC236}">
                <a16:creationId xmlns:a16="http://schemas.microsoft.com/office/drawing/2014/main" id="{AFB6B800-C5CF-44DA-8EB8-FFF562957E97}"/>
              </a:ext>
            </a:extLst>
          </p:cNvPr>
          <p:cNvSpPr txBox="1"/>
          <p:nvPr/>
        </p:nvSpPr>
        <p:spPr bwMode="gray">
          <a:xfrm>
            <a:off x="9445383" y="4047556"/>
            <a:ext cx="1742267" cy="330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R="0" lvl="0" indent="0" defTabSz="914309"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2"/>
                </a:solidFill>
                <a:effectLst/>
                <a:uLnTx/>
                <a:uFillTx/>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600" dirty="0">
                <a:solidFill>
                  <a:srgbClr val="443247"/>
                </a:solidFill>
              </a:rPr>
              <a:t>Remove meaningless </a:t>
            </a:r>
          </a:p>
          <a:p>
            <a:r>
              <a:rPr lang="en-US" altLang="zh-CN" sz="1600" dirty="0">
                <a:solidFill>
                  <a:srgbClr val="443247"/>
                </a:solidFill>
              </a:rPr>
              <a:t>words</a:t>
            </a:r>
            <a:endParaRPr lang="en-GB" sz="1600" dirty="0">
              <a:solidFill>
                <a:srgbClr val="443247"/>
              </a:solidFill>
            </a:endParaRPr>
          </a:p>
        </p:txBody>
      </p:sp>
      <p:sp>
        <p:nvSpPr>
          <p:cNvPr id="77" name="TextBox 76">
            <a:extLst>
              <a:ext uri="{FF2B5EF4-FFF2-40B4-BE49-F238E27FC236}">
                <a16:creationId xmlns:a16="http://schemas.microsoft.com/office/drawing/2014/main" id="{7E1CC828-F76E-4A09-9FE6-D00E2E09332B}"/>
              </a:ext>
            </a:extLst>
          </p:cNvPr>
          <p:cNvSpPr txBox="1"/>
          <p:nvPr/>
        </p:nvSpPr>
        <p:spPr bwMode="gray">
          <a:xfrm>
            <a:off x="9445383" y="5016217"/>
            <a:ext cx="2334898" cy="230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R="0" lvl="0" indent="0" defTabSz="914309" fontAlgn="auto">
              <a:lnSpc>
                <a:spcPct val="100000"/>
              </a:lnSpc>
              <a:spcBef>
                <a:spcPts val="0"/>
              </a:spcBef>
              <a:spcAft>
                <a:spcPts val="0"/>
              </a:spcAft>
              <a:buClrTx/>
              <a:buSzTx/>
              <a:buFontTx/>
              <a:buNone/>
              <a:tabLst/>
              <a:defRPr kumimoji="0" sz="1200" b="1" i="0" u="none" strike="noStrike" cap="none" spc="0" normalizeH="0" baseline="0">
                <a:ln>
                  <a:noFill/>
                </a:ln>
                <a:solidFill>
                  <a:schemeClr val="accent2"/>
                </a:solidFill>
                <a:effectLst/>
                <a:uLnTx/>
                <a:uFillTx/>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600" dirty="0">
                <a:solidFill>
                  <a:srgbClr val="443247"/>
                </a:solidFill>
              </a:rPr>
              <a:t>Semantic representation </a:t>
            </a:r>
            <a:endParaRPr lang="en-GB" sz="1600" dirty="0">
              <a:solidFill>
                <a:srgbClr val="443247"/>
              </a:solidFill>
            </a:endParaRPr>
          </a:p>
        </p:txBody>
      </p:sp>
      <p:grpSp>
        <p:nvGrpSpPr>
          <p:cNvPr id="90" name="Group 89">
            <a:extLst>
              <a:ext uri="{FF2B5EF4-FFF2-40B4-BE49-F238E27FC236}">
                <a16:creationId xmlns:a16="http://schemas.microsoft.com/office/drawing/2014/main" id="{87DF5552-5FEC-4752-AA87-034565D689BF}"/>
              </a:ext>
            </a:extLst>
          </p:cNvPr>
          <p:cNvGrpSpPr/>
          <p:nvPr/>
        </p:nvGrpSpPr>
        <p:grpSpPr>
          <a:xfrm>
            <a:off x="8031312" y="4971109"/>
            <a:ext cx="1176925" cy="304109"/>
            <a:chOff x="7530052" y="5001373"/>
            <a:chExt cx="1176925" cy="304109"/>
          </a:xfrm>
        </p:grpSpPr>
        <p:sp>
          <p:nvSpPr>
            <p:cNvPr id="80" name="Rectangle 79">
              <a:extLst>
                <a:ext uri="{FF2B5EF4-FFF2-40B4-BE49-F238E27FC236}">
                  <a16:creationId xmlns:a16="http://schemas.microsoft.com/office/drawing/2014/main" id="{9C13B2C2-3D91-4E4F-AC36-6FA4981B85F3}"/>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a:ln w="0"/>
                  <a:solidFill>
                    <a:schemeClr val="tx1"/>
                  </a:solidFill>
                  <a:effectLst>
                    <a:outerShdw blurRad="38100" dist="19050" dir="2700000" algn="tl" rotWithShape="0">
                      <a:schemeClr val="dk1">
                        <a:alpha val="40000"/>
                      </a:schemeClr>
                    </a:outerShdw>
                  </a:effectLst>
                </a:rPr>
                <a:t>text  》numbers</a:t>
              </a:r>
              <a:endParaRPr lang="en-US" sz="1100" b="0" cap="none" spc="0">
                <a:ln w="0"/>
                <a:solidFill>
                  <a:schemeClr val="tx1"/>
                </a:solidFill>
                <a:effectLst>
                  <a:outerShdw blurRad="38100" dist="19050" dir="2700000" algn="tl" rotWithShape="0">
                    <a:schemeClr val="dk1">
                      <a:alpha val="40000"/>
                    </a:schemeClr>
                  </a:outerShdw>
                </a:effectLst>
              </a:endParaRPr>
            </a:p>
          </p:txBody>
        </p:sp>
        <p:sp>
          <p:nvSpPr>
            <p:cNvPr id="81" name="Flowchart: Connector 80">
              <a:extLst>
                <a:ext uri="{FF2B5EF4-FFF2-40B4-BE49-F238E27FC236}">
                  <a16:creationId xmlns:a16="http://schemas.microsoft.com/office/drawing/2014/main" id="{2DD0D391-880A-4238-8606-FA3801B1EDB1}"/>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lowchart: Connector 81">
              <a:extLst>
                <a:ext uri="{FF2B5EF4-FFF2-40B4-BE49-F238E27FC236}">
                  <a16:creationId xmlns:a16="http://schemas.microsoft.com/office/drawing/2014/main" id="{88FC9EA0-0A56-4257-B3EA-1A63E7FD9338}"/>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84" name="Straight Arrow Connector 83">
            <a:extLst>
              <a:ext uri="{FF2B5EF4-FFF2-40B4-BE49-F238E27FC236}">
                <a16:creationId xmlns:a16="http://schemas.microsoft.com/office/drawing/2014/main" id="{3466CF41-1B7E-4489-B599-FE34124C8C5A}"/>
              </a:ext>
            </a:extLst>
          </p:cNvPr>
          <p:cNvCxnSpPr>
            <a:cxnSpLocks/>
          </p:cNvCxnSpPr>
          <p:nvPr/>
        </p:nvCxnSpPr>
        <p:spPr bwMode="gray">
          <a:xfrm>
            <a:off x="8614060" y="2895841"/>
            <a:ext cx="11429" cy="415338"/>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C95D708-30B4-4169-8D2A-4B8A0B3BE373}"/>
              </a:ext>
            </a:extLst>
          </p:cNvPr>
          <p:cNvCxnSpPr>
            <a:cxnSpLocks/>
          </p:cNvCxnSpPr>
          <p:nvPr/>
        </p:nvCxnSpPr>
        <p:spPr bwMode="gray">
          <a:xfrm>
            <a:off x="8628303" y="3586404"/>
            <a:ext cx="0" cy="374724"/>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6F88EEB0-B9E2-407B-B2FD-13640E5177ED}"/>
              </a:ext>
            </a:extLst>
          </p:cNvPr>
          <p:cNvCxnSpPr>
            <a:cxnSpLocks/>
          </p:cNvCxnSpPr>
          <p:nvPr/>
        </p:nvCxnSpPr>
        <p:spPr bwMode="gray">
          <a:xfrm>
            <a:off x="8619774" y="4514391"/>
            <a:ext cx="0" cy="339344"/>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8AAF3AC8-5DAF-4DA3-AF9F-D32EA91B5B7F}"/>
              </a:ext>
            </a:extLst>
          </p:cNvPr>
          <p:cNvGrpSpPr/>
          <p:nvPr/>
        </p:nvGrpSpPr>
        <p:grpSpPr>
          <a:xfrm>
            <a:off x="7093951" y="3419055"/>
            <a:ext cx="758134" cy="527706"/>
            <a:chOff x="5689580" y="3060700"/>
            <a:chExt cx="2159000" cy="1854200"/>
          </a:xfrm>
        </p:grpSpPr>
        <p:grpSp>
          <p:nvGrpSpPr>
            <p:cNvPr id="23" name="Group 22">
              <a:extLst>
                <a:ext uri="{FF2B5EF4-FFF2-40B4-BE49-F238E27FC236}">
                  <a16:creationId xmlns:a16="http://schemas.microsoft.com/office/drawing/2014/main" id="{2EBD60EF-3389-4B67-BBDE-ED0205FF2BD7}"/>
                </a:ext>
              </a:extLst>
            </p:cNvPr>
            <p:cNvGrpSpPr/>
            <p:nvPr/>
          </p:nvGrpSpPr>
          <p:grpSpPr>
            <a:xfrm>
              <a:off x="5689580" y="3060700"/>
              <a:ext cx="2159000" cy="1854200"/>
              <a:chOff x="5016500" y="3073400"/>
              <a:chExt cx="2159000" cy="1854200"/>
            </a:xfrm>
          </p:grpSpPr>
          <p:pic>
            <p:nvPicPr>
              <p:cNvPr id="26" name="Picture 8" descr="Computer Icon In Flat Style Black Desktop Isolated On White Background  Stock Illustration - Download Image Now - iStock">
                <a:extLst>
                  <a:ext uri="{FF2B5EF4-FFF2-40B4-BE49-F238E27FC236}">
                    <a16:creationId xmlns:a16="http://schemas.microsoft.com/office/drawing/2014/main" id="{4D813FD5-3BB1-4B47-AB6A-BA3B29C534F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1622" t="19578" r="20946" b="18733"/>
              <a:stretch/>
            </p:blipFill>
            <p:spPr bwMode="auto">
              <a:xfrm>
                <a:off x="5016500" y="3073400"/>
                <a:ext cx="2159000" cy="18542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A2C7AAFA-E18F-4A78-87EA-08330A48534D}"/>
                  </a:ext>
                </a:extLst>
              </p:cNvPr>
              <p:cNvPicPr>
                <a:picLocks noChangeAspect="1"/>
              </p:cNvPicPr>
              <p:nvPr/>
            </p:nvPicPr>
            <p:blipFill>
              <a:blip r:embed="rId6"/>
              <a:stretch>
                <a:fillRect/>
              </a:stretch>
            </p:blipFill>
            <p:spPr>
              <a:xfrm>
                <a:off x="5722098" y="3429000"/>
                <a:ext cx="747803" cy="705417"/>
              </a:xfrm>
              <a:prstGeom prst="rect">
                <a:avLst/>
              </a:prstGeom>
            </p:spPr>
          </p:pic>
        </p:grpSp>
        <p:sp>
          <p:nvSpPr>
            <p:cNvPr id="25" name="Flowchart: Process 24">
              <a:extLst>
                <a:ext uri="{FF2B5EF4-FFF2-40B4-BE49-F238E27FC236}">
                  <a16:creationId xmlns:a16="http://schemas.microsoft.com/office/drawing/2014/main" id="{0A5DD331-D571-40C2-94CE-5533E00F1CEA}"/>
                </a:ext>
              </a:extLst>
            </p:cNvPr>
            <p:cNvSpPr/>
            <p:nvPr/>
          </p:nvSpPr>
          <p:spPr bwMode="gray">
            <a:xfrm>
              <a:off x="6510213" y="3704410"/>
              <a:ext cx="494648" cy="169400"/>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a:solidFill>
                    <a:schemeClr val="accent2"/>
                  </a:solidFill>
                  <a:latin typeface="Arial" panose="020B0604020202020204" pitchFamily="34" charset="0"/>
                </a:rPr>
                <a:t>NLP</a:t>
              </a:r>
            </a:p>
          </p:txBody>
        </p:sp>
      </p:grpSp>
    </p:spTree>
    <p:extLst>
      <p:ext uri="{BB962C8B-B14F-4D97-AF65-F5344CB8AC3E}">
        <p14:creationId xmlns:p14="http://schemas.microsoft.com/office/powerpoint/2010/main" val="99410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1">
            <a:extLst>
              <a:ext uri="{FF2B5EF4-FFF2-40B4-BE49-F238E27FC236}">
                <a16:creationId xmlns:a16="http://schemas.microsoft.com/office/drawing/2014/main" id="{D80E3F28-A55B-4499-9B7C-9730F0C3CC6F}"/>
              </a:ext>
            </a:extLst>
          </p:cNvPr>
          <p:cNvSpPr>
            <a:spLocks noGrp="1"/>
          </p:cNvSpPr>
          <p:nvPr>
            <p:ph type="subTitle" idx="13"/>
          </p:nvPr>
        </p:nvSpPr>
        <p:spPr/>
        <p:txBody>
          <a:bodyPr/>
          <a:lstStyle/>
          <a:p>
            <a:endParaRPr lang="en-US"/>
          </a:p>
        </p:txBody>
      </p:sp>
      <p:sp>
        <p:nvSpPr>
          <p:cNvPr id="5" name="Titel 4"/>
          <p:cNvSpPr>
            <a:spLocks noGrp="1"/>
          </p:cNvSpPr>
          <p:nvPr>
            <p:ph type="title"/>
          </p:nvPr>
        </p:nvSpPr>
        <p:spPr bwMode="gray"/>
        <p:txBody>
          <a:bodyPr vert="horz" lIns="0" tIns="0" rIns="0" bIns="0" rtlCol="0" anchor="b">
            <a:normAutofit/>
          </a:bodyPr>
          <a:lstStyle/>
          <a:p>
            <a:r>
              <a:rPr lang="en-US" dirty="0"/>
              <a:t>Sentence splitting: from document to sentence </a:t>
            </a:r>
          </a:p>
        </p:txBody>
      </p:sp>
      <p:sp>
        <p:nvSpPr>
          <p:cNvPr id="8" name="Footer Placeholder 7"/>
          <p:cNvSpPr>
            <a:spLocks noGrp="1"/>
          </p:cNvSpPr>
          <p:nvPr>
            <p:ph type="ftr" sz="quarter" idx="11"/>
          </p:nvPr>
        </p:nvSpPr>
        <p:spPr bwMode="gray">
          <a:xfrm>
            <a:off x="1889073" y="6617933"/>
            <a:ext cx="8640000" cy="108000"/>
          </a:xfrm>
        </p:spPr>
        <p:txBody>
          <a:bodyPr vert="horz" lIns="0" tIns="0" rIns="0" bIns="0" rtlCol="0" anchor="t">
            <a:normAutofit/>
          </a:bodyPr>
          <a:lstStyle/>
          <a:p>
            <a:pPr>
              <a:spcAft>
                <a:spcPts val="600"/>
              </a:spcAft>
            </a:pPr>
            <a:r>
              <a:rPr lang="en-US" kern="1200">
                <a:latin typeface="+mn-lt"/>
                <a:ea typeface="+mn-ea"/>
                <a:cs typeface="+mn-cs"/>
              </a:rPr>
              <a:t>/// Advanced Analytics and Digital Transformation /// NLP session /// March 2022</a:t>
            </a:r>
          </a:p>
        </p:txBody>
      </p:sp>
      <p:sp>
        <p:nvSpPr>
          <p:cNvPr id="9" name="Slide Number Placeholder 8"/>
          <p:cNvSpPr>
            <a:spLocks noGrp="1"/>
          </p:cNvSpPr>
          <p:nvPr>
            <p:ph type="sldNum" sz="quarter" idx="12"/>
          </p:nvPr>
        </p:nvSpPr>
        <p:spPr bwMode="gray">
          <a:xfrm>
            <a:off x="1110244" y="6617933"/>
            <a:ext cx="392326" cy="108000"/>
          </a:xfrm>
        </p:spPr>
        <p:txBody>
          <a:bodyPr vert="horz" lIns="0" tIns="0" rIns="0" bIns="0" rtlCol="0" anchor="t">
            <a:normAutofit/>
          </a:bodyPr>
          <a:lstStyle/>
          <a:p>
            <a:pPr>
              <a:spcAft>
                <a:spcPts val="600"/>
              </a:spcAft>
            </a:pPr>
            <a:fld id="{EEAD9179-7A6B-4268-BEB2-F3B8EB06115B}" type="slidenum">
              <a:rPr lang="en-US">
                <a:solidFill>
                  <a:srgbClr val="443247"/>
                </a:solidFill>
              </a:rPr>
              <a:pPr>
                <a:spcAft>
                  <a:spcPts val="600"/>
                </a:spcAft>
              </a:pPr>
              <a:t>9</a:t>
            </a:fld>
            <a:endParaRPr lang="en-US">
              <a:solidFill>
                <a:srgbClr val="443247"/>
              </a:solidFill>
            </a:endParaRPr>
          </a:p>
        </p:txBody>
      </p:sp>
      <p:sp>
        <p:nvSpPr>
          <p:cNvPr id="21" name="TextBox 20">
            <a:extLst>
              <a:ext uri="{FF2B5EF4-FFF2-40B4-BE49-F238E27FC236}">
                <a16:creationId xmlns:a16="http://schemas.microsoft.com/office/drawing/2014/main" id="{49565F81-8210-43C6-9E19-17FD3EBE2C46}"/>
              </a:ext>
            </a:extLst>
          </p:cNvPr>
          <p:cNvSpPr txBox="1"/>
          <p:nvPr/>
        </p:nvSpPr>
        <p:spPr bwMode="gray">
          <a:xfrm>
            <a:off x="863487" y="3073446"/>
            <a:ext cx="914281" cy="914281"/>
          </a:xfrm>
          <a:prstGeom prst="rect">
            <a:avLst/>
          </a:prstGeom>
          <a:noFill/>
        </p:spPr>
        <p:txBody>
          <a:bodyPr vert="horz" wrap="none" lIns="0" tIns="0" rIns="0" bIns="0" rtlCol="0">
            <a:noAutofit/>
          </a:bodyPr>
          <a:lstStyle/>
          <a:p>
            <a:endParaRPr lang="en-US">
              <a:solidFill>
                <a:srgbClr val="000000"/>
              </a:solidFill>
              <a:latin typeface="Arial" panose="020B0604020202020204" pitchFamily="34" charset="0"/>
            </a:endParaRPr>
          </a:p>
        </p:txBody>
      </p:sp>
      <p:sp>
        <p:nvSpPr>
          <p:cNvPr id="45" name="Arrow: Right 44">
            <a:extLst>
              <a:ext uri="{FF2B5EF4-FFF2-40B4-BE49-F238E27FC236}">
                <a16:creationId xmlns:a16="http://schemas.microsoft.com/office/drawing/2014/main" id="{16754B9A-2EF0-4C2A-8153-B222780945B3}"/>
              </a:ext>
            </a:extLst>
          </p:cNvPr>
          <p:cNvSpPr/>
          <p:nvPr/>
        </p:nvSpPr>
        <p:spPr bwMode="gray">
          <a:xfrm>
            <a:off x="5294672" y="3419052"/>
            <a:ext cx="888883" cy="481345"/>
          </a:xfrm>
          <a:prstGeom prst="rightArrow">
            <a:avLst/>
          </a:prstGeom>
          <a:solidFill>
            <a:srgbClr val="443247"/>
          </a:solidFill>
          <a:ln>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pitchFamily="34" charset="0"/>
            </a:endParaRPr>
          </a:p>
        </p:txBody>
      </p:sp>
      <p:sp>
        <p:nvSpPr>
          <p:cNvPr id="17" name="Flowchart: Process 16">
            <a:extLst>
              <a:ext uri="{FF2B5EF4-FFF2-40B4-BE49-F238E27FC236}">
                <a16:creationId xmlns:a16="http://schemas.microsoft.com/office/drawing/2014/main" id="{D51DA287-B50C-4CDE-B2BD-D3E08499B198}"/>
              </a:ext>
            </a:extLst>
          </p:cNvPr>
          <p:cNvSpPr/>
          <p:nvPr/>
        </p:nvSpPr>
        <p:spPr bwMode="gray">
          <a:xfrm>
            <a:off x="888249" y="1939986"/>
            <a:ext cx="4236627" cy="3779417"/>
          </a:xfrm>
          <a:prstGeom prst="flowChartProcess">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000" b="1" dirty="0">
                <a:solidFill>
                  <a:schemeClr val="tx1"/>
                </a:solidFill>
                <a:latin typeface="Tahoma" panose="020B0604030504040204" pitchFamily="34" charset="0"/>
              </a:rPr>
              <a:t>目的 </a:t>
            </a:r>
            <a:r>
              <a:rPr lang="zh-CN" altLang="en-US" sz="1000" dirty="0">
                <a:solidFill>
                  <a:schemeClr val="tx1"/>
                </a:solidFill>
                <a:latin typeface="Tahoma" panose="020B0604030504040204" pitchFamily="34" charset="0"/>
              </a:rPr>
              <a:t>评价地诺孕素（</a:t>
            </a:r>
            <a:r>
              <a:rPr lang="en-US" altLang="zh-CN" sz="1000" dirty="0">
                <a:solidFill>
                  <a:schemeClr val="tx1"/>
                </a:solidFill>
                <a:latin typeface="Tahoma" panose="020B0604030504040204" pitchFamily="34" charset="0"/>
              </a:rPr>
              <a:t>DNG</a:t>
            </a:r>
            <a:r>
              <a:rPr lang="zh-CN" altLang="en-US" sz="1000" dirty="0">
                <a:solidFill>
                  <a:schemeClr val="tx1"/>
                </a:solidFill>
                <a:latin typeface="Tahoma" panose="020B0604030504040204" pitchFamily="34" charset="0"/>
              </a:rPr>
              <a:t>）对于难治性子宫内膜异位症（内异症）疼痛的临床疗效和安全性。</a:t>
            </a:r>
          </a:p>
          <a:p>
            <a:pPr algn="just"/>
            <a:r>
              <a:rPr lang="zh-CN" altLang="en-US" sz="1000" b="1" dirty="0">
                <a:solidFill>
                  <a:schemeClr val="tx1"/>
                </a:solidFill>
                <a:latin typeface="Tahoma" panose="020B0604030504040204" pitchFamily="34" charset="0"/>
              </a:rPr>
              <a:t>方法 </a:t>
            </a:r>
            <a:r>
              <a:rPr lang="zh-CN" altLang="en-US" sz="1000" dirty="0">
                <a:solidFill>
                  <a:schemeClr val="tx1"/>
                </a:solidFill>
                <a:latin typeface="Tahoma" panose="020B0604030504040204" pitchFamily="34" charset="0"/>
              </a:rPr>
              <a:t>本研究将难治性内异症疼痛定义为：（</a:t>
            </a:r>
            <a:r>
              <a:rPr lang="en-US" altLang="zh-CN" sz="1000" dirty="0">
                <a:solidFill>
                  <a:schemeClr val="tx1"/>
                </a:solidFill>
                <a:latin typeface="Tahoma" panose="020B0604030504040204" pitchFamily="34" charset="0"/>
              </a:rPr>
              <a:t>1</a:t>
            </a:r>
            <a:r>
              <a:rPr lang="zh-CN" altLang="en-US" sz="1000" dirty="0">
                <a:solidFill>
                  <a:schemeClr val="tx1"/>
                </a:solidFill>
                <a:latin typeface="Tahoma" panose="020B0604030504040204" pitchFamily="34" charset="0"/>
              </a:rPr>
              <a:t>）内异症相关疼痛时间≥</a:t>
            </a:r>
            <a:r>
              <a:rPr lang="en-US" altLang="zh-CN" sz="1000" dirty="0">
                <a:solidFill>
                  <a:schemeClr val="tx1"/>
                </a:solidFill>
                <a:latin typeface="Tahoma" panose="020B0604030504040204" pitchFamily="34" charset="0"/>
              </a:rPr>
              <a:t>12</a:t>
            </a:r>
            <a:r>
              <a:rPr lang="zh-CN" altLang="en-US" sz="1000" dirty="0">
                <a:solidFill>
                  <a:schemeClr val="tx1"/>
                </a:solidFill>
                <a:latin typeface="Tahoma" panose="020B0604030504040204" pitchFamily="34" charset="0"/>
              </a:rPr>
              <a:t>个月，疼痛视觉模拟评分（</a:t>
            </a:r>
            <a:r>
              <a:rPr lang="en-US" altLang="zh-CN" sz="1000" dirty="0">
                <a:solidFill>
                  <a:schemeClr val="tx1"/>
                </a:solidFill>
                <a:latin typeface="Tahoma" panose="020B0604030504040204" pitchFamily="34" charset="0"/>
              </a:rPr>
              <a:t>VAS</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60 mm</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2</a:t>
            </a:r>
            <a:r>
              <a:rPr lang="zh-CN" altLang="en-US" sz="1000" dirty="0">
                <a:solidFill>
                  <a:schemeClr val="tx1"/>
                </a:solidFill>
                <a:latin typeface="Tahoma" panose="020B0604030504040204" pitchFamily="34" charset="0"/>
              </a:rPr>
              <a:t>）既往经口服避孕药、左炔诺孕酮宫内缓释系统等</a:t>
            </a:r>
            <a:r>
              <a:rPr lang="en-US" altLang="zh-CN" sz="1000" dirty="0">
                <a:solidFill>
                  <a:schemeClr val="tx1"/>
                </a:solidFill>
                <a:latin typeface="Tahoma" panose="020B0604030504040204" pitchFamily="34" charset="0"/>
              </a:rPr>
              <a:t>2</a:t>
            </a:r>
            <a:r>
              <a:rPr lang="zh-CN" altLang="en-US" sz="1000" dirty="0">
                <a:solidFill>
                  <a:schemeClr val="tx1"/>
                </a:solidFill>
                <a:latin typeface="Tahoma" panose="020B0604030504040204" pitchFamily="34" charset="0"/>
              </a:rPr>
              <a:t>种以上药物治疗效果不满意，</a:t>
            </a:r>
            <a:r>
              <a:rPr lang="en-US" altLang="zh-CN" sz="1000" dirty="0">
                <a:solidFill>
                  <a:schemeClr val="tx1"/>
                </a:solidFill>
                <a:latin typeface="Tahoma" panose="020B0604030504040204" pitchFamily="34" charset="0"/>
              </a:rPr>
              <a:t>VAS</a:t>
            </a:r>
            <a:r>
              <a:rPr lang="zh-CN" altLang="en-US" sz="1000" dirty="0">
                <a:solidFill>
                  <a:schemeClr val="tx1"/>
                </a:solidFill>
                <a:latin typeface="Tahoma" panose="020B0604030504040204" pitchFamily="34" charset="0"/>
              </a:rPr>
              <a:t>评分降幅</a:t>
            </a:r>
            <a:r>
              <a:rPr lang="en-US" altLang="zh-CN" sz="1000" dirty="0">
                <a:solidFill>
                  <a:schemeClr val="tx1"/>
                </a:solidFill>
                <a:latin typeface="Tahoma" panose="020B0604030504040204" pitchFamily="34" charset="0"/>
              </a:rPr>
              <a:t>&lt;50%</a:t>
            </a:r>
            <a:r>
              <a:rPr lang="zh-CN" altLang="en-US" sz="1000" dirty="0">
                <a:solidFill>
                  <a:schemeClr val="tx1"/>
                </a:solidFill>
                <a:latin typeface="Tahoma" panose="020B0604030504040204" pitchFamily="34" charset="0"/>
              </a:rPr>
              <a:t>；或应用促性腺激素释放激素激动剂、米非司酮等可控制疼痛，但停药后疼痛再次发生；（</a:t>
            </a:r>
            <a:r>
              <a:rPr lang="en-US" altLang="zh-CN" sz="1000" dirty="0">
                <a:solidFill>
                  <a:schemeClr val="tx1"/>
                </a:solidFill>
                <a:latin typeface="Tahoma" panose="020B0604030504040204" pitchFamily="34" charset="0"/>
              </a:rPr>
              <a:t>3</a:t>
            </a:r>
            <a:r>
              <a:rPr lang="zh-CN" altLang="en-US" sz="1000" dirty="0">
                <a:solidFill>
                  <a:schemeClr val="tx1"/>
                </a:solidFill>
                <a:latin typeface="Tahoma" panose="020B0604030504040204" pitchFamily="34" charset="0"/>
              </a:rPr>
              <a:t>）疼痛经手术或反复手术后，仍不能控制。本研究对</a:t>
            </a:r>
            <a:r>
              <a:rPr lang="en-US" altLang="zh-CN" sz="1000" dirty="0">
                <a:solidFill>
                  <a:schemeClr val="tx1"/>
                </a:solidFill>
                <a:latin typeface="Tahoma" panose="020B0604030504040204" pitchFamily="34" charset="0"/>
              </a:rPr>
              <a:t>2016</a:t>
            </a:r>
            <a:r>
              <a:rPr lang="zh-CN" altLang="en-US" sz="1000" dirty="0">
                <a:solidFill>
                  <a:schemeClr val="tx1"/>
                </a:solidFill>
                <a:latin typeface="Tahoma" panose="020B0604030504040204" pitchFamily="34" charset="0"/>
              </a:rPr>
              <a:t>年</a:t>
            </a:r>
            <a:r>
              <a:rPr lang="en-US" altLang="zh-CN" sz="1000" dirty="0">
                <a:solidFill>
                  <a:schemeClr val="tx1"/>
                </a:solidFill>
                <a:latin typeface="Tahoma" panose="020B0604030504040204" pitchFamily="34" charset="0"/>
              </a:rPr>
              <a:t>11</a:t>
            </a:r>
            <a:r>
              <a:rPr lang="zh-CN" altLang="en-US" sz="1000" dirty="0">
                <a:solidFill>
                  <a:schemeClr val="tx1"/>
                </a:solidFill>
                <a:latin typeface="Tahoma" panose="020B0604030504040204" pitchFamily="34" charset="0"/>
              </a:rPr>
              <a:t>月至</a:t>
            </a:r>
            <a:r>
              <a:rPr lang="en-US" altLang="zh-CN" sz="1000" dirty="0">
                <a:solidFill>
                  <a:schemeClr val="tx1"/>
                </a:solidFill>
                <a:latin typeface="Tahoma" panose="020B0604030504040204" pitchFamily="34" charset="0"/>
              </a:rPr>
              <a:t>2020</a:t>
            </a:r>
            <a:r>
              <a:rPr lang="zh-CN" altLang="en-US" sz="1000" dirty="0">
                <a:solidFill>
                  <a:schemeClr val="tx1"/>
                </a:solidFill>
                <a:latin typeface="Tahoma" panose="020B0604030504040204" pitchFamily="34" charset="0"/>
              </a:rPr>
              <a:t>年</a:t>
            </a:r>
            <a:r>
              <a:rPr lang="en-US" altLang="zh-CN" sz="1000" dirty="0">
                <a:solidFill>
                  <a:schemeClr val="tx1"/>
                </a:solidFill>
                <a:latin typeface="Tahoma" panose="020B0604030504040204" pitchFamily="34" charset="0"/>
              </a:rPr>
              <a:t>2</a:t>
            </a:r>
            <a:r>
              <a:rPr lang="zh-CN" altLang="en-US" sz="1000" dirty="0">
                <a:solidFill>
                  <a:schemeClr val="tx1"/>
                </a:solidFill>
                <a:latin typeface="Tahoma" panose="020B0604030504040204" pitchFamily="34" charset="0"/>
              </a:rPr>
              <a:t>月</a:t>
            </a:r>
            <a:r>
              <a:rPr lang="en-US" altLang="zh-CN" sz="1000" dirty="0">
                <a:solidFill>
                  <a:schemeClr val="tx1"/>
                </a:solidFill>
                <a:latin typeface="Tahoma" panose="020B0604030504040204" pitchFamily="34" charset="0"/>
              </a:rPr>
              <a:t>48</a:t>
            </a:r>
            <a:r>
              <a:rPr lang="zh-CN" altLang="en-US" sz="1000" dirty="0">
                <a:solidFill>
                  <a:schemeClr val="tx1"/>
                </a:solidFill>
                <a:latin typeface="Tahoma" panose="020B0604030504040204" pitchFamily="34" charset="0"/>
              </a:rPr>
              <a:t>例符合标准的难治性内异症疼痛患者口服</a:t>
            </a:r>
            <a:r>
              <a:rPr lang="en-US" altLang="zh-CN" sz="1000" dirty="0">
                <a:solidFill>
                  <a:schemeClr val="tx1"/>
                </a:solidFill>
                <a:latin typeface="Tahoma" panose="020B0604030504040204" pitchFamily="34" charset="0"/>
              </a:rPr>
              <a:t>DNG</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2 mg/d</a:t>
            </a:r>
            <a:r>
              <a:rPr lang="zh-CN" altLang="en-US" sz="1000" dirty="0">
                <a:solidFill>
                  <a:schemeClr val="tx1"/>
                </a:solidFill>
                <a:latin typeface="Tahoma" panose="020B0604030504040204" pitchFamily="34" charset="0"/>
              </a:rPr>
              <a:t>）的治疗情况进行回顾性分析，比较用药前后</a:t>
            </a:r>
            <a:r>
              <a:rPr lang="en-US" altLang="zh-CN" sz="1000" dirty="0">
                <a:solidFill>
                  <a:schemeClr val="tx1"/>
                </a:solidFill>
                <a:latin typeface="Tahoma" panose="020B0604030504040204" pitchFamily="34" charset="0"/>
              </a:rPr>
              <a:t>VAS</a:t>
            </a:r>
            <a:r>
              <a:rPr lang="zh-CN" altLang="en-US" sz="1000" dirty="0">
                <a:solidFill>
                  <a:schemeClr val="tx1"/>
                </a:solidFill>
                <a:latin typeface="Tahoma" panose="020B0604030504040204" pitchFamily="34" charset="0"/>
              </a:rPr>
              <a:t>评分、</a:t>
            </a:r>
            <a:r>
              <a:rPr lang="en-US" altLang="zh-CN" sz="1000" dirty="0">
                <a:solidFill>
                  <a:schemeClr val="tx1"/>
                </a:solidFill>
                <a:latin typeface="Tahoma" panose="020B0604030504040204" pitchFamily="34" charset="0"/>
              </a:rPr>
              <a:t>CA</a:t>
            </a:r>
            <a:r>
              <a:rPr lang="en-US" altLang="zh-CN" sz="1000" baseline="-25000" dirty="0">
                <a:solidFill>
                  <a:schemeClr val="tx1"/>
                </a:solidFill>
                <a:latin typeface="Tahoma" panose="020B0604030504040204" pitchFamily="34" charset="0"/>
              </a:rPr>
              <a:t>125</a:t>
            </a:r>
            <a:r>
              <a:rPr lang="zh-CN" altLang="en-US" sz="1000" dirty="0">
                <a:solidFill>
                  <a:schemeClr val="tx1"/>
                </a:solidFill>
                <a:latin typeface="Tahoma" panose="020B0604030504040204" pitchFamily="34" charset="0"/>
              </a:rPr>
              <a:t>水平、雌二醇、</a:t>
            </a:r>
            <a:r>
              <a:rPr lang="en-US" altLang="zh-CN" sz="1000" dirty="0">
                <a:solidFill>
                  <a:schemeClr val="tx1"/>
                </a:solidFill>
                <a:latin typeface="Tahoma" panose="020B0604030504040204" pitchFamily="34" charset="0"/>
              </a:rPr>
              <a:t>FSH</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LH</a:t>
            </a:r>
            <a:r>
              <a:rPr lang="zh-CN" altLang="en-US" sz="1000" dirty="0">
                <a:solidFill>
                  <a:schemeClr val="tx1"/>
                </a:solidFill>
                <a:latin typeface="Tahoma" panose="020B0604030504040204" pitchFamily="34" charset="0"/>
              </a:rPr>
              <a:t>、内异症病灶大小的变化，并记录副作用。</a:t>
            </a:r>
          </a:p>
          <a:p>
            <a:pPr algn="just"/>
            <a:r>
              <a:rPr lang="zh-CN" altLang="en-US" sz="1000" b="1" dirty="0">
                <a:solidFill>
                  <a:schemeClr val="tx1"/>
                </a:solidFill>
                <a:latin typeface="Tahoma" panose="020B0604030504040204" pitchFamily="34" charset="0"/>
              </a:rPr>
              <a:t>结果 </a:t>
            </a:r>
            <a:r>
              <a:rPr lang="en-US" altLang="zh-CN" sz="1000" dirty="0">
                <a:solidFill>
                  <a:schemeClr val="tx1"/>
                </a:solidFill>
                <a:latin typeface="Tahoma" panose="020B0604030504040204" pitchFamily="34" charset="0"/>
              </a:rPr>
              <a:t>DNG</a:t>
            </a:r>
            <a:r>
              <a:rPr lang="zh-CN" altLang="en-US" sz="1000" dirty="0">
                <a:solidFill>
                  <a:schemeClr val="tx1"/>
                </a:solidFill>
                <a:latin typeface="Tahoma" panose="020B0604030504040204" pitchFamily="34" charset="0"/>
              </a:rPr>
              <a:t>用药时间为（</a:t>
            </a:r>
            <a:r>
              <a:rPr lang="en-US" altLang="zh-CN" sz="1000" dirty="0">
                <a:solidFill>
                  <a:schemeClr val="tx1"/>
                </a:solidFill>
                <a:latin typeface="Tahoma" panose="020B0604030504040204" pitchFamily="34" charset="0"/>
              </a:rPr>
              <a:t>20.1±12.8</a:t>
            </a:r>
            <a:r>
              <a:rPr lang="zh-CN" altLang="en-US" sz="1000" dirty="0">
                <a:solidFill>
                  <a:schemeClr val="tx1"/>
                </a:solidFill>
                <a:latin typeface="Tahoma" panose="020B0604030504040204" pitchFamily="34" charset="0"/>
              </a:rPr>
              <a:t>）个月。用药</a:t>
            </a:r>
            <a:r>
              <a:rPr lang="en-US" altLang="zh-CN" sz="1000" dirty="0">
                <a:solidFill>
                  <a:schemeClr val="tx1"/>
                </a:solidFill>
                <a:latin typeface="Tahoma" panose="020B0604030504040204" pitchFamily="34" charset="0"/>
              </a:rPr>
              <a:t>3</a:t>
            </a:r>
            <a:r>
              <a:rPr lang="zh-CN" altLang="en-US" sz="1000" dirty="0">
                <a:solidFill>
                  <a:schemeClr val="tx1"/>
                </a:solidFill>
                <a:latin typeface="Tahoma" panose="020B0604030504040204" pitchFamily="34" charset="0"/>
              </a:rPr>
              <a:t>个月时</a:t>
            </a:r>
            <a:r>
              <a:rPr lang="en-US" altLang="zh-CN" sz="1000" dirty="0">
                <a:solidFill>
                  <a:schemeClr val="tx1"/>
                </a:solidFill>
                <a:latin typeface="Tahoma" panose="020B0604030504040204" pitchFamily="34" charset="0"/>
              </a:rPr>
              <a:t>VAS</a:t>
            </a:r>
            <a:r>
              <a:rPr lang="zh-CN" altLang="en-US" sz="1000" dirty="0">
                <a:solidFill>
                  <a:schemeClr val="tx1"/>
                </a:solidFill>
                <a:latin typeface="Tahoma" panose="020B0604030504040204" pitchFamily="34" charset="0"/>
              </a:rPr>
              <a:t>评分由基线的（</a:t>
            </a:r>
            <a:r>
              <a:rPr lang="en-US" altLang="zh-CN" sz="1000" dirty="0">
                <a:solidFill>
                  <a:schemeClr val="tx1"/>
                </a:solidFill>
                <a:latin typeface="Tahoma" panose="020B0604030504040204" pitchFamily="34" charset="0"/>
              </a:rPr>
              <a:t>77.9±15.8</a:t>
            </a:r>
            <a:r>
              <a:rPr lang="zh-CN" altLang="en-US" sz="1000" dirty="0">
                <a:solidFill>
                  <a:schemeClr val="tx1"/>
                </a:solidFill>
                <a:latin typeface="Tahoma" panose="020B0604030504040204" pitchFamily="34" charset="0"/>
              </a:rPr>
              <a:t>） </a:t>
            </a:r>
            <a:r>
              <a:rPr lang="en-US" altLang="zh-CN" sz="1000" dirty="0">
                <a:solidFill>
                  <a:schemeClr val="tx1"/>
                </a:solidFill>
                <a:latin typeface="Tahoma" panose="020B0604030504040204" pitchFamily="34" charset="0"/>
              </a:rPr>
              <a:t>mm</a:t>
            </a:r>
            <a:r>
              <a:rPr lang="zh-CN" altLang="en-US" sz="1000" dirty="0">
                <a:solidFill>
                  <a:schemeClr val="tx1"/>
                </a:solidFill>
                <a:latin typeface="Tahoma" panose="020B0604030504040204" pitchFamily="34" charset="0"/>
              </a:rPr>
              <a:t>显著降低至（</a:t>
            </a:r>
            <a:r>
              <a:rPr lang="en-US" altLang="zh-CN" sz="1000" dirty="0">
                <a:solidFill>
                  <a:schemeClr val="tx1"/>
                </a:solidFill>
                <a:latin typeface="Tahoma" panose="020B0604030504040204" pitchFamily="34" charset="0"/>
              </a:rPr>
              <a:t>20.8±10.7</a:t>
            </a:r>
            <a:r>
              <a:rPr lang="zh-CN" altLang="en-US" sz="1000" dirty="0">
                <a:solidFill>
                  <a:schemeClr val="tx1"/>
                </a:solidFill>
                <a:latin typeface="Tahoma" panose="020B0604030504040204" pitchFamily="34" charset="0"/>
              </a:rPr>
              <a:t>） </a:t>
            </a:r>
            <a:r>
              <a:rPr lang="en-US" altLang="zh-CN" sz="1000" dirty="0">
                <a:solidFill>
                  <a:schemeClr val="tx1"/>
                </a:solidFill>
                <a:latin typeface="Tahoma" panose="020B0604030504040204" pitchFamily="34" charset="0"/>
              </a:rPr>
              <a:t>mm</a:t>
            </a:r>
            <a:r>
              <a:rPr lang="zh-CN" altLang="en-US" sz="1000" dirty="0">
                <a:solidFill>
                  <a:schemeClr val="tx1"/>
                </a:solidFill>
                <a:latin typeface="Tahoma" panose="020B0604030504040204" pitchFamily="34" charset="0"/>
              </a:rPr>
              <a:t>（</a:t>
            </a:r>
            <a:r>
              <a:rPr lang="en-US" altLang="zh-CN" sz="1000" i="1" dirty="0">
                <a:solidFill>
                  <a:schemeClr val="tx1"/>
                </a:solidFill>
                <a:latin typeface="Tahoma" panose="020B0604030504040204" pitchFamily="34" charset="0"/>
              </a:rPr>
              <a:t>P</a:t>
            </a:r>
            <a:r>
              <a:rPr lang="en-US" altLang="zh-CN" sz="1000" dirty="0">
                <a:solidFill>
                  <a:schemeClr val="tx1"/>
                </a:solidFill>
                <a:latin typeface="Tahoma" panose="020B0604030504040204" pitchFamily="34" charset="0"/>
              </a:rPr>
              <a:t>&lt;0.01</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CA</a:t>
            </a:r>
            <a:r>
              <a:rPr lang="en-US" altLang="zh-CN" sz="1000" baseline="-25000" dirty="0">
                <a:solidFill>
                  <a:schemeClr val="tx1"/>
                </a:solidFill>
                <a:latin typeface="Tahoma" panose="020B0604030504040204" pitchFamily="34" charset="0"/>
              </a:rPr>
              <a:t>125</a:t>
            </a:r>
            <a:r>
              <a:rPr lang="zh-CN" altLang="en-US" sz="1000" dirty="0">
                <a:solidFill>
                  <a:schemeClr val="tx1"/>
                </a:solidFill>
                <a:latin typeface="Tahoma" panose="020B0604030504040204" pitchFamily="34" charset="0"/>
              </a:rPr>
              <a:t>水平由基线的（</a:t>
            </a:r>
            <a:r>
              <a:rPr lang="en-US" altLang="zh-CN" sz="1000" dirty="0">
                <a:solidFill>
                  <a:schemeClr val="tx1"/>
                </a:solidFill>
                <a:latin typeface="Tahoma" panose="020B0604030504040204" pitchFamily="34" charset="0"/>
              </a:rPr>
              <a:t>95±139</a:t>
            </a:r>
            <a:r>
              <a:rPr lang="zh-CN" altLang="en-US" sz="1000" dirty="0">
                <a:solidFill>
                  <a:schemeClr val="tx1"/>
                </a:solidFill>
                <a:latin typeface="Tahoma" panose="020B0604030504040204" pitchFamily="34" charset="0"/>
              </a:rPr>
              <a:t>） </a:t>
            </a:r>
            <a:r>
              <a:rPr lang="en-US" altLang="zh-CN" sz="1000" dirty="0" err="1">
                <a:solidFill>
                  <a:schemeClr val="tx1"/>
                </a:solidFill>
                <a:latin typeface="Tahoma" panose="020B0604030504040204" pitchFamily="34" charset="0"/>
              </a:rPr>
              <a:t>kU</a:t>
            </a:r>
            <a:r>
              <a:rPr lang="en-US" altLang="zh-CN" sz="1000" dirty="0">
                <a:solidFill>
                  <a:schemeClr val="tx1"/>
                </a:solidFill>
                <a:latin typeface="Tahoma" panose="020B0604030504040204" pitchFamily="34" charset="0"/>
              </a:rPr>
              <a:t>/L</a:t>
            </a:r>
            <a:r>
              <a:rPr lang="zh-CN" altLang="en-US" sz="1000" dirty="0">
                <a:solidFill>
                  <a:schemeClr val="tx1"/>
                </a:solidFill>
                <a:latin typeface="Tahoma" panose="020B0604030504040204" pitchFamily="34" charset="0"/>
              </a:rPr>
              <a:t>显著降低至（</a:t>
            </a:r>
            <a:r>
              <a:rPr lang="en-US" altLang="zh-CN" sz="1000" dirty="0">
                <a:solidFill>
                  <a:schemeClr val="tx1"/>
                </a:solidFill>
                <a:latin typeface="Tahoma" panose="020B0604030504040204" pitchFamily="34" charset="0"/>
              </a:rPr>
              <a:t>38±45</a:t>
            </a:r>
            <a:r>
              <a:rPr lang="zh-CN" altLang="en-US" sz="1000" dirty="0">
                <a:solidFill>
                  <a:schemeClr val="tx1"/>
                </a:solidFill>
                <a:latin typeface="Tahoma" panose="020B0604030504040204" pitchFamily="34" charset="0"/>
              </a:rPr>
              <a:t>） </a:t>
            </a:r>
            <a:r>
              <a:rPr lang="en-US" altLang="zh-CN" sz="1000" dirty="0" err="1">
                <a:solidFill>
                  <a:schemeClr val="tx1"/>
                </a:solidFill>
                <a:latin typeface="Tahoma" panose="020B0604030504040204" pitchFamily="34" charset="0"/>
              </a:rPr>
              <a:t>kU</a:t>
            </a:r>
            <a:r>
              <a:rPr lang="en-US" altLang="zh-CN" sz="1000" dirty="0">
                <a:solidFill>
                  <a:schemeClr val="tx1"/>
                </a:solidFill>
                <a:latin typeface="Tahoma" panose="020B0604030504040204" pitchFamily="34" charset="0"/>
              </a:rPr>
              <a:t>/L </a:t>
            </a:r>
            <a:r>
              <a:rPr lang="zh-CN" altLang="en-US" sz="1000" dirty="0">
                <a:solidFill>
                  <a:schemeClr val="tx1"/>
                </a:solidFill>
                <a:latin typeface="Tahoma" panose="020B0604030504040204" pitchFamily="34" charset="0"/>
              </a:rPr>
              <a:t>（</a:t>
            </a:r>
            <a:r>
              <a:rPr lang="en-US" altLang="zh-CN" sz="1000" i="1" dirty="0">
                <a:solidFill>
                  <a:schemeClr val="tx1"/>
                </a:solidFill>
                <a:latin typeface="Tahoma" panose="020B0604030504040204" pitchFamily="34" charset="0"/>
              </a:rPr>
              <a:t>P</a:t>
            </a:r>
            <a:r>
              <a:rPr lang="en-US" altLang="zh-CN" sz="1000" dirty="0">
                <a:solidFill>
                  <a:schemeClr val="tx1"/>
                </a:solidFill>
                <a:latin typeface="Tahoma" panose="020B0604030504040204" pitchFamily="34" charset="0"/>
              </a:rPr>
              <a:t>&lt;0.05</a:t>
            </a:r>
            <a:r>
              <a:rPr lang="zh-CN" altLang="en-US" sz="1000" dirty="0">
                <a:solidFill>
                  <a:schemeClr val="tx1"/>
                </a:solidFill>
                <a:latin typeface="Tahoma" panose="020B0604030504040204" pitchFamily="34" charset="0"/>
              </a:rPr>
              <a:t>）。随着用药时间延长，疼痛缓解的治疗效果继续维持，</a:t>
            </a:r>
            <a:r>
              <a:rPr lang="en-US" altLang="zh-CN" sz="1000" dirty="0">
                <a:solidFill>
                  <a:schemeClr val="tx1"/>
                </a:solidFill>
                <a:latin typeface="Tahoma" panose="020B0604030504040204" pitchFamily="34" charset="0"/>
              </a:rPr>
              <a:t>CA</a:t>
            </a:r>
            <a:r>
              <a:rPr lang="en-US" altLang="zh-CN" sz="1000" baseline="-25000" dirty="0">
                <a:solidFill>
                  <a:schemeClr val="tx1"/>
                </a:solidFill>
                <a:latin typeface="Tahoma" panose="020B0604030504040204" pitchFamily="34" charset="0"/>
              </a:rPr>
              <a:t>125</a:t>
            </a:r>
            <a:r>
              <a:rPr lang="zh-CN" altLang="en-US" sz="1000" dirty="0">
                <a:solidFill>
                  <a:schemeClr val="tx1"/>
                </a:solidFill>
                <a:latin typeface="Tahoma" panose="020B0604030504040204" pitchFamily="34" charset="0"/>
              </a:rPr>
              <a:t>继续维持在低水平。卵巢子宫内膜异位囊肿经用药</a:t>
            </a:r>
            <a:r>
              <a:rPr lang="en-US" altLang="zh-CN" sz="1000" dirty="0">
                <a:solidFill>
                  <a:schemeClr val="tx1"/>
                </a:solidFill>
                <a:latin typeface="Tahoma" panose="020B0604030504040204" pitchFamily="34" charset="0"/>
              </a:rPr>
              <a:t>12</a:t>
            </a:r>
            <a:r>
              <a:rPr lang="zh-CN" altLang="en-US" sz="1000" dirty="0">
                <a:solidFill>
                  <a:schemeClr val="tx1"/>
                </a:solidFill>
                <a:latin typeface="Tahoma" panose="020B0604030504040204" pitchFamily="34" charset="0"/>
              </a:rPr>
              <a:t>个月后囊肿最大径线由（</a:t>
            </a:r>
            <a:r>
              <a:rPr lang="en-US" altLang="zh-CN" sz="1000" dirty="0">
                <a:solidFill>
                  <a:schemeClr val="tx1"/>
                </a:solidFill>
                <a:latin typeface="Tahoma" panose="020B0604030504040204" pitchFamily="34" charset="0"/>
              </a:rPr>
              <a:t>3.1±1.0</a:t>
            </a:r>
            <a:r>
              <a:rPr lang="zh-CN" altLang="en-US" sz="1000" dirty="0">
                <a:solidFill>
                  <a:schemeClr val="tx1"/>
                </a:solidFill>
                <a:latin typeface="Tahoma" panose="020B0604030504040204" pitchFamily="34" charset="0"/>
              </a:rPr>
              <a:t>） </a:t>
            </a:r>
            <a:r>
              <a:rPr lang="en-US" altLang="zh-CN" sz="1000" dirty="0">
                <a:solidFill>
                  <a:schemeClr val="tx1"/>
                </a:solidFill>
                <a:latin typeface="Tahoma" panose="020B0604030504040204" pitchFamily="34" charset="0"/>
              </a:rPr>
              <a:t>cm</a:t>
            </a:r>
            <a:r>
              <a:rPr lang="zh-CN" altLang="en-US" sz="1000" dirty="0">
                <a:solidFill>
                  <a:schemeClr val="tx1"/>
                </a:solidFill>
                <a:latin typeface="Tahoma" panose="020B0604030504040204" pitchFamily="34" charset="0"/>
              </a:rPr>
              <a:t>显著缩小至（</a:t>
            </a:r>
            <a:r>
              <a:rPr lang="en-US" altLang="zh-CN" sz="1000" dirty="0">
                <a:solidFill>
                  <a:schemeClr val="tx1"/>
                </a:solidFill>
                <a:latin typeface="Tahoma" panose="020B0604030504040204" pitchFamily="34" charset="0"/>
              </a:rPr>
              <a:t>1.9±1.2</a:t>
            </a:r>
            <a:r>
              <a:rPr lang="zh-CN" altLang="en-US" sz="1000" dirty="0">
                <a:solidFill>
                  <a:schemeClr val="tx1"/>
                </a:solidFill>
                <a:latin typeface="Tahoma" panose="020B0604030504040204" pitchFamily="34" charset="0"/>
              </a:rPr>
              <a:t>） </a:t>
            </a:r>
            <a:r>
              <a:rPr lang="en-US" altLang="zh-CN" sz="1000" dirty="0">
                <a:solidFill>
                  <a:schemeClr val="tx1"/>
                </a:solidFill>
                <a:latin typeface="Tahoma" panose="020B0604030504040204" pitchFamily="34" charset="0"/>
              </a:rPr>
              <a:t>cm</a:t>
            </a:r>
            <a:r>
              <a:rPr lang="zh-CN" altLang="en-US" sz="1000" dirty="0">
                <a:solidFill>
                  <a:schemeClr val="tx1"/>
                </a:solidFill>
                <a:latin typeface="Tahoma" panose="020B0604030504040204" pitchFamily="34" charset="0"/>
              </a:rPr>
              <a:t>（</a:t>
            </a:r>
            <a:r>
              <a:rPr lang="en-US" altLang="zh-CN" sz="1000" i="1" dirty="0">
                <a:solidFill>
                  <a:schemeClr val="tx1"/>
                </a:solidFill>
                <a:latin typeface="Tahoma" panose="020B0604030504040204" pitchFamily="34" charset="0"/>
              </a:rPr>
              <a:t>P</a:t>
            </a:r>
            <a:r>
              <a:rPr lang="en-US" altLang="zh-CN" sz="1000" dirty="0">
                <a:solidFill>
                  <a:schemeClr val="tx1"/>
                </a:solidFill>
                <a:latin typeface="Tahoma" panose="020B0604030504040204" pitchFamily="34" charset="0"/>
              </a:rPr>
              <a:t>&lt;0.05</a:t>
            </a:r>
            <a:r>
              <a:rPr lang="zh-CN" altLang="en-US" sz="1000" dirty="0">
                <a:solidFill>
                  <a:schemeClr val="tx1"/>
                </a:solidFill>
                <a:latin typeface="Tahoma" panose="020B0604030504040204" pitchFamily="34" charset="0"/>
              </a:rPr>
              <a:t>）。用药期间雌二醇平均水平维持在</a:t>
            </a:r>
            <a:r>
              <a:rPr lang="en-US" altLang="zh-CN" sz="1000" dirty="0">
                <a:solidFill>
                  <a:schemeClr val="tx1"/>
                </a:solidFill>
                <a:latin typeface="Tahoma" panose="020B0604030504040204" pitchFamily="34" charset="0"/>
              </a:rPr>
              <a:t>124.82~221.04 </a:t>
            </a:r>
            <a:r>
              <a:rPr lang="en-US" altLang="zh-CN" sz="1000" dirty="0" err="1">
                <a:solidFill>
                  <a:schemeClr val="tx1"/>
                </a:solidFill>
                <a:latin typeface="Tahoma" panose="020B0604030504040204" pitchFamily="34" charset="0"/>
              </a:rPr>
              <a:t>pmol</a:t>
            </a:r>
            <a:r>
              <a:rPr lang="en-US" altLang="zh-CN" sz="1000" dirty="0">
                <a:solidFill>
                  <a:schemeClr val="tx1"/>
                </a:solidFill>
                <a:latin typeface="Tahoma" panose="020B0604030504040204" pitchFamily="34" charset="0"/>
              </a:rPr>
              <a:t>/L</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FSH</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LH</a:t>
            </a:r>
            <a:r>
              <a:rPr lang="zh-CN" altLang="en-US" sz="1000" dirty="0">
                <a:solidFill>
                  <a:schemeClr val="tx1"/>
                </a:solidFill>
                <a:latin typeface="Tahoma" panose="020B0604030504040204" pitchFamily="34" charset="0"/>
              </a:rPr>
              <a:t>水平无明显变化。主要副作用是不规则出血（</a:t>
            </a:r>
            <a:r>
              <a:rPr lang="en-US" altLang="zh-CN" sz="1000" dirty="0">
                <a:solidFill>
                  <a:schemeClr val="tx1"/>
                </a:solidFill>
                <a:latin typeface="Tahoma" panose="020B0604030504040204" pitchFamily="34" charset="0"/>
              </a:rPr>
              <a:t>75%</a:t>
            </a:r>
            <a:r>
              <a:rPr lang="zh-CN" altLang="en-US" sz="1000" dirty="0">
                <a:solidFill>
                  <a:schemeClr val="tx1"/>
                </a:solidFill>
                <a:latin typeface="Tahoma" panose="020B0604030504040204" pitchFamily="34" charset="0"/>
              </a:rPr>
              <a:t>，</a:t>
            </a:r>
            <a:r>
              <a:rPr lang="en-US" altLang="zh-CN" sz="1000" dirty="0">
                <a:solidFill>
                  <a:schemeClr val="tx1"/>
                </a:solidFill>
                <a:latin typeface="Tahoma" panose="020B0604030504040204" pitchFamily="34" charset="0"/>
              </a:rPr>
              <a:t>36/48</a:t>
            </a:r>
            <a:r>
              <a:rPr lang="zh-CN" altLang="en-US" sz="1000" dirty="0">
                <a:solidFill>
                  <a:schemeClr val="tx1"/>
                </a:solidFill>
                <a:latin typeface="Tahoma" panose="020B0604030504040204" pitchFamily="34" charset="0"/>
              </a:rPr>
              <a:t>）。</a:t>
            </a:r>
          </a:p>
          <a:p>
            <a:pPr algn="just"/>
            <a:r>
              <a:rPr lang="zh-CN" altLang="en-US" sz="1000" b="1" dirty="0">
                <a:solidFill>
                  <a:schemeClr val="tx1"/>
                </a:solidFill>
                <a:latin typeface="Tahoma" panose="020B0604030504040204" pitchFamily="34" charset="0"/>
              </a:rPr>
              <a:t>结论 </a:t>
            </a:r>
            <a:r>
              <a:rPr lang="en-US" altLang="zh-CN" sz="1000" dirty="0">
                <a:solidFill>
                  <a:schemeClr val="tx1"/>
                </a:solidFill>
                <a:latin typeface="Tahoma" panose="020B0604030504040204" pitchFamily="34" charset="0"/>
              </a:rPr>
              <a:t>DNG</a:t>
            </a:r>
            <a:r>
              <a:rPr lang="zh-CN" altLang="en-US" sz="1000" dirty="0">
                <a:solidFill>
                  <a:schemeClr val="tx1"/>
                </a:solidFill>
                <a:latin typeface="Tahoma" panose="020B0604030504040204" pitchFamily="34" charset="0"/>
              </a:rPr>
              <a:t>能有效缓解内异症疼痛，且耐受性好，可作为复杂的难治性内异症疼痛患者长期治疗的选择之一。</a:t>
            </a:r>
          </a:p>
          <a:p>
            <a:pPr algn="ctr"/>
            <a:endParaRPr lang="en-US" sz="1000" dirty="0">
              <a:solidFill>
                <a:schemeClr val="tx1"/>
              </a:solidFill>
              <a:latin typeface="Arial" panose="020B0604020202020204" pitchFamily="34" charset="0"/>
            </a:endParaRPr>
          </a:p>
        </p:txBody>
      </p:sp>
      <p:graphicFrame>
        <p:nvGraphicFramePr>
          <p:cNvPr id="3" name="Table 3">
            <a:extLst>
              <a:ext uri="{FF2B5EF4-FFF2-40B4-BE49-F238E27FC236}">
                <a16:creationId xmlns:a16="http://schemas.microsoft.com/office/drawing/2014/main" id="{4A8A56DE-B4E2-4A1C-A999-1D691AFEF089}"/>
              </a:ext>
            </a:extLst>
          </p:cNvPr>
          <p:cNvGraphicFramePr>
            <a:graphicFrameLocks noGrp="1"/>
          </p:cNvGraphicFramePr>
          <p:nvPr/>
        </p:nvGraphicFramePr>
        <p:xfrm>
          <a:off x="6353351" y="1939987"/>
          <a:ext cx="5426930" cy="3660561"/>
        </p:xfrm>
        <a:graphic>
          <a:graphicData uri="http://schemas.openxmlformats.org/drawingml/2006/table">
            <a:tbl>
              <a:tblPr bandRow="1">
                <a:tableStyleId>{7E9639D4-E3E2-4D34-9284-5A2195B3D0D7}</a:tableStyleId>
              </a:tblPr>
              <a:tblGrid>
                <a:gridCol w="5426930">
                  <a:extLst>
                    <a:ext uri="{9D8B030D-6E8A-4147-A177-3AD203B41FA5}">
                      <a16:colId xmlns:a16="http://schemas.microsoft.com/office/drawing/2014/main" val="2933494112"/>
                    </a:ext>
                  </a:extLst>
                </a:gridCol>
              </a:tblGrid>
              <a:tr h="243808">
                <a:tc>
                  <a:txBody>
                    <a:bodyPr/>
                    <a:lstStyle/>
                    <a:p>
                      <a:r>
                        <a:rPr lang="zh-CN" altLang="en-US" sz="1000" b="0" kern="1200">
                          <a:solidFill>
                            <a:schemeClr val="tx1"/>
                          </a:solidFill>
                          <a:effectLst/>
                        </a:rPr>
                        <a:t>目的 评价地诺孕素（</a:t>
                      </a:r>
                      <a:r>
                        <a:rPr lang="en-US" altLang="zh-CN" sz="1000" b="0" kern="1200">
                          <a:solidFill>
                            <a:schemeClr val="tx1"/>
                          </a:solidFill>
                          <a:effectLst/>
                        </a:rPr>
                        <a:t>DNG</a:t>
                      </a:r>
                      <a:r>
                        <a:rPr lang="zh-CN" altLang="en-US" sz="1000" b="0" kern="1200">
                          <a:solidFill>
                            <a:schemeClr val="tx1"/>
                          </a:solidFill>
                          <a:effectLst/>
                        </a:rPr>
                        <a:t>）对于难治性子宫内膜异位症（内异症）疼痛的临床疗效和安全性</a:t>
                      </a:r>
                      <a:r>
                        <a:rPr lang="en-US" altLang="zh-CN" sz="1000" b="0" kern="1200">
                          <a:solidFill>
                            <a:schemeClr val="tx1"/>
                          </a:solidFill>
                          <a:effectLst/>
                        </a:rPr>
                        <a:t> </a:t>
                      </a:r>
                      <a:endParaRPr lang="en-US" sz="1000" b="0" i="0" kern="120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3354594477"/>
                  </a:ext>
                </a:extLst>
              </a:tr>
              <a:tr h="700949">
                <a:tc>
                  <a:txBody>
                    <a:bodyPr/>
                    <a:lstStyle/>
                    <a:p>
                      <a:r>
                        <a:rPr lang="zh-CN" altLang="en-US" sz="1000" b="0" kern="1200">
                          <a:solidFill>
                            <a:schemeClr val="tx1"/>
                          </a:solidFill>
                          <a:effectLst/>
                        </a:rPr>
                        <a:t>方法 本研究将难治性内异症疼痛定义为：（</a:t>
                      </a:r>
                      <a:r>
                        <a:rPr lang="en-US" altLang="zh-CN" sz="1000" b="0" kern="1200">
                          <a:solidFill>
                            <a:schemeClr val="tx1"/>
                          </a:solidFill>
                          <a:effectLst/>
                        </a:rPr>
                        <a:t>1</a:t>
                      </a:r>
                      <a:r>
                        <a:rPr lang="zh-CN" altLang="en-US" sz="1000" b="0" kern="1200">
                          <a:solidFill>
                            <a:schemeClr val="tx1"/>
                          </a:solidFill>
                          <a:effectLst/>
                        </a:rPr>
                        <a:t>）内异症相关疼痛时间≥</a:t>
                      </a:r>
                      <a:r>
                        <a:rPr lang="en-US" altLang="zh-CN" sz="1000" b="0" kern="1200">
                          <a:solidFill>
                            <a:schemeClr val="tx1"/>
                          </a:solidFill>
                          <a:effectLst/>
                        </a:rPr>
                        <a:t>12</a:t>
                      </a:r>
                      <a:r>
                        <a:rPr lang="zh-CN" altLang="en-US" sz="1000" b="0" kern="1200">
                          <a:solidFill>
                            <a:schemeClr val="tx1"/>
                          </a:solidFill>
                          <a:effectLst/>
                        </a:rPr>
                        <a:t>个月，疼痛视觉模拟评分（</a:t>
                      </a:r>
                      <a:r>
                        <a:rPr lang="en-US" altLang="zh-CN" sz="1000" b="0" kern="1200">
                          <a:solidFill>
                            <a:schemeClr val="tx1"/>
                          </a:solidFill>
                          <a:effectLst/>
                        </a:rPr>
                        <a:t>VAS</a:t>
                      </a:r>
                      <a:r>
                        <a:rPr lang="zh-CN" altLang="en-US" sz="1000" b="0" kern="1200">
                          <a:solidFill>
                            <a:schemeClr val="tx1"/>
                          </a:solidFill>
                          <a:effectLst/>
                        </a:rPr>
                        <a:t>）≥</a:t>
                      </a:r>
                      <a:r>
                        <a:rPr lang="en-US" altLang="zh-CN" sz="1000" b="0" kern="1200">
                          <a:solidFill>
                            <a:schemeClr val="tx1"/>
                          </a:solidFill>
                          <a:effectLst/>
                        </a:rPr>
                        <a:t>60 mm</a:t>
                      </a:r>
                      <a:r>
                        <a:rPr lang="zh-CN" altLang="en-US" sz="1000" b="0" kern="1200">
                          <a:solidFill>
                            <a:schemeClr val="tx1"/>
                          </a:solidFill>
                          <a:effectLst/>
                        </a:rPr>
                        <a:t>；（</a:t>
                      </a:r>
                      <a:r>
                        <a:rPr lang="en-US" altLang="zh-CN" sz="1000" b="0" kern="1200">
                          <a:solidFill>
                            <a:schemeClr val="tx1"/>
                          </a:solidFill>
                          <a:effectLst/>
                        </a:rPr>
                        <a:t>2</a:t>
                      </a:r>
                      <a:r>
                        <a:rPr lang="zh-CN" altLang="en-US" sz="1000" b="0" kern="1200">
                          <a:solidFill>
                            <a:schemeClr val="tx1"/>
                          </a:solidFill>
                          <a:effectLst/>
                        </a:rPr>
                        <a:t>）既往经口服避孕药、左炔诺孕酮宫内缓释系统等</a:t>
                      </a:r>
                      <a:r>
                        <a:rPr lang="en-US" altLang="zh-CN" sz="1000" b="0" kern="1200">
                          <a:solidFill>
                            <a:schemeClr val="tx1"/>
                          </a:solidFill>
                          <a:effectLst/>
                        </a:rPr>
                        <a:t>2</a:t>
                      </a:r>
                      <a:r>
                        <a:rPr lang="zh-CN" altLang="en-US" sz="1000" b="0" kern="1200">
                          <a:solidFill>
                            <a:schemeClr val="tx1"/>
                          </a:solidFill>
                          <a:effectLst/>
                        </a:rPr>
                        <a:t>种以上药物治疗效果不满意，</a:t>
                      </a:r>
                      <a:r>
                        <a:rPr lang="en-US" altLang="zh-CN" sz="1000" b="0" kern="1200">
                          <a:solidFill>
                            <a:schemeClr val="tx1"/>
                          </a:solidFill>
                          <a:effectLst/>
                        </a:rPr>
                        <a:t>VAS</a:t>
                      </a:r>
                      <a:r>
                        <a:rPr lang="zh-CN" altLang="en-US" sz="1000" b="0" kern="1200">
                          <a:solidFill>
                            <a:schemeClr val="tx1"/>
                          </a:solidFill>
                          <a:effectLst/>
                        </a:rPr>
                        <a:t>评分降幅</a:t>
                      </a:r>
                      <a:r>
                        <a:rPr lang="en-US" altLang="zh-CN" sz="1000" b="0" kern="1200">
                          <a:solidFill>
                            <a:schemeClr val="tx1"/>
                          </a:solidFill>
                          <a:effectLst/>
                        </a:rPr>
                        <a:t>&lt;50%</a:t>
                      </a:r>
                      <a:r>
                        <a:rPr lang="zh-CN" altLang="en-US" sz="1000" b="0" kern="1200">
                          <a:solidFill>
                            <a:schemeClr val="tx1"/>
                          </a:solidFill>
                          <a:effectLst/>
                        </a:rPr>
                        <a:t>；或应用促性腺激素释放激素激动剂、米非司酮等可控制疼痛，但停药后疼痛再次发生；（</a:t>
                      </a:r>
                      <a:r>
                        <a:rPr lang="en-US" altLang="zh-CN" sz="1000" b="0" kern="1200">
                          <a:solidFill>
                            <a:schemeClr val="tx1"/>
                          </a:solidFill>
                          <a:effectLst/>
                        </a:rPr>
                        <a:t>3</a:t>
                      </a:r>
                      <a:r>
                        <a:rPr lang="zh-CN" altLang="en-US" sz="1000" b="0" kern="1200">
                          <a:solidFill>
                            <a:schemeClr val="tx1"/>
                          </a:solidFill>
                          <a:effectLst/>
                        </a:rPr>
                        <a:t>）疼痛经手术或反复手术后，仍不能控制</a:t>
                      </a:r>
                      <a:endParaRPr lang="en-US" sz="1000" b="0" i="0" kern="120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778641761"/>
                  </a:ext>
                </a:extLst>
              </a:tr>
              <a:tr h="548569">
                <a:tc>
                  <a:txBody>
                    <a:bodyPr/>
                    <a:lstStyle/>
                    <a:p>
                      <a:r>
                        <a:rPr lang="zh-CN" altLang="en-US" sz="1000" b="0" kern="1200">
                          <a:solidFill>
                            <a:schemeClr val="tx1"/>
                          </a:solidFill>
                          <a:effectLst/>
                        </a:rPr>
                        <a:t>本研究对</a:t>
                      </a:r>
                      <a:r>
                        <a:rPr lang="en-US" altLang="zh-CN" sz="1000" b="0" kern="1200">
                          <a:solidFill>
                            <a:schemeClr val="tx1"/>
                          </a:solidFill>
                          <a:effectLst/>
                        </a:rPr>
                        <a:t>2016</a:t>
                      </a:r>
                      <a:r>
                        <a:rPr lang="zh-CN" altLang="en-US" sz="1000" b="0" kern="1200">
                          <a:solidFill>
                            <a:schemeClr val="tx1"/>
                          </a:solidFill>
                          <a:effectLst/>
                        </a:rPr>
                        <a:t>年</a:t>
                      </a:r>
                      <a:r>
                        <a:rPr lang="en-US" altLang="zh-CN" sz="1000" b="0" kern="1200">
                          <a:solidFill>
                            <a:schemeClr val="tx1"/>
                          </a:solidFill>
                          <a:effectLst/>
                        </a:rPr>
                        <a:t>11</a:t>
                      </a:r>
                      <a:r>
                        <a:rPr lang="zh-CN" altLang="en-US" sz="1000" b="0" kern="1200">
                          <a:solidFill>
                            <a:schemeClr val="tx1"/>
                          </a:solidFill>
                          <a:effectLst/>
                        </a:rPr>
                        <a:t>月至</a:t>
                      </a:r>
                      <a:r>
                        <a:rPr lang="en-US" altLang="zh-CN" sz="1000" b="0" kern="1200">
                          <a:solidFill>
                            <a:schemeClr val="tx1"/>
                          </a:solidFill>
                          <a:effectLst/>
                        </a:rPr>
                        <a:t>2020</a:t>
                      </a:r>
                      <a:r>
                        <a:rPr lang="zh-CN" altLang="en-US" sz="1000" b="0" kern="1200">
                          <a:solidFill>
                            <a:schemeClr val="tx1"/>
                          </a:solidFill>
                          <a:effectLst/>
                        </a:rPr>
                        <a:t>年</a:t>
                      </a:r>
                      <a:r>
                        <a:rPr lang="en-US" altLang="zh-CN" sz="1000" b="0" kern="1200">
                          <a:solidFill>
                            <a:schemeClr val="tx1"/>
                          </a:solidFill>
                          <a:effectLst/>
                        </a:rPr>
                        <a:t>2</a:t>
                      </a:r>
                      <a:r>
                        <a:rPr lang="zh-CN" altLang="en-US" sz="1000" b="0" kern="1200">
                          <a:solidFill>
                            <a:schemeClr val="tx1"/>
                          </a:solidFill>
                          <a:effectLst/>
                        </a:rPr>
                        <a:t>月</a:t>
                      </a:r>
                      <a:r>
                        <a:rPr lang="en-US" altLang="zh-CN" sz="1000" b="0" kern="1200">
                          <a:solidFill>
                            <a:schemeClr val="tx1"/>
                          </a:solidFill>
                          <a:effectLst/>
                        </a:rPr>
                        <a:t>48</a:t>
                      </a:r>
                      <a:r>
                        <a:rPr lang="zh-CN" altLang="en-US" sz="1000" b="0" kern="1200">
                          <a:solidFill>
                            <a:schemeClr val="tx1"/>
                          </a:solidFill>
                          <a:effectLst/>
                        </a:rPr>
                        <a:t>例符合标准的难治性内异症疼痛患者口服</a:t>
                      </a:r>
                      <a:r>
                        <a:rPr lang="en-US" altLang="zh-CN" sz="1000" b="0" kern="1200">
                          <a:solidFill>
                            <a:schemeClr val="tx1"/>
                          </a:solidFill>
                          <a:effectLst/>
                        </a:rPr>
                        <a:t>DNG</a:t>
                      </a:r>
                      <a:r>
                        <a:rPr lang="zh-CN" altLang="en-US" sz="1000" b="0" kern="1200">
                          <a:solidFill>
                            <a:schemeClr val="tx1"/>
                          </a:solidFill>
                          <a:effectLst/>
                        </a:rPr>
                        <a:t>（</a:t>
                      </a:r>
                      <a:r>
                        <a:rPr lang="en-US" altLang="zh-CN" sz="1000" b="0" kern="1200">
                          <a:solidFill>
                            <a:schemeClr val="tx1"/>
                          </a:solidFill>
                          <a:effectLst/>
                        </a:rPr>
                        <a:t>2 mg/d</a:t>
                      </a:r>
                      <a:r>
                        <a:rPr lang="zh-CN" altLang="en-US" sz="1000" b="0" kern="1200">
                          <a:solidFill>
                            <a:schemeClr val="tx1"/>
                          </a:solidFill>
                          <a:effectLst/>
                        </a:rPr>
                        <a:t>）的治疗情况进行回顾性分析，比较用药前后</a:t>
                      </a:r>
                      <a:r>
                        <a:rPr lang="en-US" altLang="zh-CN" sz="1000" b="0" kern="1200">
                          <a:solidFill>
                            <a:schemeClr val="tx1"/>
                          </a:solidFill>
                          <a:effectLst/>
                        </a:rPr>
                        <a:t>VAS</a:t>
                      </a:r>
                      <a:r>
                        <a:rPr lang="zh-CN" altLang="en-US" sz="1000" b="0" kern="1200">
                          <a:solidFill>
                            <a:schemeClr val="tx1"/>
                          </a:solidFill>
                          <a:effectLst/>
                        </a:rPr>
                        <a:t>评分、</a:t>
                      </a:r>
                      <a:r>
                        <a:rPr lang="en-US" altLang="zh-CN" sz="1000" b="0" kern="1200">
                          <a:solidFill>
                            <a:schemeClr val="tx1"/>
                          </a:solidFill>
                          <a:effectLst/>
                        </a:rPr>
                        <a:t>CA125</a:t>
                      </a:r>
                      <a:r>
                        <a:rPr lang="zh-CN" altLang="en-US" sz="1000" b="0" kern="1200">
                          <a:solidFill>
                            <a:schemeClr val="tx1"/>
                          </a:solidFill>
                          <a:effectLst/>
                        </a:rPr>
                        <a:t>水平、雌二醇、</a:t>
                      </a:r>
                      <a:r>
                        <a:rPr lang="en-US" altLang="zh-CN" sz="1000" b="0" kern="1200">
                          <a:solidFill>
                            <a:schemeClr val="tx1"/>
                          </a:solidFill>
                          <a:effectLst/>
                        </a:rPr>
                        <a:t>FSH</a:t>
                      </a:r>
                      <a:r>
                        <a:rPr lang="zh-CN" altLang="en-US" sz="1000" b="0" kern="1200">
                          <a:solidFill>
                            <a:schemeClr val="tx1"/>
                          </a:solidFill>
                          <a:effectLst/>
                        </a:rPr>
                        <a:t>、</a:t>
                      </a:r>
                      <a:r>
                        <a:rPr lang="en-US" altLang="zh-CN" sz="1000" b="0" kern="1200">
                          <a:solidFill>
                            <a:schemeClr val="tx1"/>
                          </a:solidFill>
                          <a:effectLst/>
                        </a:rPr>
                        <a:t>LH</a:t>
                      </a:r>
                      <a:r>
                        <a:rPr lang="zh-CN" altLang="en-US" sz="1000" b="0" kern="1200">
                          <a:solidFill>
                            <a:schemeClr val="tx1"/>
                          </a:solidFill>
                          <a:effectLst/>
                        </a:rPr>
                        <a:t>、内异症病灶大小的变化，并记录副作用</a:t>
                      </a:r>
                      <a:r>
                        <a:rPr lang="en-US" altLang="zh-CN" sz="1000" b="0" kern="1200">
                          <a:solidFill>
                            <a:schemeClr val="tx1"/>
                          </a:solidFill>
                          <a:effectLst/>
                        </a:rPr>
                        <a:t>'</a:t>
                      </a:r>
                      <a:endParaRPr lang="en-US" sz="1000" b="0" i="0" kern="120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2833656462"/>
                  </a:ext>
                </a:extLst>
              </a:tr>
              <a:tr h="243808">
                <a:tc>
                  <a:txBody>
                    <a:bodyPr/>
                    <a:lstStyle/>
                    <a:p>
                      <a:r>
                        <a:rPr lang="zh-CN" altLang="en-US" sz="1000" b="0" kern="1200" dirty="0">
                          <a:solidFill>
                            <a:schemeClr val="tx1"/>
                          </a:solidFill>
                          <a:effectLst/>
                        </a:rPr>
                        <a:t>结果 </a:t>
                      </a:r>
                      <a:r>
                        <a:rPr lang="en-US" altLang="zh-CN" sz="1000" b="0" kern="1200" dirty="0">
                          <a:solidFill>
                            <a:schemeClr val="tx1"/>
                          </a:solidFill>
                          <a:effectLst/>
                        </a:rPr>
                        <a:t>DNG</a:t>
                      </a:r>
                      <a:r>
                        <a:rPr lang="zh-CN" altLang="en-US" sz="1000" b="0" kern="1200" dirty="0">
                          <a:solidFill>
                            <a:schemeClr val="tx1"/>
                          </a:solidFill>
                          <a:effectLst/>
                        </a:rPr>
                        <a:t>用药时间为（</a:t>
                      </a:r>
                      <a:r>
                        <a:rPr lang="en-US" altLang="zh-CN" sz="1000" b="0" kern="1200" dirty="0">
                          <a:solidFill>
                            <a:schemeClr val="tx1"/>
                          </a:solidFill>
                          <a:effectLst/>
                        </a:rPr>
                        <a:t>20.1±12.8</a:t>
                      </a:r>
                      <a:r>
                        <a:rPr lang="zh-CN" altLang="en-US" sz="1000" b="0" kern="1200" dirty="0">
                          <a:solidFill>
                            <a:schemeClr val="tx1"/>
                          </a:solidFill>
                          <a:effectLst/>
                        </a:rPr>
                        <a:t>）个月</a:t>
                      </a:r>
                      <a:r>
                        <a:rPr lang="en-US" altLang="zh-CN" sz="1000" b="0" kern="1200" dirty="0">
                          <a:solidFill>
                            <a:schemeClr val="tx1"/>
                          </a:solidFill>
                          <a:effectLst/>
                        </a:rPr>
                        <a:t>’,</a:t>
                      </a:r>
                      <a:endParaRPr lang="en-US" sz="1000" b="0" i="0" kern="1200" dirty="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607471515"/>
                  </a:ext>
                </a:extLst>
              </a:tr>
              <a:tr h="396188">
                <a:tc>
                  <a:txBody>
                    <a:bodyPr/>
                    <a:lstStyle/>
                    <a:p>
                      <a:r>
                        <a:rPr lang="zh-CN" altLang="en-US" sz="1000" b="0" kern="1200">
                          <a:solidFill>
                            <a:schemeClr val="tx1"/>
                          </a:solidFill>
                          <a:effectLst/>
                        </a:rPr>
                        <a:t>用药</a:t>
                      </a:r>
                      <a:r>
                        <a:rPr lang="en-US" altLang="zh-CN" sz="1000" b="0" kern="1200">
                          <a:solidFill>
                            <a:schemeClr val="tx1"/>
                          </a:solidFill>
                          <a:effectLst/>
                        </a:rPr>
                        <a:t>3</a:t>
                      </a:r>
                      <a:r>
                        <a:rPr lang="zh-CN" altLang="en-US" sz="1000" b="0" kern="1200">
                          <a:solidFill>
                            <a:schemeClr val="tx1"/>
                          </a:solidFill>
                          <a:effectLst/>
                        </a:rPr>
                        <a:t>个月时</a:t>
                      </a:r>
                      <a:r>
                        <a:rPr lang="en-US" altLang="zh-CN" sz="1000" b="0" kern="1200">
                          <a:solidFill>
                            <a:schemeClr val="tx1"/>
                          </a:solidFill>
                          <a:effectLst/>
                        </a:rPr>
                        <a:t>VAS</a:t>
                      </a:r>
                      <a:r>
                        <a:rPr lang="zh-CN" altLang="en-US" sz="1000" b="0" kern="1200">
                          <a:solidFill>
                            <a:schemeClr val="tx1"/>
                          </a:solidFill>
                          <a:effectLst/>
                        </a:rPr>
                        <a:t>评分由基线的（</a:t>
                      </a:r>
                      <a:r>
                        <a:rPr lang="en-US" altLang="zh-CN" sz="1000" b="0" kern="1200">
                          <a:solidFill>
                            <a:schemeClr val="tx1"/>
                          </a:solidFill>
                          <a:effectLst/>
                        </a:rPr>
                        <a:t>77.9±15.8</a:t>
                      </a:r>
                      <a:r>
                        <a:rPr lang="zh-CN" altLang="en-US" sz="1000" b="0" kern="1200">
                          <a:solidFill>
                            <a:schemeClr val="tx1"/>
                          </a:solidFill>
                          <a:effectLst/>
                        </a:rPr>
                        <a:t>） </a:t>
                      </a:r>
                      <a:r>
                        <a:rPr lang="en-US" altLang="zh-CN" sz="1000" b="0" kern="1200">
                          <a:solidFill>
                            <a:schemeClr val="tx1"/>
                          </a:solidFill>
                          <a:effectLst/>
                        </a:rPr>
                        <a:t>mm</a:t>
                      </a:r>
                      <a:r>
                        <a:rPr lang="zh-CN" altLang="en-US" sz="1000" b="0" kern="1200">
                          <a:solidFill>
                            <a:schemeClr val="tx1"/>
                          </a:solidFill>
                          <a:effectLst/>
                        </a:rPr>
                        <a:t>显著降低至（</a:t>
                      </a:r>
                      <a:r>
                        <a:rPr lang="en-US" altLang="zh-CN" sz="1000" b="0" kern="1200">
                          <a:solidFill>
                            <a:schemeClr val="tx1"/>
                          </a:solidFill>
                          <a:effectLst/>
                        </a:rPr>
                        <a:t>20.8±10.7</a:t>
                      </a:r>
                      <a:r>
                        <a:rPr lang="zh-CN" altLang="en-US" sz="1000" b="0" kern="1200">
                          <a:solidFill>
                            <a:schemeClr val="tx1"/>
                          </a:solidFill>
                          <a:effectLst/>
                        </a:rPr>
                        <a:t>） </a:t>
                      </a:r>
                      <a:r>
                        <a:rPr lang="en-US" altLang="zh-CN" sz="1000" b="0" kern="1200">
                          <a:solidFill>
                            <a:schemeClr val="tx1"/>
                          </a:solidFill>
                          <a:effectLst/>
                        </a:rPr>
                        <a:t>mm</a:t>
                      </a:r>
                      <a:r>
                        <a:rPr lang="zh-CN" altLang="en-US" sz="1000" b="0" kern="1200">
                          <a:solidFill>
                            <a:schemeClr val="tx1"/>
                          </a:solidFill>
                          <a:effectLst/>
                        </a:rPr>
                        <a:t>（</a:t>
                      </a:r>
                      <a:r>
                        <a:rPr lang="en-US" altLang="zh-CN" sz="1000" b="0" kern="1200">
                          <a:solidFill>
                            <a:schemeClr val="tx1"/>
                          </a:solidFill>
                          <a:effectLst/>
                        </a:rPr>
                        <a:t>P&lt;0.01</a:t>
                      </a:r>
                      <a:r>
                        <a:rPr lang="zh-CN" altLang="en-US" sz="1000" b="0" kern="1200">
                          <a:solidFill>
                            <a:schemeClr val="tx1"/>
                          </a:solidFill>
                          <a:effectLst/>
                        </a:rPr>
                        <a:t>），</a:t>
                      </a:r>
                      <a:r>
                        <a:rPr lang="en-US" altLang="zh-CN" sz="1000" b="0" kern="1200">
                          <a:solidFill>
                            <a:schemeClr val="tx1"/>
                          </a:solidFill>
                          <a:effectLst/>
                        </a:rPr>
                        <a:t>CA125</a:t>
                      </a:r>
                      <a:r>
                        <a:rPr lang="zh-CN" altLang="en-US" sz="1000" b="0" kern="1200">
                          <a:solidFill>
                            <a:schemeClr val="tx1"/>
                          </a:solidFill>
                          <a:effectLst/>
                        </a:rPr>
                        <a:t>水平由基线的（</a:t>
                      </a:r>
                      <a:r>
                        <a:rPr lang="en-US" altLang="zh-CN" sz="1000" b="0" kern="1200">
                          <a:solidFill>
                            <a:schemeClr val="tx1"/>
                          </a:solidFill>
                          <a:effectLst/>
                        </a:rPr>
                        <a:t>95±139</a:t>
                      </a:r>
                      <a:r>
                        <a:rPr lang="zh-CN" altLang="en-US" sz="1000" b="0" kern="1200">
                          <a:solidFill>
                            <a:schemeClr val="tx1"/>
                          </a:solidFill>
                          <a:effectLst/>
                        </a:rPr>
                        <a:t>） </a:t>
                      </a:r>
                      <a:r>
                        <a:rPr lang="en-US" altLang="zh-CN" sz="1000" b="0" kern="1200" err="1">
                          <a:solidFill>
                            <a:schemeClr val="tx1"/>
                          </a:solidFill>
                          <a:effectLst/>
                        </a:rPr>
                        <a:t>kU</a:t>
                      </a:r>
                      <a:r>
                        <a:rPr lang="en-US" altLang="zh-CN" sz="1000" b="0" kern="1200">
                          <a:solidFill>
                            <a:schemeClr val="tx1"/>
                          </a:solidFill>
                          <a:effectLst/>
                        </a:rPr>
                        <a:t>/L</a:t>
                      </a:r>
                      <a:r>
                        <a:rPr lang="zh-CN" altLang="en-US" sz="1000" b="0" kern="1200">
                          <a:solidFill>
                            <a:schemeClr val="tx1"/>
                          </a:solidFill>
                          <a:effectLst/>
                        </a:rPr>
                        <a:t>显著降低至（</a:t>
                      </a:r>
                      <a:r>
                        <a:rPr lang="en-US" altLang="zh-CN" sz="1000" b="0" kern="1200">
                          <a:solidFill>
                            <a:schemeClr val="tx1"/>
                          </a:solidFill>
                          <a:effectLst/>
                        </a:rPr>
                        <a:t>38±45</a:t>
                      </a:r>
                      <a:r>
                        <a:rPr lang="zh-CN" altLang="en-US" sz="1000" b="0" kern="1200">
                          <a:solidFill>
                            <a:schemeClr val="tx1"/>
                          </a:solidFill>
                          <a:effectLst/>
                        </a:rPr>
                        <a:t>） </a:t>
                      </a:r>
                      <a:r>
                        <a:rPr lang="en-US" altLang="zh-CN" sz="1000" b="0" kern="1200" err="1">
                          <a:solidFill>
                            <a:schemeClr val="tx1"/>
                          </a:solidFill>
                          <a:effectLst/>
                        </a:rPr>
                        <a:t>kU</a:t>
                      </a:r>
                      <a:r>
                        <a:rPr lang="en-US" altLang="zh-CN" sz="1000" b="0" kern="1200">
                          <a:solidFill>
                            <a:schemeClr val="tx1"/>
                          </a:solidFill>
                          <a:effectLst/>
                        </a:rPr>
                        <a:t>/L </a:t>
                      </a:r>
                      <a:r>
                        <a:rPr lang="zh-CN" altLang="en-US" sz="1000" b="0" kern="1200">
                          <a:solidFill>
                            <a:schemeClr val="tx1"/>
                          </a:solidFill>
                          <a:effectLst/>
                        </a:rPr>
                        <a:t>（</a:t>
                      </a:r>
                      <a:r>
                        <a:rPr lang="en-US" altLang="zh-CN" sz="1000" b="0" kern="1200">
                          <a:solidFill>
                            <a:schemeClr val="tx1"/>
                          </a:solidFill>
                          <a:effectLst/>
                        </a:rPr>
                        <a:t>P&lt;0.05</a:t>
                      </a:r>
                      <a:r>
                        <a:rPr lang="zh-CN" altLang="en-US" sz="1000" b="0" kern="1200">
                          <a:solidFill>
                            <a:schemeClr val="tx1"/>
                          </a:solidFill>
                          <a:effectLst/>
                        </a:rPr>
                        <a:t>）</a:t>
                      </a:r>
                      <a:endParaRPr lang="en-US" sz="1000" b="0" i="0" kern="120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805795645"/>
                  </a:ext>
                </a:extLst>
              </a:tr>
              <a:tr h="246909">
                <a:tc>
                  <a:txBody>
                    <a:bodyPr/>
                    <a:lstStyle/>
                    <a:p>
                      <a:r>
                        <a:rPr lang="zh-CN" altLang="en-US" sz="1000" b="0" kern="1200">
                          <a:solidFill>
                            <a:schemeClr val="tx1"/>
                          </a:solidFill>
                          <a:effectLst/>
                        </a:rPr>
                        <a:t>随着用药时间延长，疼痛缓解的治疗效果继续维持，</a:t>
                      </a:r>
                      <a:r>
                        <a:rPr lang="en-US" altLang="zh-CN" sz="1000" b="0" kern="1200">
                          <a:solidFill>
                            <a:schemeClr val="tx1"/>
                          </a:solidFill>
                          <a:effectLst/>
                        </a:rPr>
                        <a:t>CA125</a:t>
                      </a:r>
                      <a:r>
                        <a:rPr lang="zh-CN" altLang="en-US" sz="1000" b="0" kern="1200">
                          <a:solidFill>
                            <a:schemeClr val="tx1"/>
                          </a:solidFill>
                          <a:effectLst/>
                        </a:rPr>
                        <a:t>继续维持在低水平</a:t>
                      </a:r>
                      <a:endParaRPr lang="en-US" sz="1000" b="0" i="0" kern="120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474254600"/>
                  </a:ext>
                </a:extLst>
              </a:tr>
              <a:tr h="396188">
                <a:tc>
                  <a:txBody>
                    <a:bodyPr/>
                    <a:lstStyle/>
                    <a:p>
                      <a:r>
                        <a:rPr lang="zh-CN" altLang="en-US" sz="1000" b="0" kern="1200">
                          <a:solidFill>
                            <a:schemeClr val="tx1"/>
                          </a:solidFill>
                          <a:effectLst/>
                        </a:rPr>
                        <a:t>卵巢子宫内膜异位囊肿经 用药</a:t>
                      </a:r>
                      <a:r>
                        <a:rPr lang="en-US" altLang="zh-CN" sz="1000" b="0" kern="1200">
                          <a:solidFill>
                            <a:schemeClr val="tx1"/>
                          </a:solidFill>
                          <a:effectLst/>
                        </a:rPr>
                        <a:t>12</a:t>
                      </a:r>
                      <a:r>
                        <a:rPr lang="zh-CN" altLang="en-US" sz="1000" b="0" kern="1200">
                          <a:solidFill>
                            <a:schemeClr val="tx1"/>
                          </a:solidFill>
                          <a:effectLst/>
                        </a:rPr>
                        <a:t>个月后囊肿最大径线由（</a:t>
                      </a:r>
                      <a:r>
                        <a:rPr lang="en-US" altLang="zh-CN" sz="1000" b="0" kern="1200">
                          <a:solidFill>
                            <a:schemeClr val="tx1"/>
                          </a:solidFill>
                          <a:effectLst/>
                        </a:rPr>
                        <a:t>3.1±1.0</a:t>
                      </a:r>
                      <a:r>
                        <a:rPr lang="zh-CN" altLang="en-US" sz="1000" b="0" kern="1200">
                          <a:solidFill>
                            <a:schemeClr val="tx1"/>
                          </a:solidFill>
                          <a:effectLst/>
                        </a:rPr>
                        <a:t>） </a:t>
                      </a:r>
                      <a:r>
                        <a:rPr lang="en-US" altLang="zh-CN" sz="1000" b="0" kern="1200">
                          <a:solidFill>
                            <a:schemeClr val="tx1"/>
                          </a:solidFill>
                          <a:effectLst/>
                        </a:rPr>
                        <a:t>cm</a:t>
                      </a:r>
                      <a:r>
                        <a:rPr lang="zh-CN" altLang="en-US" sz="1000" b="0" kern="1200">
                          <a:solidFill>
                            <a:schemeClr val="tx1"/>
                          </a:solidFill>
                          <a:effectLst/>
                        </a:rPr>
                        <a:t>显著缩小至（</a:t>
                      </a:r>
                      <a:r>
                        <a:rPr lang="en-US" altLang="zh-CN" sz="1000" b="0" kern="1200">
                          <a:solidFill>
                            <a:schemeClr val="tx1"/>
                          </a:solidFill>
                          <a:effectLst/>
                        </a:rPr>
                        <a:t>1.9±1.2</a:t>
                      </a:r>
                      <a:r>
                        <a:rPr lang="zh-CN" altLang="en-US" sz="1000" b="0" kern="1200">
                          <a:solidFill>
                            <a:schemeClr val="tx1"/>
                          </a:solidFill>
                          <a:effectLst/>
                        </a:rPr>
                        <a:t>） </a:t>
                      </a:r>
                      <a:r>
                        <a:rPr lang="en-US" altLang="zh-CN" sz="1000" b="0" kern="1200">
                          <a:solidFill>
                            <a:schemeClr val="tx1"/>
                          </a:solidFill>
                          <a:effectLst/>
                        </a:rPr>
                        <a:t>cm</a:t>
                      </a:r>
                      <a:r>
                        <a:rPr lang="zh-CN" altLang="en-US" sz="1000" b="0" kern="1200">
                          <a:solidFill>
                            <a:schemeClr val="tx1"/>
                          </a:solidFill>
                          <a:effectLst/>
                        </a:rPr>
                        <a:t>（</a:t>
                      </a:r>
                      <a:r>
                        <a:rPr lang="en-US" altLang="zh-CN" sz="1000" b="0" kern="1200">
                          <a:solidFill>
                            <a:schemeClr val="tx1"/>
                          </a:solidFill>
                          <a:effectLst/>
                        </a:rPr>
                        <a:t>P&lt;0.05</a:t>
                      </a:r>
                      <a:r>
                        <a:rPr lang="zh-CN" altLang="en-US" sz="1000" b="0" kern="1200">
                          <a:solidFill>
                            <a:schemeClr val="tx1"/>
                          </a:solidFill>
                          <a:effectLst/>
                        </a:rPr>
                        <a:t>）</a:t>
                      </a:r>
                      <a:endParaRPr lang="en-US" sz="1000" b="0" i="0" kern="120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872669597"/>
                  </a:ext>
                </a:extLst>
              </a:tr>
              <a:tr h="243808">
                <a:tc>
                  <a:txBody>
                    <a:bodyPr/>
                    <a:lstStyle/>
                    <a:p>
                      <a:r>
                        <a:rPr lang="zh-CN" altLang="en-US" sz="1000" b="0" kern="1200">
                          <a:solidFill>
                            <a:schemeClr val="tx1"/>
                          </a:solidFill>
                          <a:effectLst/>
                        </a:rPr>
                        <a:t>用药期间雌二醇平均水平维持在</a:t>
                      </a:r>
                      <a:r>
                        <a:rPr lang="en-US" altLang="zh-CN" sz="1000" b="0" kern="1200">
                          <a:solidFill>
                            <a:schemeClr val="tx1"/>
                          </a:solidFill>
                          <a:effectLst/>
                        </a:rPr>
                        <a:t>124.82~221.04 </a:t>
                      </a:r>
                      <a:r>
                        <a:rPr lang="en-US" altLang="zh-CN" sz="1000" b="0" kern="1200" err="1">
                          <a:solidFill>
                            <a:schemeClr val="tx1"/>
                          </a:solidFill>
                          <a:effectLst/>
                        </a:rPr>
                        <a:t>pmol</a:t>
                      </a:r>
                      <a:r>
                        <a:rPr lang="en-US" altLang="zh-CN" sz="1000" b="0" kern="1200">
                          <a:solidFill>
                            <a:schemeClr val="tx1"/>
                          </a:solidFill>
                          <a:effectLst/>
                        </a:rPr>
                        <a:t>/L</a:t>
                      </a:r>
                      <a:r>
                        <a:rPr lang="zh-CN" altLang="en-US" sz="1000" b="0" kern="1200">
                          <a:solidFill>
                            <a:schemeClr val="tx1"/>
                          </a:solidFill>
                          <a:effectLst/>
                        </a:rPr>
                        <a:t>，</a:t>
                      </a:r>
                      <a:r>
                        <a:rPr lang="en-US" altLang="zh-CN" sz="1000" b="0" kern="1200">
                          <a:solidFill>
                            <a:schemeClr val="tx1"/>
                          </a:solidFill>
                          <a:effectLst/>
                        </a:rPr>
                        <a:t>FSH</a:t>
                      </a:r>
                      <a:r>
                        <a:rPr lang="zh-CN" altLang="en-US" sz="1000" b="0" kern="1200">
                          <a:solidFill>
                            <a:schemeClr val="tx1"/>
                          </a:solidFill>
                          <a:effectLst/>
                        </a:rPr>
                        <a:t>、</a:t>
                      </a:r>
                      <a:r>
                        <a:rPr lang="en-US" altLang="zh-CN" sz="1000" b="0" kern="1200">
                          <a:solidFill>
                            <a:schemeClr val="tx1"/>
                          </a:solidFill>
                          <a:effectLst/>
                        </a:rPr>
                        <a:t>LH</a:t>
                      </a:r>
                      <a:r>
                        <a:rPr lang="zh-CN" altLang="en-US" sz="1000" b="0" kern="1200">
                          <a:solidFill>
                            <a:schemeClr val="tx1"/>
                          </a:solidFill>
                          <a:effectLst/>
                        </a:rPr>
                        <a:t>水平无明显变化</a:t>
                      </a:r>
                      <a:endParaRPr lang="en-US" sz="1000" b="0" i="0" kern="120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386789391"/>
                  </a:ext>
                </a:extLst>
              </a:tr>
              <a:tr h="243808">
                <a:tc>
                  <a:txBody>
                    <a:bodyPr/>
                    <a:lstStyle/>
                    <a:p>
                      <a:r>
                        <a:rPr lang="zh-CN" altLang="en-US" sz="1000" b="0" kern="1200">
                          <a:solidFill>
                            <a:schemeClr val="tx1"/>
                          </a:solidFill>
                          <a:effectLst/>
                        </a:rPr>
                        <a:t>主要副作用是不规则出血（</a:t>
                      </a:r>
                      <a:r>
                        <a:rPr lang="en-US" altLang="zh-CN" sz="1000" b="0" kern="1200">
                          <a:solidFill>
                            <a:schemeClr val="tx1"/>
                          </a:solidFill>
                          <a:effectLst/>
                        </a:rPr>
                        <a:t>75%</a:t>
                      </a:r>
                      <a:r>
                        <a:rPr lang="zh-CN" altLang="en-US" sz="1000" b="0" kern="1200">
                          <a:solidFill>
                            <a:schemeClr val="tx1"/>
                          </a:solidFill>
                          <a:effectLst/>
                        </a:rPr>
                        <a:t>，</a:t>
                      </a:r>
                      <a:r>
                        <a:rPr lang="en-US" altLang="zh-CN" sz="1000" b="0" kern="1200">
                          <a:solidFill>
                            <a:schemeClr val="tx1"/>
                          </a:solidFill>
                          <a:effectLst/>
                        </a:rPr>
                        <a:t>36/48</a:t>
                      </a:r>
                      <a:r>
                        <a:rPr lang="zh-CN" altLang="en-US" sz="1000" b="0" kern="1200">
                          <a:solidFill>
                            <a:schemeClr val="tx1"/>
                          </a:solidFill>
                          <a:effectLst/>
                        </a:rPr>
                        <a:t>）</a:t>
                      </a:r>
                      <a:endParaRPr lang="en-US" sz="1000" b="0" i="0" kern="120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2529887456"/>
                  </a:ext>
                </a:extLst>
              </a:tr>
              <a:tr h="396188">
                <a:tc>
                  <a:txBody>
                    <a:bodyPr/>
                    <a:lstStyle/>
                    <a:p>
                      <a:r>
                        <a:rPr lang="zh-CN" altLang="en-US" sz="1000" b="0" kern="1200" dirty="0">
                          <a:solidFill>
                            <a:schemeClr val="tx1"/>
                          </a:solidFill>
                          <a:effectLst/>
                        </a:rPr>
                        <a:t>结论 </a:t>
                      </a:r>
                      <a:r>
                        <a:rPr lang="en-US" altLang="zh-CN" sz="1000" b="0" kern="1200" dirty="0">
                          <a:solidFill>
                            <a:schemeClr val="tx1"/>
                          </a:solidFill>
                          <a:effectLst/>
                        </a:rPr>
                        <a:t>DNG</a:t>
                      </a:r>
                      <a:r>
                        <a:rPr lang="zh-CN" altLang="en-US" sz="1000" b="0" kern="1200" dirty="0">
                          <a:solidFill>
                            <a:schemeClr val="tx1"/>
                          </a:solidFill>
                          <a:effectLst/>
                        </a:rPr>
                        <a:t>能有效缓解内异症疼痛，且耐受性好，可作为复杂的难治性内异症疼痛患者长期治疗的选择之一</a:t>
                      </a:r>
                      <a:endParaRPr lang="en-US" sz="1000" b="0" i="0" kern="1200" dirty="0">
                        <a:solidFill>
                          <a:schemeClr val="tx1"/>
                        </a:solidFill>
                        <a:effectLst/>
                        <a:latin typeface="Tahoma" panose="020B0604030504040204" pitchFamily="34" charset="0"/>
                        <a:ea typeface="+mn-ea"/>
                        <a:cs typeface="+mn-cs"/>
                      </a:endParaRPr>
                    </a:p>
                  </a:txBody>
                  <a:tcPr marL="91428" marR="91428" marT="45714" marB="45714"/>
                </a:tc>
                <a:extLst>
                  <a:ext uri="{0D108BD9-81ED-4DB2-BD59-A6C34878D82A}">
                    <a16:rowId xmlns:a16="http://schemas.microsoft.com/office/drawing/2014/main" val="3755266562"/>
                  </a:ext>
                </a:extLst>
              </a:tr>
            </a:tbl>
          </a:graphicData>
        </a:graphic>
      </p:graphicFrame>
      <p:cxnSp>
        <p:nvCxnSpPr>
          <p:cNvPr id="11" name="Straight Connector 10">
            <a:extLst>
              <a:ext uri="{FF2B5EF4-FFF2-40B4-BE49-F238E27FC236}">
                <a16:creationId xmlns:a16="http://schemas.microsoft.com/office/drawing/2014/main" id="{46E6E61D-2383-463E-98EA-03BC9A34BFE8}"/>
              </a:ext>
            </a:extLst>
          </p:cNvPr>
          <p:cNvCxnSpPr>
            <a:cxnSpLocks/>
          </p:cNvCxnSpPr>
          <p:nvPr/>
        </p:nvCxnSpPr>
        <p:spPr bwMode="gray">
          <a:xfrm>
            <a:off x="2172512" y="2293031"/>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6" name="Straight Connector 25">
            <a:extLst>
              <a:ext uri="{FF2B5EF4-FFF2-40B4-BE49-F238E27FC236}">
                <a16:creationId xmlns:a16="http://schemas.microsoft.com/office/drawing/2014/main" id="{B230A1D1-7C6B-4138-B12B-65436532C25E}"/>
              </a:ext>
            </a:extLst>
          </p:cNvPr>
          <p:cNvCxnSpPr>
            <a:cxnSpLocks/>
          </p:cNvCxnSpPr>
          <p:nvPr/>
        </p:nvCxnSpPr>
        <p:spPr bwMode="gray">
          <a:xfrm>
            <a:off x="4868584" y="3037239"/>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7" name="Straight Connector 26">
            <a:extLst>
              <a:ext uri="{FF2B5EF4-FFF2-40B4-BE49-F238E27FC236}">
                <a16:creationId xmlns:a16="http://schemas.microsoft.com/office/drawing/2014/main" id="{5D7B5CE0-23CF-46DC-A787-36EEB20F9B5E}"/>
              </a:ext>
            </a:extLst>
          </p:cNvPr>
          <p:cNvCxnSpPr>
            <a:cxnSpLocks/>
          </p:cNvCxnSpPr>
          <p:nvPr/>
        </p:nvCxnSpPr>
        <p:spPr bwMode="gray">
          <a:xfrm>
            <a:off x="1283879" y="3685498"/>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8" name="Straight Connector 27">
            <a:extLst>
              <a:ext uri="{FF2B5EF4-FFF2-40B4-BE49-F238E27FC236}">
                <a16:creationId xmlns:a16="http://schemas.microsoft.com/office/drawing/2014/main" id="{27C0F937-CE6F-4AD8-A3F0-2BB4AC65A0F1}"/>
              </a:ext>
            </a:extLst>
          </p:cNvPr>
          <p:cNvCxnSpPr>
            <a:cxnSpLocks/>
          </p:cNvCxnSpPr>
          <p:nvPr/>
        </p:nvCxnSpPr>
        <p:spPr bwMode="gray">
          <a:xfrm>
            <a:off x="3400605" y="3772827"/>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29" name="Straight Connector 28">
            <a:extLst>
              <a:ext uri="{FF2B5EF4-FFF2-40B4-BE49-F238E27FC236}">
                <a16:creationId xmlns:a16="http://schemas.microsoft.com/office/drawing/2014/main" id="{C4454ED6-0C7C-4DDB-A1C5-80021B5A4B19}"/>
              </a:ext>
            </a:extLst>
          </p:cNvPr>
          <p:cNvCxnSpPr>
            <a:cxnSpLocks/>
          </p:cNvCxnSpPr>
          <p:nvPr/>
        </p:nvCxnSpPr>
        <p:spPr bwMode="gray">
          <a:xfrm>
            <a:off x="5076561" y="4118498"/>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B850E26D-653C-43FA-8C0B-9A030F7B20FC}"/>
              </a:ext>
            </a:extLst>
          </p:cNvPr>
          <p:cNvCxnSpPr>
            <a:cxnSpLocks/>
          </p:cNvCxnSpPr>
          <p:nvPr/>
        </p:nvCxnSpPr>
        <p:spPr bwMode="gray">
          <a:xfrm>
            <a:off x="1354788" y="4417224"/>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1" name="Straight Connector 30">
            <a:extLst>
              <a:ext uri="{FF2B5EF4-FFF2-40B4-BE49-F238E27FC236}">
                <a16:creationId xmlns:a16="http://schemas.microsoft.com/office/drawing/2014/main" id="{F6C2F477-E327-4741-8DD6-CBD0A08A9D68}"/>
              </a:ext>
            </a:extLst>
          </p:cNvPr>
          <p:cNvCxnSpPr>
            <a:cxnSpLocks/>
          </p:cNvCxnSpPr>
          <p:nvPr/>
        </p:nvCxnSpPr>
        <p:spPr bwMode="gray">
          <a:xfrm>
            <a:off x="3473023" y="4524674"/>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32" name="Straight Connector 31">
            <a:extLst>
              <a:ext uri="{FF2B5EF4-FFF2-40B4-BE49-F238E27FC236}">
                <a16:creationId xmlns:a16="http://schemas.microsoft.com/office/drawing/2014/main" id="{0DA3ABC1-77A6-4E36-9636-038E0ECE3A4A}"/>
              </a:ext>
            </a:extLst>
          </p:cNvPr>
          <p:cNvCxnSpPr>
            <a:cxnSpLocks/>
          </p:cNvCxnSpPr>
          <p:nvPr/>
        </p:nvCxnSpPr>
        <p:spPr bwMode="gray">
          <a:xfrm>
            <a:off x="2685474" y="4860786"/>
            <a:ext cx="0" cy="21490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51" name="Straight Connector 50">
            <a:extLst>
              <a:ext uri="{FF2B5EF4-FFF2-40B4-BE49-F238E27FC236}">
                <a16:creationId xmlns:a16="http://schemas.microsoft.com/office/drawing/2014/main" id="{6B0F346A-31F9-4F7D-98F2-82C1CFF31CAC}"/>
              </a:ext>
            </a:extLst>
          </p:cNvPr>
          <p:cNvCxnSpPr>
            <a:cxnSpLocks/>
          </p:cNvCxnSpPr>
          <p:nvPr/>
        </p:nvCxnSpPr>
        <p:spPr bwMode="gray">
          <a:xfrm>
            <a:off x="981821" y="2153366"/>
            <a:ext cx="4082183" cy="3258"/>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55" name="Straight Connector 54">
            <a:extLst>
              <a:ext uri="{FF2B5EF4-FFF2-40B4-BE49-F238E27FC236}">
                <a16:creationId xmlns:a16="http://schemas.microsoft.com/office/drawing/2014/main" id="{65922775-03C9-4A01-B98B-2948A0D8AA38}"/>
              </a:ext>
            </a:extLst>
          </p:cNvPr>
          <p:cNvCxnSpPr>
            <a:cxnSpLocks/>
          </p:cNvCxnSpPr>
          <p:nvPr/>
        </p:nvCxnSpPr>
        <p:spPr bwMode="gray">
          <a:xfrm flipV="1">
            <a:off x="974672" y="2468881"/>
            <a:ext cx="1197840" cy="1"/>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58" name="Straight Connector 57">
            <a:extLst>
              <a:ext uri="{FF2B5EF4-FFF2-40B4-BE49-F238E27FC236}">
                <a16:creationId xmlns:a16="http://schemas.microsoft.com/office/drawing/2014/main" id="{3ADBDDFE-BB63-49F8-8A8C-5C52422AAF2C}"/>
              </a:ext>
            </a:extLst>
          </p:cNvPr>
          <p:cNvCxnSpPr>
            <a:cxnSpLocks/>
          </p:cNvCxnSpPr>
          <p:nvPr/>
        </p:nvCxnSpPr>
        <p:spPr bwMode="gray">
          <a:xfrm>
            <a:off x="2172512" y="2325310"/>
            <a:ext cx="2891491" cy="7163"/>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61" name="Straight Connector 60">
            <a:extLst>
              <a:ext uri="{FF2B5EF4-FFF2-40B4-BE49-F238E27FC236}">
                <a16:creationId xmlns:a16="http://schemas.microsoft.com/office/drawing/2014/main" id="{92CF794F-E2E9-44FF-94E7-CCE90B15B620}"/>
              </a:ext>
            </a:extLst>
          </p:cNvPr>
          <p:cNvCxnSpPr>
            <a:cxnSpLocks/>
          </p:cNvCxnSpPr>
          <p:nvPr/>
        </p:nvCxnSpPr>
        <p:spPr bwMode="gray">
          <a:xfrm>
            <a:off x="974672" y="2164969"/>
            <a:ext cx="0" cy="314610"/>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64" name="Straight Connector 63">
            <a:extLst>
              <a:ext uri="{FF2B5EF4-FFF2-40B4-BE49-F238E27FC236}">
                <a16:creationId xmlns:a16="http://schemas.microsoft.com/office/drawing/2014/main" id="{F812B49E-41D1-4942-9434-9F3BD9117EE5}"/>
              </a:ext>
            </a:extLst>
          </p:cNvPr>
          <p:cNvCxnSpPr>
            <a:cxnSpLocks/>
          </p:cNvCxnSpPr>
          <p:nvPr/>
        </p:nvCxnSpPr>
        <p:spPr bwMode="gray">
          <a:xfrm>
            <a:off x="5064003" y="2156623"/>
            <a:ext cx="0" cy="172268"/>
          </a:xfrm>
          <a:prstGeom prst="line">
            <a:avLst/>
          </a:prstGeom>
          <a:ln w="28575"/>
        </p:spPr>
        <p:style>
          <a:lnRef idx="1">
            <a:schemeClr val="accent6"/>
          </a:lnRef>
          <a:fillRef idx="0">
            <a:schemeClr val="accent6"/>
          </a:fillRef>
          <a:effectRef idx="0">
            <a:schemeClr val="accent6"/>
          </a:effectRef>
          <a:fontRef idx="minor">
            <a:schemeClr val="tx1"/>
          </a:fontRef>
        </p:style>
      </p:cxnSp>
      <p:cxnSp>
        <p:nvCxnSpPr>
          <p:cNvPr id="69" name="Straight Arrow Connector 68">
            <a:extLst>
              <a:ext uri="{FF2B5EF4-FFF2-40B4-BE49-F238E27FC236}">
                <a16:creationId xmlns:a16="http://schemas.microsoft.com/office/drawing/2014/main" id="{698B5EC7-8376-44F0-81A9-D75695A3B6FB}"/>
              </a:ext>
            </a:extLst>
          </p:cNvPr>
          <p:cNvCxnSpPr>
            <a:cxnSpLocks/>
          </p:cNvCxnSpPr>
          <p:nvPr/>
        </p:nvCxnSpPr>
        <p:spPr bwMode="gray">
          <a:xfrm flipV="1">
            <a:off x="5064004" y="2064368"/>
            <a:ext cx="1289347" cy="228664"/>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grpSp>
        <p:nvGrpSpPr>
          <p:cNvPr id="24" name="Group 23">
            <a:extLst>
              <a:ext uri="{FF2B5EF4-FFF2-40B4-BE49-F238E27FC236}">
                <a16:creationId xmlns:a16="http://schemas.microsoft.com/office/drawing/2014/main" id="{6CD6317B-6673-48B7-92CD-94A0F866A652}"/>
              </a:ext>
            </a:extLst>
          </p:cNvPr>
          <p:cNvGrpSpPr/>
          <p:nvPr/>
        </p:nvGrpSpPr>
        <p:grpSpPr>
          <a:xfrm>
            <a:off x="8495106" y="-8203"/>
            <a:ext cx="563328" cy="563328"/>
            <a:chOff x="7649686" y="2791782"/>
            <a:chExt cx="563328" cy="563328"/>
          </a:xfrm>
        </p:grpSpPr>
        <p:pic>
          <p:nvPicPr>
            <p:cNvPr id="25" name="Graphic 24" descr="Document outline">
              <a:extLst>
                <a:ext uri="{FF2B5EF4-FFF2-40B4-BE49-F238E27FC236}">
                  <a16:creationId xmlns:a16="http://schemas.microsoft.com/office/drawing/2014/main" id="{067F6DD1-F18E-46C5-AC1B-1BD1E022B3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9686" y="2791782"/>
              <a:ext cx="563328" cy="563328"/>
            </a:xfrm>
            <a:prstGeom prst="rect">
              <a:avLst/>
            </a:prstGeom>
          </p:spPr>
        </p:pic>
        <p:sp>
          <p:nvSpPr>
            <p:cNvPr id="33" name="Rectangle 32">
              <a:extLst>
                <a:ext uri="{FF2B5EF4-FFF2-40B4-BE49-F238E27FC236}">
                  <a16:creationId xmlns:a16="http://schemas.microsoft.com/office/drawing/2014/main" id="{4688969F-0017-434B-BBEC-FEAE3BF2EFB2}"/>
                </a:ext>
              </a:extLst>
            </p:cNvPr>
            <p:cNvSpPr/>
            <p:nvPr/>
          </p:nvSpPr>
          <p:spPr bwMode="gray">
            <a:xfrm>
              <a:off x="7803387" y="3028265"/>
              <a:ext cx="255926" cy="45719"/>
            </a:xfrm>
            <a:prstGeom prst="rect">
              <a:avLst/>
            </a:prstGeom>
            <a:noFill/>
            <a:ln w="19050">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567183EC-E721-4E54-835E-60778895A83D}"/>
              </a:ext>
            </a:extLst>
          </p:cNvPr>
          <p:cNvGrpSpPr/>
          <p:nvPr/>
        </p:nvGrpSpPr>
        <p:grpSpPr>
          <a:xfrm>
            <a:off x="9287312" y="213929"/>
            <a:ext cx="583548" cy="119064"/>
            <a:chOff x="9252602" y="2936080"/>
            <a:chExt cx="583548" cy="119064"/>
          </a:xfrm>
        </p:grpSpPr>
        <p:grpSp>
          <p:nvGrpSpPr>
            <p:cNvPr id="35" name="Group 34">
              <a:extLst>
                <a:ext uri="{FF2B5EF4-FFF2-40B4-BE49-F238E27FC236}">
                  <a16:creationId xmlns:a16="http://schemas.microsoft.com/office/drawing/2014/main" id="{D5D7C46E-63B6-4F4D-BD2A-C9F24D66F8C4}"/>
                </a:ext>
              </a:extLst>
            </p:cNvPr>
            <p:cNvGrpSpPr/>
            <p:nvPr/>
          </p:nvGrpSpPr>
          <p:grpSpPr>
            <a:xfrm>
              <a:off x="9252602" y="2936080"/>
              <a:ext cx="497972" cy="119064"/>
              <a:chOff x="9453765" y="2960328"/>
              <a:chExt cx="497972" cy="119064"/>
            </a:xfrm>
          </p:grpSpPr>
          <p:sp>
            <p:nvSpPr>
              <p:cNvPr id="38" name="Rectangle 37">
                <a:extLst>
                  <a:ext uri="{FF2B5EF4-FFF2-40B4-BE49-F238E27FC236}">
                    <a16:creationId xmlns:a16="http://schemas.microsoft.com/office/drawing/2014/main" id="{7E80F057-D4B9-40EB-88FE-03F9EE6DB290}"/>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Connector 38">
                <a:extLst>
                  <a:ext uri="{FF2B5EF4-FFF2-40B4-BE49-F238E27FC236}">
                    <a16:creationId xmlns:a16="http://schemas.microsoft.com/office/drawing/2014/main" id="{CB6E713A-F2E5-4AFD-996E-4107794FA25D}"/>
                  </a:ext>
                </a:extLst>
              </p:cNvPr>
              <p:cNvCxnSpPr>
                <a:cxnSpLocks/>
              </p:cNvCxnSpPr>
              <p:nvPr/>
            </p:nvCxnSpPr>
            <p:spPr bwMode="gray">
              <a:xfrm>
                <a:off x="9639300"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40" name="Straight Connector 39">
                <a:extLst>
                  <a:ext uri="{FF2B5EF4-FFF2-40B4-BE49-F238E27FC236}">
                    <a16:creationId xmlns:a16="http://schemas.microsoft.com/office/drawing/2014/main" id="{3FBF82FD-96DC-4669-9B38-C415BB907C50}"/>
                  </a:ext>
                </a:extLst>
              </p:cNvPr>
              <p:cNvCxnSpPr>
                <a:cxnSpLocks/>
              </p:cNvCxnSpPr>
              <p:nvPr/>
            </p:nvCxnSpPr>
            <p:spPr bwMode="gray">
              <a:xfrm>
                <a:off x="9951737" y="2960328"/>
                <a:ext cx="0" cy="119064"/>
              </a:xfrm>
              <a:prstGeom prst="line">
                <a:avLst/>
              </a:prstGeom>
              <a:ln w="19050"/>
            </p:spPr>
            <p:style>
              <a:lnRef idx="1">
                <a:schemeClr val="accent6"/>
              </a:lnRef>
              <a:fillRef idx="0">
                <a:schemeClr val="accent6"/>
              </a:fillRef>
              <a:effectRef idx="0">
                <a:schemeClr val="accent6"/>
              </a:effectRef>
              <a:fontRef idx="minor">
                <a:schemeClr val="tx1"/>
              </a:fontRef>
            </p:style>
          </p:cxnSp>
        </p:grpSp>
        <p:sp>
          <p:nvSpPr>
            <p:cNvPr id="36" name="Rectangle 35">
              <a:extLst>
                <a:ext uri="{FF2B5EF4-FFF2-40B4-BE49-F238E27FC236}">
                  <a16:creationId xmlns:a16="http://schemas.microsoft.com/office/drawing/2014/main" id="{21A338DB-D33A-4B07-8DC1-FB6093D2343E}"/>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12C8F92C-A3A6-4A45-9D1A-430B711DA3EE}"/>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F93C5C18-312D-4BB3-BE68-E38E7FDF3D82}"/>
              </a:ext>
            </a:extLst>
          </p:cNvPr>
          <p:cNvGrpSpPr/>
          <p:nvPr/>
        </p:nvGrpSpPr>
        <p:grpSpPr>
          <a:xfrm>
            <a:off x="10171709" y="213929"/>
            <a:ext cx="583548" cy="119064"/>
            <a:chOff x="9252602" y="2936080"/>
            <a:chExt cx="583548" cy="119064"/>
          </a:xfrm>
        </p:grpSpPr>
        <p:grpSp>
          <p:nvGrpSpPr>
            <p:cNvPr id="42" name="Group 41">
              <a:extLst>
                <a:ext uri="{FF2B5EF4-FFF2-40B4-BE49-F238E27FC236}">
                  <a16:creationId xmlns:a16="http://schemas.microsoft.com/office/drawing/2014/main" id="{F8A51C13-7E08-442F-B786-E42CA2BC6A2A}"/>
                </a:ext>
              </a:extLst>
            </p:cNvPr>
            <p:cNvGrpSpPr/>
            <p:nvPr/>
          </p:nvGrpSpPr>
          <p:grpSpPr>
            <a:xfrm>
              <a:off x="9252602" y="2936080"/>
              <a:ext cx="497972" cy="119064"/>
              <a:chOff x="9453765" y="2960328"/>
              <a:chExt cx="497972" cy="119064"/>
            </a:xfrm>
          </p:grpSpPr>
          <p:sp>
            <p:nvSpPr>
              <p:cNvPr id="46" name="Rectangle 45">
                <a:extLst>
                  <a:ext uri="{FF2B5EF4-FFF2-40B4-BE49-F238E27FC236}">
                    <a16:creationId xmlns:a16="http://schemas.microsoft.com/office/drawing/2014/main" id="{F20C29C6-6CCB-48A8-8579-F2F5A09C88C1}"/>
                  </a:ext>
                </a:extLst>
              </p:cNvPr>
              <p:cNvSpPr/>
              <p:nvPr/>
            </p:nvSpPr>
            <p:spPr bwMode="gray">
              <a:xfrm>
                <a:off x="9453765" y="2968524"/>
                <a:ext cx="156960"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7" name="Straight Connector 46">
                <a:extLst>
                  <a:ext uri="{FF2B5EF4-FFF2-40B4-BE49-F238E27FC236}">
                    <a16:creationId xmlns:a16="http://schemas.microsoft.com/office/drawing/2014/main" id="{9E1DF904-1AEB-453E-9696-5AF31692A3EB}"/>
                  </a:ext>
                </a:extLst>
              </p:cNvPr>
              <p:cNvCxnSpPr>
                <a:cxnSpLocks/>
              </p:cNvCxnSpPr>
              <p:nvPr/>
            </p:nvCxnSpPr>
            <p:spPr bwMode="gray">
              <a:xfrm>
                <a:off x="9639300"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D0B26072-BE26-47C1-BE17-8D1C56EB3CA1}"/>
                  </a:ext>
                </a:extLst>
              </p:cNvPr>
              <p:cNvCxnSpPr>
                <a:cxnSpLocks/>
              </p:cNvCxnSpPr>
              <p:nvPr/>
            </p:nvCxnSpPr>
            <p:spPr bwMode="gray">
              <a:xfrm>
                <a:off x="9951737" y="2960328"/>
                <a:ext cx="0" cy="119064"/>
              </a:xfrm>
              <a:prstGeom prst="line">
                <a:avLst/>
              </a:prstGeom>
              <a:ln w="19050">
                <a:solidFill>
                  <a:srgbClr val="443247"/>
                </a:solidFill>
              </a:ln>
            </p:spPr>
            <p:style>
              <a:lnRef idx="1">
                <a:schemeClr val="accent6"/>
              </a:lnRef>
              <a:fillRef idx="0">
                <a:schemeClr val="accent6"/>
              </a:fillRef>
              <a:effectRef idx="0">
                <a:schemeClr val="accent6"/>
              </a:effectRef>
              <a:fontRef idx="minor">
                <a:schemeClr val="tx1"/>
              </a:fontRef>
            </p:style>
          </p:cxnSp>
        </p:grpSp>
        <p:sp>
          <p:nvSpPr>
            <p:cNvPr id="43" name="Rectangle 42">
              <a:extLst>
                <a:ext uri="{FF2B5EF4-FFF2-40B4-BE49-F238E27FC236}">
                  <a16:creationId xmlns:a16="http://schemas.microsoft.com/office/drawing/2014/main" id="{1D713972-B127-43F6-A91A-8923A6C5816A}"/>
                </a:ext>
              </a:extLst>
            </p:cNvPr>
            <p:cNvSpPr/>
            <p:nvPr/>
          </p:nvSpPr>
          <p:spPr bwMode="gray">
            <a:xfrm>
              <a:off x="9466714" y="2940140"/>
              <a:ext cx="255284"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6306EBE8-3416-4A98-8FB1-0E1EB994E5AB}"/>
                </a:ext>
              </a:extLst>
            </p:cNvPr>
            <p:cNvSpPr/>
            <p:nvPr/>
          </p:nvSpPr>
          <p:spPr bwMode="gray">
            <a:xfrm>
              <a:off x="9779152" y="2940140"/>
              <a:ext cx="56998" cy="94199"/>
            </a:xfrm>
            <a:prstGeom prst="rect">
              <a:avLst/>
            </a:prstGeom>
            <a:noFill/>
            <a:ln w="12700">
              <a:solidFill>
                <a:srgbClr val="44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id="{E27B147D-B8D1-4C37-9765-31CC84E5612A}"/>
              </a:ext>
            </a:extLst>
          </p:cNvPr>
          <p:cNvGrpSpPr/>
          <p:nvPr/>
        </p:nvGrpSpPr>
        <p:grpSpPr>
          <a:xfrm>
            <a:off x="10220568" y="181294"/>
            <a:ext cx="102202" cy="194364"/>
            <a:chOff x="11265694" y="3243264"/>
            <a:chExt cx="88106" cy="83344"/>
          </a:xfrm>
        </p:grpSpPr>
        <p:cxnSp>
          <p:nvCxnSpPr>
            <p:cNvPr id="50" name="Straight Connector 49">
              <a:extLst>
                <a:ext uri="{FF2B5EF4-FFF2-40B4-BE49-F238E27FC236}">
                  <a16:creationId xmlns:a16="http://schemas.microsoft.com/office/drawing/2014/main" id="{05647218-2605-4BDC-BC66-02D38F2FF175}"/>
                </a:ext>
              </a:extLst>
            </p:cNvPr>
            <p:cNvCxnSpPr>
              <a:cxnSpLocks/>
            </p:cNvCxnSpPr>
            <p:nvPr/>
          </p:nvCxnSpPr>
          <p:spPr bwMode="gray">
            <a:xfrm>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52" name="Straight Connector 51">
              <a:extLst>
                <a:ext uri="{FF2B5EF4-FFF2-40B4-BE49-F238E27FC236}">
                  <a16:creationId xmlns:a16="http://schemas.microsoft.com/office/drawing/2014/main" id="{CD5B205E-6AD4-4783-B06D-E91B674C2A6A}"/>
                </a:ext>
              </a:extLst>
            </p:cNvPr>
            <p:cNvCxnSpPr>
              <a:cxnSpLocks/>
            </p:cNvCxnSpPr>
            <p:nvPr/>
          </p:nvCxnSpPr>
          <p:spPr bwMode="gray">
            <a:xfrm flipV="1">
              <a:off x="11265694" y="3243264"/>
              <a:ext cx="88106" cy="83344"/>
            </a:xfrm>
            <a:prstGeom prst="line">
              <a:avLst/>
            </a:prstGeom>
            <a:ln w="19050"/>
          </p:spPr>
          <p:style>
            <a:lnRef idx="1">
              <a:schemeClr val="accent6"/>
            </a:lnRef>
            <a:fillRef idx="0">
              <a:schemeClr val="accent6"/>
            </a:fillRef>
            <a:effectRef idx="0">
              <a:schemeClr val="accent6"/>
            </a:effectRef>
            <a:fontRef idx="minor">
              <a:schemeClr val="tx1"/>
            </a:fontRef>
          </p:style>
        </p:cxnSp>
      </p:grpSp>
      <p:grpSp>
        <p:nvGrpSpPr>
          <p:cNvPr id="53" name="Group 52">
            <a:extLst>
              <a:ext uri="{FF2B5EF4-FFF2-40B4-BE49-F238E27FC236}">
                <a16:creationId xmlns:a16="http://schemas.microsoft.com/office/drawing/2014/main" id="{7A51E16E-42C0-42F2-907E-EAA700C5A147}"/>
              </a:ext>
            </a:extLst>
          </p:cNvPr>
          <p:cNvGrpSpPr/>
          <p:nvPr/>
        </p:nvGrpSpPr>
        <p:grpSpPr>
          <a:xfrm>
            <a:off x="10947419" y="121406"/>
            <a:ext cx="1176925" cy="304109"/>
            <a:chOff x="7530052" y="5001373"/>
            <a:chExt cx="1176925" cy="304109"/>
          </a:xfrm>
        </p:grpSpPr>
        <p:sp>
          <p:nvSpPr>
            <p:cNvPr id="54" name="Rectangle 53">
              <a:extLst>
                <a:ext uri="{FF2B5EF4-FFF2-40B4-BE49-F238E27FC236}">
                  <a16:creationId xmlns:a16="http://schemas.microsoft.com/office/drawing/2014/main" id="{B583FA5B-0A22-48F5-BA90-17F2AE905E2D}"/>
                </a:ext>
              </a:extLst>
            </p:cNvPr>
            <p:cNvSpPr/>
            <p:nvPr/>
          </p:nvSpPr>
          <p:spPr>
            <a:xfrm>
              <a:off x="7530052" y="5043872"/>
              <a:ext cx="1176925" cy="261610"/>
            </a:xfrm>
            <a:prstGeom prst="rect">
              <a:avLst/>
            </a:prstGeom>
            <a:noFill/>
          </p:spPr>
          <p:txBody>
            <a:bodyPr wrap="none" lIns="91440" tIns="45720" rIns="91440" bIns="45720">
              <a:spAutoFit/>
            </a:bodyPr>
            <a:lstStyle/>
            <a:p>
              <a:pPr algn="ctr"/>
              <a:r>
                <a:rPr lang="en-US" altLang="zh-CN" sz="1100" b="0" cap="none" spc="0" dirty="0">
                  <a:ln w="0"/>
                  <a:solidFill>
                    <a:schemeClr val="tx1"/>
                  </a:solidFill>
                  <a:effectLst>
                    <a:outerShdw blurRad="38100" dist="19050" dir="2700000" algn="tl" rotWithShape="0">
                      <a:schemeClr val="dk1">
                        <a:alpha val="40000"/>
                      </a:schemeClr>
                    </a:outerShdw>
                  </a:effectLst>
                </a:rPr>
                <a:t>text  》numbers</a:t>
              </a:r>
              <a:endParaRPr lang="en-US" sz="1100" b="0" cap="none" spc="0" dirty="0">
                <a:ln w="0"/>
                <a:solidFill>
                  <a:schemeClr val="tx1"/>
                </a:solidFill>
                <a:effectLst>
                  <a:outerShdw blurRad="38100" dist="19050" dir="2700000" algn="tl" rotWithShape="0">
                    <a:schemeClr val="dk1">
                      <a:alpha val="40000"/>
                    </a:schemeClr>
                  </a:outerShdw>
                </a:effectLst>
              </a:endParaRPr>
            </a:p>
          </p:txBody>
        </p:sp>
        <p:sp>
          <p:nvSpPr>
            <p:cNvPr id="56" name="Flowchart: Connector 55">
              <a:extLst>
                <a:ext uri="{FF2B5EF4-FFF2-40B4-BE49-F238E27FC236}">
                  <a16:creationId xmlns:a16="http://schemas.microsoft.com/office/drawing/2014/main" id="{33347E13-F2B9-467D-B08E-A6CD1077D048}"/>
                </a:ext>
              </a:extLst>
            </p:cNvPr>
            <p:cNvSpPr/>
            <p:nvPr/>
          </p:nvSpPr>
          <p:spPr bwMode="gray">
            <a:xfrm>
              <a:off x="7594079" y="5001373"/>
              <a:ext cx="303903" cy="30410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lowchart: Connector 56">
              <a:extLst>
                <a:ext uri="{FF2B5EF4-FFF2-40B4-BE49-F238E27FC236}">
                  <a16:creationId xmlns:a16="http://schemas.microsoft.com/office/drawing/2014/main" id="{CF37B029-E2D2-4532-B95C-83312ED65A41}"/>
                </a:ext>
              </a:extLst>
            </p:cNvPr>
            <p:cNvSpPr/>
            <p:nvPr/>
          </p:nvSpPr>
          <p:spPr bwMode="gray">
            <a:xfrm>
              <a:off x="8033749" y="5010933"/>
              <a:ext cx="618725" cy="294549"/>
            </a:xfrm>
            <a:prstGeom prst="flowChartConnector">
              <a:avLst/>
            </a:prstGeom>
            <a:noFill/>
            <a:ln>
              <a:solidFill>
                <a:srgbClr val="FF31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9" name="Straight Arrow Connector 58">
            <a:extLst>
              <a:ext uri="{FF2B5EF4-FFF2-40B4-BE49-F238E27FC236}">
                <a16:creationId xmlns:a16="http://schemas.microsoft.com/office/drawing/2014/main" id="{B5C6EA0B-3191-4CB3-A467-63D1414EAAA2}"/>
              </a:ext>
            </a:extLst>
          </p:cNvPr>
          <p:cNvCxnSpPr>
            <a:cxnSpLocks/>
          </p:cNvCxnSpPr>
          <p:nvPr/>
        </p:nvCxnSpPr>
        <p:spPr bwMode="gray">
          <a:xfrm>
            <a:off x="9058434" y="273461"/>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9FBC74B-C077-4E2D-B7E8-4D101401BAD6}"/>
              </a:ext>
            </a:extLst>
          </p:cNvPr>
          <p:cNvCxnSpPr>
            <a:cxnSpLocks/>
          </p:cNvCxnSpPr>
          <p:nvPr/>
        </p:nvCxnSpPr>
        <p:spPr bwMode="gray">
          <a:xfrm>
            <a:off x="9928014" y="273461"/>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FED5CF1F-E90F-4ED0-9264-2DF18D9ADA8E}"/>
              </a:ext>
            </a:extLst>
          </p:cNvPr>
          <p:cNvCxnSpPr>
            <a:cxnSpLocks/>
          </p:cNvCxnSpPr>
          <p:nvPr/>
        </p:nvCxnSpPr>
        <p:spPr bwMode="gray">
          <a:xfrm>
            <a:off x="9386875" y="2602166"/>
            <a:ext cx="0" cy="339344"/>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405C66F2-63FB-4EEE-88E8-FD446C9981F6}"/>
              </a:ext>
            </a:extLst>
          </p:cNvPr>
          <p:cNvCxnSpPr>
            <a:cxnSpLocks/>
          </p:cNvCxnSpPr>
          <p:nvPr/>
        </p:nvCxnSpPr>
        <p:spPr bwMode="gray">
          <a:xfrm>
            <a:off x="10771065" y="271834"/>
            <a:ext cx="182880" cy="0"/>
          </a:xfrm>
          <a:prstGeom prst="straightConnector1">
            <a:avLst/>
          </a:prstGeom>
          <a:ln w="19050">
            <a:solidFill>
              <a:srgbClr val="443247"/>
            </a:solidFill>
            <a:tailEnd type="triangle"/>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EF84265B-74EB-4944-A4C8-632BF09F1481}"/>
              </a:ext>
            </a:extLst>
          </p:cNvPr>
          <p:cNvSpPr/>
          <p:nvPr/>
        </p:nvSpPr>
        <p:spPr bwMode="gray">
          <a:xfrm>
            <a:off x="8753167" y="320341"/>
            <a:ext cx="182880" cy="1828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a:t>
            </a:r>
          </a:p>
        </p:txBody>
      </p:sp>
      <p:sp>
        <p:nvSpPr>
          <p:cNvPr id="7" name="Rectangle 6">
            <a:extLst>
              <a:ext uri="{FF2B5EF4-FFF2-40B4-BE49-F238E27FC236}">
                <a16:creationId xmlns:a16="http://schemas.microsoft.com/office/drawing/2014/main" id="{84F65117-9DFC-4A6C-8F89-BC7CEEF3B4BE}"/>
              </a:ext>
            </a:extLst>
          </p:cNvPr>
          <p:cNvSpPr/>
          <p:nvPr/>
        </p:nvSpPr>
        <p:spPr bwMode="gray">
          <a:xfrm>
            <a:off x="9058434" y="-8203"/>
            <a:ext cx="3131979" cy="596814"/>
          </a:xfrm>
          <a:prstGeom prst="rect">
            <a:avLst/>
          </a:prstGeom>
          <a:solidFill>
            <a:schemeClr val="bg1">
              <a:lumMod val="7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3479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wQASwwAAAAAAAAAAAAAIAD///////////////8AAAD///////////////8DAAAAAwD///////////////////////////////////////////////////////////////////////////////////////////////////////////////////////////////////////////////////////////////////////////////////////////////////////////////////////////////////////////////////////////////////////////////////////////////////////////////////////////////////////////////////////////////////////////////////////////////////////////////////////////////////////////////////////////////////////////////////////////////////////////////8BACAA////////////////AAAO////////AwAAAAIA////////////////////////////////////////////////////////////////////////////////////////////////////////////////////////////////////////////////////////////////////////////////////////////////////////////////////////////////////////////////////////////////////////////////////////////////////////////////////////////////////////////////////////////////////////////////////////////////////////////////////////////////////////////////////////////////////////////////////////////////////////////////////////AgABAP///////wQAAAACABAAC6dpq6NXWWdBuv6OaBwt/MkFAAAAAAADAAAAAwADAAAAAQADAAEA////////BAAAAAMAEAAL31/NheBkFkWqszmy+Ij8cg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MA////////////////////////////////////////////////////////////////////////////////////////////////////////////////////////////////////////////////////////////////////////////////////////////////////////////////////////////////////////////////////////////////////////////////////////////////////////////////////////////////////////////////////////////////////////////////////////////////////////////////////////////////////////////////////////////////////////////////AQAgAf///////////////wAADv///////wQAAAACAP///////////////////////////////////////////////////////////////////////////////////////////////////////////////////////////////////////////////////////////////////////////////////////////////////////////////////////////////////////////////////////////////////////////////////////////////////////////////////////////////////////////////////////////////////////////////////////////////////////////////////////////////////////////////////////////////////////////////////////////////////////////////////////wIAAwEDAAAAAgD///////8aAAZMaW5rZWRTaGFwZXNEYXRhUHJvcGVydHlfMAUAAAAAAAQAAAADAAQAAAABAAQAAAADAP///////wQAAAADAP///////wMAAwEDAAAAAwD///////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Kdpq6NXWWdBuv6OaBwt/MkDRGF0YQAbAAAABExpbmtlZFNoYXBlRGF0YQAFAAAAAAACTmFtZQAZAAAATGlua2VkU2hhcGVzRGF0YVByb3BlcnR5ABBWZXJzaW9uAAAAAAAJTGFzdFdyaXRlAF84YpN/AQAAAAEA/////8YAxgAAAAVfaWQAEAAAAATfX82F4GQWRaqzObL4iPxyA0RhdGEAUwAAAAhQcmVzZW50YXRpb25TY2FubmVkRm9yTGlua2VkU2hhcGVzAAECTnVtYmVyRm9ybWF0U2VwYXJhdG9yTW9kZQAKAAAAQXV0b21hdGljAAACTmFtZQAkAAAATGlua2VkU2hhcGVQcmVzZW50YXRpb25TZXR0aW5nc0RhdGEAEFZlcnNpb24AAAAAAAlMYXN0V3JpdGUAfjhi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1.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2.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4.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8.08.2018 12:52:32"/>
  <p:tag name="MIO_DBID" val="8E7267AE-489F-4B02-8040-8A98451BF141"/>
  <p:tag name="MIO_LASTDOWNLOADED" val="25.03.2022 11:49:21.520"/>
  <p:tag name="MIO_OBJECTNAME" val="Harvey Ball"/>
  <p:tag name="MIO_LASTEDITORNAME" val="empower enterprise"/>
  <p:tag name="MIO_HARVEYBALL" val="MIO_HARVEYBALL"/>
  <p:tag name="MIO_HARVEYBALL_FILLPERCENTAGE" val="93"/>
</p:tagLst>
</file>

<file path=ppt/tags/tag15.xml><?xml version="1.0" encoding="utf-8"?>
<p:tagLst xmlns:a="http://schemas.openxmlformats.org/drawingml/2006/main" xmlns:r="http://schemas.openxmlformats.org/officeDocument/2006/relationships" xmlns:p="http://schemas.openxmlformats.org/presentationml/2006/main">
  <p:tag name="INLINETEXTSHAPEGUID" val="3fe8aa7f-1d0e-4e9b-91c5-bbdf63cf427c"/>
</p:tagLst>
</file>

<file path=ppt/tags/tag16.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8.08.2018 12:52:32"/>
  <p:tag name="MIO_DBID" val="8E7267AE-489F-4B02-8040-8A98451BF141"/>
  <p:tag name="MIO_LASTDOWNLOADED" val="25.03.2022 14:38:18.980"/>
  <p:tag name="MIO_OBJECTNAME" val="Harvey Ball"/>
  <p:tag name="MIO_LASTEDITORNAME" val="empower enterprise"/>
  <p:tag name="MIO_HARVEYBALL" val="MIO_HARVEYBALL"/>
  <p:tag name="MIO_HARVEYBALL_FILLPERCENTAGE" val="65"/>
</p:tagLst>
</file>

<file path=ppt/tags/tag17.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8.08.2018 12:52:32"/>
  <p:tag name="MIO_DBID" val="8E7267AE-489F-4B02-8040-8A98451BF141"/>
  <p:tag name="MIO_LASTDOWNLOADED" val="25.03.2022 14:38:18.980"/>
  <p:tag name="MIO_OBJECTNAME" val="Harvey Ball"/>
  <p:tag name="MIO_LASTEDITORNAME" val="empower enterprise"/>
  <p:tag name="MIO_HARVEYBALL" val="MIO_HARVEYBALL"/>
  <p:tag name="MIO_HARVEYBALL_FILLPERCENTAGE" val="89"/>
</p:tagLst>
</file>

<file path=ppt/tags/tag18.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8.08.2018 12:52:32"/>
  <p:tag name="MIO_DBID" val="8E7267AE-489F-4B02-8040-8A98451BF141"/>
  <p:tag name="MIO_LASTDOWNLOADED" val="25.03.2022 14:38:18.980"/>
  <p:tag name="MIO_OBJECTNAME" val="Harvey Ball"/>
  <p:tag name="MIO_LASTEDITORNAME" val="empower enterprise"/>
</p:tagLst>
</file>

<file path=ppt/tags/tag19.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d4e2c0fe-3dc1-406d-bb31-045e7f6c4024"/>
  <p:tag name="MIO_UPDATE" val="True"/>
  <p:tag name="MIO_VERSION" val="08.08.2018 12:52:32"/>
  <p:tag name="MIO_DBID" val="8E7267AE-489F-4B02-8040-8A98451BF141"/>
  <p:tag name="MIO_LASTDOWNLOADED" val="25.03.2022 14:38:18.980"/>
  <p:tag name="MIO_OBJECTNAME" val="Harvey Ball"/>
  <p:tag name="MIO_LASTEDITORNAME" val="empower enterpri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8.08.2018 12:52:32"/>
  <p:tag name="MIO_DBID" val="8E7267AE-489F-4B02-8040-8A98451BF141"/>
  <p:tag name="MIO_LASTDOWNLOADED" val="25.03.2022 14:38:18.980"/>
  <p:tag name="MIO_OBJECTNAME" val="Harvey Ball"/>
  <p:tag name="MIO_LASTEDITORNAME" val="empower enterprise"/>
</p:tagLst>
</file>

<file path=ppt/tags/tag21.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d4e2c0fe-3dc1-406d-bb31-045e7f6c4024"/>
  <p:tag name="MIO_UPDATE" val="True"/>
  <p:tag name="MIO_VERSION" val="08.08.2018 12:52:32"/>
  <p:tag name="MIO_DBID" val="8E7267AE-489F-4B02-8040-8A98451BF141"/>
  <p:tag name="MIO_LASTDOWNLOADED" val="25.03.2022 14:38:18.980"/>
  <p:tag name="MIO_OBJECTNAME" val="Harvey Ball"/>
  <p:tag name="MIO_LASTEDITORNAME" val="empower enterprise"/>
</p:tagLst>
</file>

<file path=ppt/tags/tag22.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8.08.2018 12:52:32"/>
  <p:tag name="MIO_DBID" val="8E7267AE-489F-4B02-8040-8A98451BF141"/>
  <p:tag name="MIO_LASTDOWNLOADED" val="25.03.2022 11:49:21.520"/>
  <p:tag name="MIO_OBJECTNAME" val="Harvey Ball"/>
  <p:tag name="MIO_LASTEDITORNAME" val="empower enterprise"/>
</p:tagLst>
</file>

<file path=ppt/tags/tag23.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d4e2c0fe-3dc1-406d-bb31-045e7f6c4024"/>
  <p:tag name="MIO_UPDATE" val="True"/>
  <p:tag name="MIO_VERSION" val="08.08.2018 12:52:32"/>
  <p:tag name="MIO_DBID" val="8E7267AE-489F-4B02-8040-8A98451BF141"/>
  <p:tag name="MIO_LASTDOWNLOADED" val="25.03.2022 11:49:21.520"/>
  <p:tag name="MIO_OBJECTNAME" val="Harvey Ball"/>
  <p:tag name="MIO_LASTEDITORNAME" val="empower enterprise"/>
</p:tagLst>
</file>

<file path=ppt/tags/tag2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7.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8.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9.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31.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32.xml><?xml version="1.0" encoding="utf-8"?>
<p:tagLst xmlns:a="http://schemas.openxmlformats.org/drawingml/2006/main" xmlns:r="http://schemas.openxmlformats.org/officeDocument/2006/relationships" xmlns:p="http://schemas.openxmlformats.org/presentationml/2006/main">
  <p:tag name="NAME" val="DoubleChevron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NAME" val="SingleChevron"/>
</p:tagLst>
</file>

<file path=ppt/tags/tag8.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9.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heme/theme1.xml><?xml version="1.0" encoding="utf-8"?>
<a:theme xmlns:a="http://schemas.openxmlformats.org/drawingml/2006/main" name="DT&amp;IT Templat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DT&amp;IT Template.potx" id="{BAEF4002-945A-4B91-9060-1165CAC026BD}" vid="{8516ABA6-3783-457E-8EB5-A70090500786}"/>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文档" ma:contentTypeID="0x0101001294A148602AAC45A5F25BC7AFB226CC" ma:contentTypeVersion="2" ma:contentTypeDescription="新建文档。" ma:contentTypeScope="" ma:versionID="c0ec70c9d3696228c1ea3ae9bf381444">
  <xsd:schema xmlns:xsd="http://www.w3.org/2001/XMLSchema" xmlns:xs="http://www.w3.org/2001/XMLSchema" xmlns:p="http://schemas.microsoft.com/office/2006/metadata/properties" xmlns:ns2="f1cfbd12-6e70-42c4-a873-c47d0de6479a" targetNamespace="http://schemas.microsoft.com/office/2006/metadata/properties" ma:root="true" ma:fieldsID="3875a4f0fb64d6c18dc20ad043c624e7" ns2:_="">
    <xsd:import namespace="f1cfbd12-6e70-42c4-a873-c47d0de6479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cfbd12-6e70-42c4-a873-c47d0de647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8F6805A-05AA-4C74-9C5A-B20A24B6ED77}">
  <ds:schemaRefs>
    <ds:schemaRef ds:uri="http://schemas.microsoft.com/sharepoint/v3/contenttype/forms"/>
  </ds:schemaRefs>
</ds:datastoreItem>
</file>

<file path=customXml/itemProps2.xml><?xml version="1.0" encoding="utf-8"?>
<ds:datastoreItem xmlns:ds="http://schemas.openxmlformats.org/officeDocument/2006/customXml" ds:itemID="{0ACDFFFF-AF5C-4F6D-8074-1E7D76D43F10}">
  <ds:schemaRefs>
    <ds:schemaRef ds:uri="f1cfbd12-6e70-42c4-a873-c47d0de6479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BEC8736-7217-45A7-944B-69266A61296A}">
  <ds:schemaRefs>
    <ds:schemaRef ds:uri="http://schemas.microsoft.com/office/2006/metadata/properties"/>
    <ds:schemaRef ds:uri="f1cfbd12-6e70-42c4-a873-c47d0de6479a"/>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8</TotalTime>
  <Words>7480</Words>
  <Application>Microsoft Office PowerPoint</Application>
  <PresentationFormat>Custom</PresentationFormat>
  <Paragraphs>714</Paragraphs>
  <Slides>31</Slides>
  <Notes>19</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31</vt:i4>
      </vt:variant>
    </vt:vector>
  </HeadingPairs>
  <TitlesOfParts>
    <vt:vector size="43" baseType="lpstr">
      <vt:lpstr>Helvetica Neue</vt:lpstr>
      <vt:lpstr>Microsoft YaHei</vt:lpstr>
      <vt:lpstr>Microsoft YaHei</vt:lpstr>
      <vt:lpstr>Arial</vt:lpstr>
      <vt:lpstr>Calibri</vt:lpstr>
      <vt:lpstr>Georgia</vt:lpstr>
      <vt:lpstr>MV Boli</vt:lpstr>
      <vt:lpstr>Tahoma</vt:lpstr>
      <vt:lpstr>Wingdings</vt:lpstr>
      <vt:lpstr>DT&amp;IT Template</vt:lpstr>
      <vt:lpstr>think-cell Slide</vt:lpstr>
      <vt:lpstr>think-cell Folie</vt:lpstr>
      <vt:lpstr>Empowerment with Natural Language Processing (NLP)</vt:lpstr>
      <vt:lpstr>Agenda</vt:lpstr>
      <vt:lpstr>Growth of healthcare data provides a wealth of information, of which unstructured data counts for dominant share up to 80%.</vt:lpstr>
      <vt:lpstr>AI related advanced analytics accelerate business digitalization, with unparalleled computing power, rich data and advanced algorithm</vt:lpstr>
      <vt:lpstr>PowerPoint Presentation</vt:lpstr>
      <vt:lpstr>NLP has been widely applied across the whole value chains in full life cycle of drugs. </vt:lpstr>
      <vt:lpstr>How NLP works</vt:lpstr>
      <vt:lpstr>Make computer to understand text step by step</vt:lpstr>
      <vt:lpstr>Sentence splitting: from document to sentence </vt:lpstr>
      <vt:lpstr>Word tokenization: from sentence to words </vt:lpstr>
      <vt:lpstr>Remove meaningless words  including punctuations, numbers, stop words</vt:lpstr>
      <vt:lpstr>Semantic representation: transfer text into numbers</vt:lpstr>
      <vt:lpstr>Step 4-Traditional semantic representation: One-Hot</vt:lpstr>
      <vt:lpstr>Step 4-Weakness of traditional text representation</vt:lpstr>
      <vt:lpstr>Step 4-Advanced text representation: Language Model</vt:lpstr>
      <vt:lpstr>Language model – Bert: Better text representation</vt:lpstr>
      <vt:lpstr>NLP is not character matching, but semantic understanding</vt:lpstr>
      <vt:lpstr>NLP aims at Decision Supporting  not Decision Making!</vt:lpstr>
      <vt:lpstr>NLP @ Bayer</vt:lpstr>
      <vt:lpstr>Holmes # Efficiency gains @R&amp;D#</vt:lpstr>
      <vt:lpstr>Holmes # Efficiency gains @R&amp;D#</vt:lpstr>
      <vt:lpstr>DiMi # Insights generation @Medical#</vt:lpstr>
      <vt:lpstr>DiMi # Insights generation @Medical#</vt:lpstr>
      <vt:lpstr>Hermione enables better decision making through faster retrieval of relevant medical evidence</vt:lpstr>
      <vt:lpstr>Hermione – Use cases</vt:lpstr>
      <vt:lpstr>Voice of Customer – from focus group to big data in social listening  </vt:lpstr>
      <vt:lpstr>Voice of Customer – from focus group to big data in social listening </vt:lpstr>
      <vt:lpstr>Thank you!</vt:lpstr>
      <vt:lpstr>Hermione enables better decision making through faster retrieval of relevant medical evidence</vt:lpstr>
      <vt:lpstr>AI related advanced analytics accelerate business digitalization, with unparalleled computing power, rich data and advanced algorithm</vt:lpstr>
      <vt:lpstr>Adverse event monitoring# @Commerical #</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T&amp;IT Template</dc:title>
  <dc:creator>STAT</dc:creator>
  <cp:lastModifiedBy>STAT</cp:lastModifiedBy>
  <cp:revision>2</cp:revision>
  <cp:lastPrinted>2017-10-23T10:44:12Z</cp:lastPrinted>
  <dcterms:created xsi:type="dcterms:W3CDTF">2022-03-16T15:39:20Z</dcterms:created>
  <dcterms:modified xsi:type="dcterms:W3CDTF">2022-03-25T10:0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DataClassBayerRetention">
    <vt:lpwstr>2;#Long-Term|450f2ec9-198b-4bf0-b08c-74a80f1899d3</vt:lpwstr>
  </property>
  <property fmtid="{D5CDD505-2E9C-101B-9397-08002B2CF9AE}" pid="4" name="ContentTypeId">
    <vt:lpwstr>0x0101001294A148602AAC45A5F25BC7AFB226CC</vt:lpwstr>
  </property>
  <property fmtid="{D5CDD505-2E9C-101B-9397-08002B2CF9AE}" pid="5" name="MSIP_Label_2c76c141-ac86-40e5-abf2-c6f60e474cee_Enabled">
    <vt:lpwstr>True</vt:lpwstr>
  </property>
  <property fmtid="{D5CDD505-2E9C-101B-9397-08002B2CF9AE}" pid="6" name="MSIP_Label_2c76c141-ac86-40e5-abf2-c6f60e474cee_SiteId">
    <vt:lpwstr>fcb2b37b-5da0-466b-9b83-0014b67a7c78</vt:lpwstr>
  </property>
  <property fmtid="{D5CDD505-2E9C-101B-9397-08002B2CF9AE}" pid="7" name="MSIP_Label_2c76c141-ac86-40e5-abf2-c6f60e474cee_Owner">
    <vt:lpwstr>bozhu.bi@bayer.com</vt:lpwstr>
  </property>
  <property fmtid="{D5CDD505-2E9C-101B-9397-08002B2CF9AE}" pid="8" name="MSIP_Label_2c76c141-ac86-40e5-abf2-c6f60e474cee_SetDate">
    <vt:lpwstr>2022-03-16T15:39:28.7748269Z</vt:lpwstr>
  </property>
  <property fmtid="{D5CDD505-2E9C-101B-9397-08002B2CF9AE}" pid="9" name="MSIP_Label_2c76c141-ac86-40e5-abf2-c6f60e474cee_Name">
    <vt:lpwstr>RESTRICTED</vt:lpwstr>
  </property>
  <property fmtid="{D5CDD505-2E9C-101B-9397-08002B2CF9AE}" pid="10" name="MSIP_Label_2c76c141-ac86-40e5-abf2-c6f60e474cee_Application">
    <vt:lpwstr>Microsoft Azure Information Protection</vt:lpwstr>
  </property>
  <property fmtid="{D5CDD505-2E9C-101B-9397-08002B2CF9AE}" pid="11" name="MSIP_Label_2c76c141-ac86-40e5-abf2-c6f60e474cee_Extended_MSFT_Method">
    <vt:lpwstr>Automatic</vt:lpwstr>
  </property>
  <property fmtid="{D5CDD505-2E9C-101B-9397-08002B2CF9AE}" pid="12" name="Sensitivity">
    <vt:lpwstr>RESTRICTED</vt:lpwstr>
  </property>
</Properties>
</file>